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27" r:id="rId4"/>
    <p:sldMasterId id="2147483750" r:id="rId5"/>
  </p:sldMasterIdLst>
  <p:notesMasterIdLst>
    <p:notesMasterId r:id="rId36"/>
  </p:notesMasterIdLst>
  <p:sldIdLst>
    <p:sldId id="2132" r:id="rId6"/>
    <p:sldId id="2131" r:id="rId7"/>
    <p:sldId id="1991" r:id="rId8"/>
    <p:sldId id="1996" r:id="rId9"/>
    <p:sldId id="1959" r:id="rId10"/>
    <p:sldId id="1973" r:id="rId11"/>
    <p:sldId id="1415" r:id="rId12"/>
    <p:sldId id="1439" r:id="rId13"/>
    <p:sldId id="1976" r:id="rId14"/>
    <p:sldId id="1984" r:id="rId15"/>
    <p:sldId id="2233" r:id="rId16"/>
    <p:sldId id="2133" r:id="rId17"/>
    <p:sldId id="2279" r:id="rId18"/>
    <p:sldId id="1986" r:id="rId19"/>
    <p:sldId id="2206" r:id="rId20"/>
    <p:sldId id="1987" r:id="rId21"/>
    <p:sldId id="1988" r:id="rId22"/>
    <p:sldId id="2031" r:id="rId23"/>
    <p:sldId id="2281" r:id="rId24"/>
    <p:sldId id="2126" r:id="rId25"/>
    <p:sldId id="1998" r:id="rId26"/>
    <p:sldId id="1941" r:id="rId27"/>
    <p:sldId id="1942" r:id="rId28"/>
    <p:sldId id="568" r:id="rId29"/>
    <p:sldId id="569" r:id="rId30"/>
    <p:sldId id="570" r:id="rId31"/>
    <p:sldId id="571" r:id="rId32"/>
    <p:sldId id="1486" r:id="rId33"/>
    <p:sldId id="2280" r:id="rId34"/>
    <p:sldId id="479" r:id="rId35"/>
  </p:sldIdLst>
  <p:sldSz cx="12190413" cy="6858000"/>
  <p:notesSz cx="7023100" cy="9309100"/>
  <p:custDataLst>
    <p:tags r:id="rId37"/>
  </p:custDataLst>
  <p:defaultTex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82" userDrawn="1">
          <p15:clr>
            <a:srgbClr val="A4A3A4"/>
          </p15:clr>
        </p15:guide>
        <p15:guide id="2" orient="horz" pos="3576" userDrawn="1">
          <p15:clr>
            <a:srgbClr val="A4A3A4"/>
          </p15:clr>
        </p15:guide>
        <p15:guide id="3" pos="233" userDrawn="1">
          <p15:clr>
            <a:srgbClr val="A4A3A4"/>
          </p15:clr>
        </p15:guide>
        <p15:guide id="4" pos="753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iver Schwede" initials="OS" lastIdx="5" clrIdx="0"/>
  <p:cmAuthor id="2" name="Christian Wohlwend" initials="CW" lastIdx="18" clrIdx="1"/>
  <p:cmAuthor id="3" name="dominik.gaertner@snp-ag.com" initials="d" lastIdx="16" clrIdx="2"/>
  <p:cmAuthor id="4" name="Doerken, Gunnar" initials="DG" lastIdx="11" clrIdx="3">
    <p:extLst>
      <p:ext uri="{19B8F6BF-5375-455C-9EA6-DF929625EA0E}">
        <p15:presenceInfo xmlns:p15="http://schemas.microsoft.com/office/powerpoint/2012/main" userId="S-1-5-21-2631115530-1132201909-3825892833-1156" providerId="AD"/>
      </p:ext>
    </p:extLst>
  </p:cmAuthor>
  <p:cmAuthor id="5" name="joerg.kaschytza@snp-ag.com" initials="j" lastIdx="1" clrIdx="4">
    <p:extLst>
      <p:ext uri="{19B8F6BF-5375-455C-9EA6-DF929625EA0E}">
        <p15:presenceInfo xmlns:p15="http://schemas.microsoft.com/office/powerpoint/2012/main" userId="joerg.kaschytza@snp-ag.co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9900"/>
    <a:srgbClr val="0099CC"/>
    <a:srgbClr val="009900"/>
    <a:srgbClr val="00CC66"/>
    <a:srgbClr val="0066FF"/>
    <a:srgbClr val="3399FF"/>
    <a:srgbClr val="0033CC"/>
    <a:srgbClr val="BBC8D9"/>
    <a:srgbClr val="336699"/>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136" autoAdjust="0"/>
    <p:restoredTop sz="96005" autoAdjust="0"/>
  </p:normalViewPr>
  <p:slideViewPr>
    <p:cSldViewPr snapToGrid="0">
      <p:cViewPr varScale="1">
        <p:scale>
          <a:sx n="58" d="100"/>
          <a:sy n="58" d="100"/>
        </p:scale>
        <p:origin x="1176" y="56"/>
      </p:cViewPr>
      <p:guideLst>
        <p:guide orient="horz" pos="482"/>
        <p:guide orient="horz" pos="3576"/>
        <p:guide pos="233"/>
        <p:guide pos="7536"/>
      </p:guideLst>
    </p:cSldViewPr>
  </p:slideViewPr>
  <p:outlineViewPr>
    <p:cViewPr>
      <p:scale>
        <a:sx n="33" d="100"/>
        <a:sy n="33" d="100"/>
      </p:scale>
      <p:origin x="0" y="-19002"/>
    </p:cViewPr>
  </p:outlineViewPr>
  <p:notesTextViewPr>
    <p:cViewPr>
      <p:scale>
        <a:sx n="3" d="2"/>
        <a:sy n="3" d="2"/>
      </p:scale>
      <p:origin x="0" y="0"/>
    </p:cViewPr>
  </p:notesTextViewPr>
  <p:sorterViewPr>
    <p:cViewPr>
      <p:scale>
        <a:sx n="25" d="100"/>
        <a:sy n="2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3043344" cy="465455"/>
          </a:xfrm>
          <a:prstGeom prst="rect">
            <a:avLst/>
          </a:prstGeom>
        </p:spPr>
        <p:txBody>
          <a:bodyPr vert="horz" lIns="89629" tIns="44815" rIns="89629" bIns="44815" rtlCol="0"/>
          <a:lstStyle>
            <a:lvl1pPr algn="l">
              <a:defRPr sz="1200"/>
            </a:lvl1pPr>
          </a:lstStyle>
          <a:p>
            <a:endParaRPr lang="de-DE"/>
          </a:p>
        </p:txBody>
      </p:sp>
      <p:sp>
        <p:nvSpPr>
          <p:cNvPr id="3" name="Datumsplatzhalter 2"/>
          <p:cNvSpPr>
            <a:spLocks noGrp="1"/>
          </p:cNvSpPr>
          <p:nvPr>
            <p:ph type="dt" idx="1"/>
          </p:nvPr>
        </p:nvSpPr>
        <p:spPr>
          <a:xfrm>
            <a:off x="3978132" y="1"/>
            <a:ext cx="3043344" cy="465455"/>
          </a:xfrm>
          <a:prstGeom prst="rect">
            <a:avLst/>
          </a:prstGeom>
        </p:spPr>
        <p:txBody>
          <a:bodyPr vert="horz" lIns="89629" tIns="44815" rIns="89629" bIns="44815" rtlCol="0"/>
          <a:lstStyle>
            <a:lvl1pPr algn="r">
              <a:defRPr sz="1200"/>
            </a:lvl1pPr>
          </a:lstStyle>
          <a:p>
            <a:fld id="{6000A2D0-769C-44A5-ABA1-A54860608A7C}" type="datetimeFigureOut">
              <a:rPr lang="de-DE" smtClean="0"/>
              <a:pPr/>
              <a:t>19.08.2019</a:t>
            </a:fld>
            <a:endParaRPr lang="de-DE"/>
          </a:p>
        </p:txBody>
      </p:sp>
      <p:sp>
        <p:nvSpPr>
          <p:cNvPr id="4" name="Folienbildplatzhalter 3"/>
          <p:cNvSpPr>
            <a:spLocks noGrp="1" noRot="1" noChangeAspect="1"/>
          </p:cNvSpPr>
          <p:nvPr>
            <p:ph type="sldImg" idx="2"/>
          </p:nvPr>
        </p:nvSpPr>
        <p:spPr>
          <a:xfrm>
            <a:off x="409575" y="698500"/>
            <a:ext cx="6203950" cy="3489325"/>
          </a:xfrm>
          <a:prstGeom prst="rect">
            <a:avLst/>
          </a:prstGeom>
          <a:noFill/>
          <a:ln w="12700">
            <a:solidFill>
              <a:prstClr val="black"/>
            </a:solidFill>
          </a:ln>
        </p:spPr>
        <p:txBody>
          <a:bodyPr vert="horz" lIns="89629" tIns="44815" rIns="89629" bIns="44815" rtlCol="0" anchor="ctr"/>
          <a:lstStyle/>
          <a:p>
            <a:endParaRPr lang="de-DE"/>
          </a:p>
        </p:txBody>
      </p:sp>
      <p:sp>
        <p:nvSpPr>
          <p:cNvPr id="5" name="Notizenplatzhalter 4"/>
          <p:cNvSpPr>
            <a:spLocks noGrp="1"/>
          </p:cNvSpPr>
          <p:nvPr>
            <p:ph type="body" sz="quarter" idx="3"/>
          </p:nvPr>
        </p:nvSpPr>
        <p:spPr>
          <a:xfrm>
            <a:off x="702311" y="4421823"/>
            <a:ext cx="5618480" cy="4189095"/>
          </a:xfrm>
          <a:prstGeom prst="rect">
            <a:avLst/>
          </a:prstGeom>
        </p:spPr>
        <p:txBody>
          <a:bodyPr vert="horz" lIns="89629" tIns="44815" rIns="89629" bIns="4481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842031"/>
            <a:ext cx="3043344" cy="465455"/>
          </a:xfrm>
          <a:prstGeom prst="rect">
            <a:avLst/>
          </a:prstGeom>
        </p:spPr>
        <p:txBody>
          <a:bodyPr vert="horz" lIns="89629" tIns="44815" rIns="89629" bIns="44815" rtlCol="0" anchor="b"/>
          <a:lstStyle>
            <a:lvl1pPr algn="l">
              <a:defRPr sz="1200"/>
            </a:lvl1pPr>
          </a:lstStyle>
          <a:p>
            <a:endParaRPr lang="de-DE"/>
          </a:p>
        </p:txBody>
      </p:sp>
      <p:sp>
        <p:nvSpPr>
          <p:cNvPr id="7" name="Foliennummernplatzhalter 6"/>
          <p:cNvSpPr>
            <a:spLocks noGrp="1"/>
          </p:cNvSpPr>
          <p:nvPr>
            <p:ph type="sldNum" sz="quarter" idx="5"/>
          </p:nvPr>
        </p:nvSpPr>
        <p:spPr>
          <a:xfrm>
            <a:off x="3978132" y="8842031"/>
            <a:ext cx="3043344" cy="465455"/>
          </a:xfrm>
          <a:prstGeom prst="rect">
            <a:avLst/>
          </a:prstGeom>
        </p:spPr>
        <p:txBody>
          <a:bodyPr vert="horz" lIns="89629" tIns="44815" rIns="89629" bIns="44815" rtlCol="0" anchor="b"/>
          <a:lstStyle>
            <a:lvl1pPr algn="r">
              <a:defRPr sz="1200"/>
            </a:lvl1pPr>
          </a:lstStyle>
          <a:p>
            <a:fld id="{D1DB76CE-03A0-483C-B0FA-33C95ACF8FCE}" type="slidenum">
              <a:rPr lang="de-DE" smtClean="0"/>
              <a:pPr/>
              <a:t>‹#›</a:t>
            </a:fld>
            <a:endParaRPr lang="de-DE"/>
          </a:p>
        </p:txBody>
      </p:sp>
    </p:spTree>
    <p:extLst>
      <p:ext uri="{BB962C8B-B14F-4D97-AF65-F5344CB8AC3E}">
        <p14:creationId xmlns:p14="http://schemas.microsoft.com/office/powerpoint/2010/main" val="2437476196"/>
      </p:ext>
    </p:extLst>
  </p:cSld>
  <p:clrMap bg1="lt1" tx1="dk1" bg2="lt2" tx2="dk2" accent1="accent1" accent2="accent2" accent3="accent3" accent4="accent4" accent5="accent5" accent6="accent6" hlink="hlink" folHlink="folHlink"/>
  <p:notesStyle>
    <a:lvl1pPr marL="0" algn="l" defTabSz="1219078" rtl="0" eaLnBrk="1" latinLnBrk="0" hangingPunct="1">
      <a:defRPr sz="1600" kern="1200">
        <a:solidFill>
          <a:schemeClr val="tx1"/>
        </a:solidFill>
        <a:latin typeface="+mn-lt"/>
        <a:ea typeface="+mn-ea"/>
        <a:cs typeface="+mn-cs"/>
      </a:defRPr>
    </a:lvl1pPr>
    <a:lvl2pPr marL="609539" algn="l" defTabSz="1219078" rtl="0" eaLnBrk="1" latinLnBrk="0" hangingPunct="1">
      <a:defRPr sz="1600" kern="1200">
        <a:solidFill>
          <a:schemeClr val="tx1"/>
        </a:solidFill>
        <a:latin typeface="+mn-lt"/>
        <a:ea typeface="+mn-ea"/>
        <a:cs typeface="+mn-cs"/>
      </a:defRPr>
    </a:lvl2pPr>
    <a:lvl3pPr marL="1219078" algn="l" defTabSz="1219078" rtl="0" eaLnBrk="1" latinLnBrk="0" hangingPunct="1">
      <a:defRPr sz="1600" kern="1200">
        <a:solidFill>
          <a:schemeClr val="tx1"/>
        </a:solidFill>
        <a:latin typeface="+mn-lt"/>
        <a:ea typeface="+mn-ea"/>
        <a:cs typeface="+mn-cs"/>
      </a:defRPr>
    </a:lvl3pPr>
    <a:lvl4pPr marL="1828617" algn="l" defTabSz="1219078" rtl="0" eaLnBrk="1" latinLnBrk="0" hangingPunct="1">
      <a:defRPr sz="1600" kern="1200">
        <a:solidFill>
          <a:schemeClr val="tx1"/>
        </a:solidFill>
        <a:latin typeface="+mn-lt"/>
        <a:ea typeface="+mn-ea"/>
        <a:cs typeface="+mn-cs"/>
      </a:defRPr>
    </a:lvl4pPr>
    <a:lvl5pPr marL="2438156" algn="l" defTabSz="1219078" rtl="0" eaLnBrk="1" latinLnBrk="0" hangingPunct="1">
      <a:defRPr sz="1600" kern="1200">
        <a:solidFill>
          <a:schemeClr val="tx1"/>
        </a:solidFill>
        <a:latin typeface="+mn-lt"/>
        <a:ea typeface="+mn-ea"/>
        <a:cs typeface="+mn-cs"/>
      </a:defRPr>
    </a:lvl5pPr>
    <a:lvl6pPr marL="3047695" algn="l" defTabSz="1219078" rtl="0" eaLnBrk="1" latinLnBrk="0" hangingPunct="1">
      <a:defRPr sz="1600" kern="1200">
        <a:solidFill>
          <a:schemeClr val="tx1"/>
        </a:solidFill>
        <a:latin typeface="+mn-lt"/>
        <a:ea typeface="+mn-ea"/>
        <a:cs typeface="+mn-cs"/>
      </a:defRPr>
    </a:lvl6pPr>
    <a:lvl7pPr marL="3657234" algn="l" defTabSz="1219078" rtl="0" eaLnBrk="1" latinLnBrk="0" hangingPunct="1">
      <a:defRPr sz="1600" kern="1200">
        <a:solidFill>
          <a:schemeClr val="tx1"/>
        </a:solidFill>
        <a:latin typeface="+mn-lt"/>
        <a:ea typeface="+mn-ea"/>
        <a:cs typeface="+mn-cs"/>
      </a:defRPr>
    </a:lvl7pPr>
    <a:lvl8pPr marL="4266773" algn="l" defTabSz="1219078" rtl="0" eaLnBrk="1" latinLnBrk="0" hangingPunct="1">
      <a:defRPr sz="1600" kern="1200">
        <a:solidFill>
          <a:schemeClr val="tx1"/>
        </a:solidFill>
        <a:latin typeface="+mn-lt"/>
        <a:ea typeface="+mn-ea"/>
        <a:cs typeface="+mn-cs"/>
      </a:defRPr>
    </a:lvl8pPr>
    <a:lvl9pPr marL="4876312" algn="l" defTabSz="1219078"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1DB76CE-03A0-483C-B0FA-33C95ACF8FCE}" type="slidenum">
              <a:rPr lang="de-DE" smtClean="0"/>
              <a:pPr/>
              <a:t>1</a:t>
            </a:fld>
            <a:endParaRPr lang="de-DE" dirty="0"/>
          </a:p>
        </p:txBody>
      </p:sp>
    </p:spTree>
    <p:extLst>
      <p:ext uri="{BB962C8B-B14F-4D97-AF65-F5344CB8AC3E}">
        <p14:creationId xmlns:p14="http://schemas.microsoft.com/office/powerpoint/2010/main" val="272981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1219078" rtl="0" eaLnBrk="1" fontAlgn="auto" latinLnBrk="0" hangingPunct="1">
              <a:lnSpc>
                <a:spcPct val="100000"/>
              </a:lnSpc>
              <a:spcBef>
                <a:spcPts val="0"/>
              </a:spcBef>
              <a:spcAft>
                <a:spcPts val="0"/>
              </a:spcAft>
              <a:buClrTx/>
              <a:buSzTx/>
              <a:buFontTx/>
              <a:buNone/>
              <a:tabLst/>
              <a:defRPr/>
            </a:pPr>
            <a:fld id="{D1DB76CE-03A0-483C-B0FA-33C95ACF8FCE}" type="slidenum">
              <a:rPr kumimoji="0" lang="de-DE" sz="1200" b="0" i="0" u="none" strike="noStrike" kern="1200" cap="none" spc="0" normalizeH="0" baseline="0" noProof="0" smtClean="0">
                <a:ln>
                  <a:noFill/>
                </a:ln>
                <a:solidFill>
                  <a:prstClr val="black"/>
                </a:solidFill>
                <a:effectLst/>
                <a:uLnTx/>
                <a:uFillTx/>
                <a:ea typeface="+mn-ea"/>
                <a:cs typeface="+mn-cs"/>
              </a:rPr>
              <a:pPr marL="0" marR="0" lvl="0" indent="0" algn="r" defTabSz="1219078"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070437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1219078" rtl="0" eaLnBrk="1" fontAlgn="auto" latinLnBrk="0" hangingPunct="1">
              <a:lnSpc>
                <a:spcPct val="100000"/>
              </a:lnSpc>
              <a:spcBef>
                <a:spcPts val="0"/>
              </a:spcBef>
              <a:spcAft>
                <a:spcPts val="0"/>
              </a:spcAft>
              <a:buClrTx/>
              <a:buSzTx/>
              <a:buFontTx/>
              <a:buNone/>
              <a:tabLst/>
              <a:defRPr/>
            </a:pPr>
            <a:fld id="{D1DB76CE-03A0-483C-B0FA-33C95ACF8FCE}" type="slidenum">
              <a:rPr kumimoji="0" lang="de-DE" sz="1200" b="0" i="0" u="none" strike="noStrike" kern="1200" cap="none" spc="0" normalizeH="0" baseline="0" noProof="0" smtClean="0">
                <a:ln>
                  <a:noFill/>
                </a:ln>
                <a:solidFill>
                  <a:prstClr val="black"/>
                </a:solidFill>
                <a:effectLst/>
                <a:uLnTx/>
                <a:uFillTx/>
                <a:ea typeface="+mn-ea"/>
                <a:cs typeface="+mn-cs"/>
              </a:rPr>
              <a:pPr marL="0" marR="0" lvl="0" indent="0" algn="r" defTabSz="1219078"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758099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1219078" rtl="0" eaLnBrk="1" fontAlgn="auto" latinLnBrk="0" hangingPunct="1">
              <a:lnSpc>
                <a:spcPct val="100000"/>
              </a:lnSpc>
              <a:spcBef>
                <a:spcPts val="0"/>
              </a:spcBef>
              <a:spcAft>
                <a:spcPts val="0"/>
              </a:spcAft>
              <a:buClrTx/>
              <a:buSzTx/>
              <a:buFontTx/>
              <a:buNone/>
              <a:tabLst/>
              <a:defRPr/>
            </a:pPr>
            <a:fld id="{D1DB76CE-03A0-483C-B0FA-33C95ACF8FCE}" type="slidenum">
              <a:rPr kumimoji="0" lang="de-DE" sz="1200" b="0" i="0" u="none" strike="noStrike" kern="1200" cap="none" spc="0" normalizeH="0" baseline="0" noProof="0" smtClean="0">
                <a:ln>
                  <a:noFill/>
                </a:ln>
                <a:solidFill>
                  <a:prstClr val="black"/>
                </a:solidFill>
                <a:effectLst/>
                <a:uLnTx/>
                <a:uFillTx/>
                <a:ea typeface="+mn-ea"/>
                <a:cs typeface="+mn-cs"/>
              </a:rPr>
              <a:pPr marL="0" marR="0" lvl="0" indent="0" algn="r" defTabSz="1219078"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101353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1219078" rtl="0" eaLnBrk="1" fontAlgn="auto" latinLnBrk="0" hangingPunct="1">
              <a:lnSpc>
                <a:spcPct val="100000"/>
              </a:lnSpc>
              <a:spcBef>
                <a:spcPts val="0"/>
              </a:spcBef>
              <a:spcAft>
                <a:spcPts val="0"/>
              </a:spcAft>
              <a:buClrTx/>
              <a:buSzTx/>
              <a:buFontTx/>
              <a:buNone/>
              <a:tabLst/>
              <a:defRPr/>
            </a:pPr>
            <a:fld id="{D1DB76CE-03A0-483C-B0FA-33C95ACF8FCE}" type="slidenum">
              <a:rPr kumimoji="0" lang="de-DE" sz="1200" b="0" i="0" u="none" strike="noStrike" kern="1200" cap="none" spc="0" normalizeH="0" baseline="0" noProof="0" smtClean="0">
                <a:ln>
                  <a:noFill/>
                </a:ln>
                <a:solidFill>
                  <a:prstClr val="black"/>
                </a:solidFill>
                <a:effectLst/>
                <a:uLnTx/>
                <a:uFillTx/>
                <a:ea typeface="+mn-ea"/>
                <a:cs typeface="+mn-cs"/>
              </a:rPr>
              <a:pPr marL="0" marR="0" lvl="0" indent="0" algn="r" defTabSz="1219078"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4342012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lang="de-DE" dirty="0"/>
              <a:t>WHY? UNLOCKING THE POTENTIAL OF SAP S/4HANA! Combine all Migration </a:t>
            </a:r>
            <a:r>
              <a:rPr lang="de-DE" dirty="0" err="1"/>
              <a:t>paths</a:t>
            </a:r>
            <a:r>
              <a:rPr lang="de-DE" dirty="0"/>
              <a:t> </a:t>
            </a:r>
            <a:r>
              <a:rPr lang="de-DE" dirty="0" err="1"/>
              <a:t>toe</a:t>
            </a:r>
            <a:r>
              <a:rPr lang="de-DE" dirty="0"/>
              <a:t> S/4HANA. BLUEFIELD </a:t>
            </a:r>
            <a:r>
              <a:rPr lang="de-DE" dirty="0" err="1"/>
              <a:t>gives</a:t>
            </a:r>
            <a:r>
              <a:rPr lang="de-DE" dirty="0"/>
              <a:t> </a:t>
            </a:r>
            <a:r>
              <a:rPr lang="de-DE" dirty="0" err="1"/>
              <a:t>you</a:t>
            </a:r>
            <a:r>
              <a:rPr lang="de-DE" dirty="0"/>
              <a:t> </a:t>
            </a:r>
            <a:r>
              <a:rPr lang="de-DE" dirty="0" err="1"/>
              <a:t>options</a:t>
            </a:r>
            <a:r>
              <a:rPr lang="de-DE" dirty="0"/>
              <a:t>!!!</a:t>
            </a:r>
          </a:p>
          <a:p>
            <a:endParaRPr lang="en-US" dirty="0"/>
          </a:p>
        </p:txBody>
      </p:sp>
      <p:sp>
        <p:nvSpPr>
          <p:cNvPr id="4" name="Foliennummernplatzhalter 3"/>
          <p:cNvSpPr>
            <a:spLocks noGrp="1"/>
          </p:cNvSpPr>
          <p:nvPr>
            <p:ph type="sldNum" sz="quarter" idx="5"/>
          </p:nvPr>
        </p:nvSpPr>
        <p:spPr/>
        <p:txBody>
          <a:bodyPr/>
          <a:lstStyle/>
          <a:p>
            <a:fld id="{D1DB76CE-03A0-483C-B0FA-33C95ACF8FCE}" type="slidenum">
              <a:rPr lang="de-DE" smtClean="0"/>
              <a:pPr/>
              <a:t>9</a:t>
            </a:fld>
            <a:endParaRPr lang="de-DE"/>
          </a:p>
        </p:txBody>
      </p:sp>
    </p:spTree>
    <p:extLst>
      <p:ext uri="{BB962C8B-B14F-4D97-AF65-F5344CB8AC3E}">
        <p14:creationId xmlns:p14="http://schemas.microsoft.com/office/powerpoint/2010/main" val="392709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1DB76CE-03A0-483C-B0FA-33C95ACF8FCE}" type="slidenum">
              <a:rPr lang="de-DE" smtClean="0"/>
              <a:pPr/>
              <a:t>11</a:t>
            </a:fld>
            <a:endParaRPr lang="de-DE" dirty="0"/>
          </a:p>
        </p:txBody>
      </p:sp>
    </p:spTree>
    <p:extLst>
      <p:ext uri="{BB962C8B-B14F-4D97-AF65-F5344CB8AC3E}">
        <p14:creationId xmlns:p14="http://schemas.microsoft.com/office/powerpoint/2010/main" val="8797640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1DB76CE-03A0-483C-B0FA-33C95ACF8FCE}" type="slidenum">
              <a:rPr lang="de-DE" smtClean="0"/>
              <a:pPr/>
              <a:t>15</a:t>
            </a:fld>
            <a:endParaRPr lang="de-DE" dirty="0"/>
          </a:p>
        </p:txBody>
      </p:sp>
    </p:spTree>
    <p:extLst>
      <p:ext uri="{BB962C8B-B14F-4D97-AF65-F5344CB8AC3E}">
        <p14:creationId xmlns:p14="http://schemas.microsoft.com/office/powerpoint/2010/main" val="1135660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lang="de-DE" dirty="0"/>
              <a:t>WHY? UNLOCKING THE POTENTIAL OF SAP S/4HANA! Combine all Migration </a:t>
            </a:r>
            <a:r>
              <a:rPr lang="de-DE" dirty="0" err="1"/>
              <a:t>paths</a:t>
            </a:r>
            <a:r>
              <a:rPr lang="de-DE" dirty="0"/>
              <a:t> </a:t>
            </a:r>
            <a:r>
              <a:rPr lang="de-DE" dirty="0" err="1"/>
              <a:t>toe</a:t>
            </a:r>
            <a:r>
              <a:rPr lang="de-DE" dirty="0"/>
              <a:t> S/4HANA. BLUEFIELD </a:t>
            </a:r>
            <a:r>
              <a:rPr lang="de-DE" dirty="0" err="1"/>
              <a:t>gives</a:t>
            </a:r>
            <a:r>
              <a:rPr lang="de-DE" dirty="0"/>
              <a:t> </a:t>
            </a:r>
            <a:r>
              <a:rPr lang="de-DE" dirty="0" err="1"/>
              <a:t>you</a:t>
            </a:r>
            <a:r>
              <a:rPr lang="de-DE" dirty="0"/>
              <a:t> </a:t>
            </a:r>
            <a:r>
              <a:rPr lang="de-DE" dirty="0" err="1"/>
              <a:t>options</a:t>
            </a:r>
            <a:r>
              <a:rPr lang="de-DE" dirty="0"/>
              <a:t>!!!</a:t>
            </a:r>
          </a:p>
          <a:p>
            <a:endParaRPr lang="en-US" dirty="0"/>
          </a:p>
        </p:txBody>
      </p:sp>
      <p:sp>
        <p:nvSpPr>
          <p:cNvPr id="4" name="Foliennummernplatzhalter 3"/>
          <p:cNvSpPr>
            <a:spLocks noGrp="1"/>
          </p:cNvSpPr>
          <p:nvPr>
            <p:ph type="sldNum" sz="quarter" idx="5"/>
          </p:nvPr>
        </p:nvSpPr>
        <p:spPr/>
        <p:txBody>
          <a:bodyPr/>
          <a:lstStyle/>
          <a:p>
            <a:fld id="{D1DB76CE-03A0-483C-B0FA-33C95ACF8FCE}" type="slidenum">
              <a:rPr lang="de-DE" smtClean="0"/>
              <a:pPr/>
              <a:t>29</a:t>
            </a:fld>
            <a:endParaRPr lang="de-DE"/>
          </a:p>
        </p:txBody>
      </p:sp>
    </p:spTree>
    <p:extLst>
      <p:ext uri="{BB962C8B-B14F-4D97-AF65-F5344CB8AC3E}">
        <p14:creationId xmlns:p14="http://schemas.microsoft.com/office/powerpoint/2010/main" val="23989319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01 Titelfolie">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748A89D4-38C9-4E5C-A079-94E7F84421DC}"/>
              </a:ext>
            </a:extLst>
          </p:cNvPr>
          <p:cNvSpPr>
            <a:spLocks noGrp="1"/>
          </p:cNvSpPr>
          <p:nvPr>
            <p:ph type="pic" sz="quarter" idx="12"/>
          </p:nvPr>
        </p:nvSpPr>
        <p:spPr>
          <a:xfrm>
            <a:off x="0" y="0"/>
            <a:ext cx="12180888" cy="3924000"/>
          </a:xfrm>
          <a:solidFill>
            <a:schemeClr val="bg1">
              <a:lumMod val="95000"/>
            </a:schemeClr>
          </a:solidFill>
        </p:spPr>
        <p:txBody>
          <a:bodyPr anchor="ctr" anchorCtr="0"/>
          <a:lstStyle>
            <a:lvl1pPr algn="ctr">
              <a:defRPr b="0">
                <a:solidFill>
                  <a:schemeClr val="bg1">
                    <a:lumMod val="75000"/>
                  </a:schemeClr>
                </a:solidFill>
              </a:defRPr>
            </a:lvl1pPr>
          </a:lstStyle>
          <a:p>
            <a:r>
              <a:rPr lang="en-US"/>
              <a:t>Click icon to add picture</a:t>
            </a:r>
            <a:endParaRPr lang="de-DE" dirty="0"/>
          </a:p>
        </p:txBody>
      </p:sp>
      <p:sp>
        <p:nvSpPr>
          <p:cNvPr id="2" name="Titel 1"/>
          <p:cNvSpPr>
            <a:spLocks noGrp="1"/>
          </p:cNvSpPr>
          <p:nvPr>
            <p:ph type="ctrTitle" hasCustomPrompt="1"/>
          </p:nvPr>
        </p:nvSpPr>
        <p:spPr>
          <a:xfrm>
            <a:off x="406400" y="4113076"/>
            <a:ext cx="11377613" cy="461912"/>
          </a:xfrm>
          <a:prstGeom prst="rect">
            <a:avLst/>
          </a:prstGeom>
        </p:spPr>
        <p:txBody>
          <a:bodyPr/>
          <a:lstStyle>
            <a:lvl1pPr>
              <a:defRPr sz="3600">
                <a:solidFill>
                  <a:schemeClr val="tx2"/>
                </a:solidFill>
              </a:defRPr>
            </a:lvl1pPr>
          </a:lstStyle>
          <a:p>
            <a:r>
              <a:rPr lang="de-DE" dirty="0"/>
              <a:t>CLICK TO EDIT TITLE</a:t>
            </a:r>
          </a:p>
        </p:txBody>
      </p:sp>
      <p:sp>
        <p:nvSpPr>
          <p:cNvPr id="3" name="Untertitel 2"/>
          <p:cNvSpPr>
            <a:spLocks noGrp="1"/>
          </p:cNvSpPr>
          <p:nvPr>
            <p:ph type="subTitle" idx="1" hasCustomPrompt="1"/>
          </p:nvPr>
        </p:nvSpPr>
        <p:spPr>
          <a:xfrm>
            <a:off x="406400" y="4689140"/>
            <a:ext cx="11377613" cy="504056"/>
          </a:xfrm>
          <a:prstGeom prst="rect">
            <a:avLst/>
          </a:prstGeom>
        </p:spPr>
        <p:txBody>
          <a:bodyPr/>
          <a:lstStyle>
            <a:lvl1pPr marL="0" marR="0" indent="0" algn="l" defTabSz="1219078" rtl="0" eaLnBrk="1" fontAlgn="auto" latinLnBrk="0" hangingPunct="1">
              <a:lnSpc>
                <a:spcPct val="100000"/>
              </a:lnSpc>
              <a:spcBef>
                <a:spcPts val="0"/>
              </a:spcBef>
              <a:spcAft>
                <a:spcPts val="0"/>
              </a:spcAft>
              <a:buClrTx/>
              <a:buSzTx/>
              <a:buFont typeface="Arial" panose="020B0604020202020204" pitchFamily="34" charset="0"/>
              <a:buNone/>
              <a:tabLst/>
              <a:defRPr lang="de-DE" sz="2400" b="0" smtClean="0">
                <a:effectLst/>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7" indent="0" algn="ctr">
              <a:buNone/>
              <a:defRPr>
                <a:solidFill>
                  <a:schemeClr val="tx1">
                    <a:tint val="75000"/>
                  </a:schemeClr>
                </a:solidFill>
              </a:defRPr>
            </a:lvl4pPr>
            <a:lvl5pPr marL="2438156" indent="0" algn="ctr">
              <a:buNone/>
              <a:defRPr>
                <a:solidFill>
                  <a:schemeClr val="tx1">
                    <a:tint val="75000"/>
                  </a:schemeClr>
                </a:solidFill>
              </a:defRPr>
            </a:lvl5pPr>
            <a:lvl6pPr marL="3047695"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2" indent="0" algn="ctr">
              <a:buNone/>
              <a:defRPr>
                <a:solidFill>
                  <a:schemeClr val="tx1">
                    <a:tint val="75000"/>
                  </a:schemeClr>
                </a:solidFill>
              </a:defRPr>
            </a:lvl9pPr>
          </a:lstStyle>
          <a:p>
            <a:r>
              <a:rPr lang="de-DE" dirty="0"/>
              <a:t>Click </a:t>
            </a:r>
            <a:r>
              <a:rPr lang="de-DE" dirty="0" err="1"/>
              <a:t>to</a:t>
            </a:r>
            <a:r>
              <a:rPr lang="de-DE" dirty="0"/>
              <a:t> </a:t>
            </a:r>
            <a:r>
              <a:rPr lang="de-DE" dirty="0" err="1"/>
              <a:t>edit</a:t>
            </a:r>
            <a:r>
              <a:rPr lang="de-DE" dirty="0"/>
              <a:t> </a:t>
            </a:r>
            <a:r>
              <a:rPr lang="de-DE" dirty="0" err="1"/>
              <a:t>format</a:t>
            </a:r>
            <a:r>
              <a:rPr lang="de-DE" dirty="0"/>
              <a:t> </a:t>
            </a:r>
            <a:r>
              <a:rPr lang="de-DE" dirty="0" err="1"/>
              <a:t>template</a:t>
            </a:r>
            <a:r>
              <a:rPr lang="de-DE" dirty="0"/>
              <a:t> </a:t>
            </a:r>
            <a:r>
              <a:rPr lang="de-DE" dirty="0" err="1"/>
              <a:t>of</a:t>
            </a:r>
            <a:r>
              <a:rPr lang="de-DE" dirty="0"/>
              <a:t> </a:t>
            </a:r>
            <a:r>
              <a:rPr lang="de-DE" dirty="0" err="1"/>
              <a:t>the</a:t>
            </a:r>
            <a:r>
              <a:rPr lang="de-DE" dirty="0"/>
              <a:t> </a:t>
            </a:r>
            <a:r>
              <a:rPr lang="de-DE" dirty="0" err="1"/>
              <a:t>subtitle</a:t>
            </a:r>
            <a:r>
              <a:rPr lang="de-DE" dirty="0"/>
              <a:t> </a:t>
            </a:r>
            <a:r>
              <a:rPr lang="de-DE" dirty="0" err="1"/>
              <a:t>master</a:t>
            </a:r>
            <a:endParaRPr lang="de-DE" dirty="0"/>
          </a:p>
        </p:txBody>
      </p:sp>
      <p:sp>
        <p:nvSpPr>
          <p:cNvPr id="15" name="Freeform 5">
            <a:extLst>
              <a:ext uri="{FF2B5EF4-FFF2-40B4-BE49-F238E27FC236}">
                <a16:creationId xmlns:a16="http://schemas.microsoft.com/office/drawing/2014/main" id="{D53E5686-1934-4371-9D3D-E55515BC6535}"/>
              </a:ext>
            </a:extLst>
          </p:cNvPr>
          <p:cNvSpPr>
            <a:spLocks noEditPoints="1"/>
          </p:cNvSpPr>
          <p:nvPr userDrawn="1"/>
        </p:nvSpPr>
        <p:spPr bwMode="auto">
          <a:xfrm>
            <a:off x="10915026" y="5359239"/>
            <a:ext cx="1012828" cy="981503"/>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p>
        </p:txBody>
      </p:sp>
      <p:sp>
        <p:nvSpPr>
          <p:cNvPr id="19" name="Freeform 9">
            <a:extLst>
              <a:ext uri="{FF2B5EF4-FFF2-40B4-BE49-F238E27FC236}">
                <a16:creationId xmlns:a16="http://schemas.microsoft.com/office/drawing/2014/main" id="{863CB0B5-E563-4CF2-827D-11680E4E165D}"/>
              </a:ext>
            </a:extLst>
          </p:cNvPr>
          <p:cNvSpPr>
            <a:spLocks noChangeAspect="1" noEditPoints="1"/>
          </p:cNvSpPr>
          <p:nvPr userDrawn="1"/>
        </p:nvSpPr>
        <p:spPr bwMode="auto">
          <a:xfrm>
            <a:off x="406400" y="6119011"/>
            <a:ext cx="4608000" cy="285339"/>
          </a:xfrm>
          <a:custGeom>
            <a:avLst/>
            <a:gdLst>
              <a:gd name="T0" fmla="*/ 252 w 9512"/>
              <a:gd name="T1" fmla="*/ 133 h 557"/>
              <a:gd name="T2" fmla="*/ 174 w 9512"/>
              <a:gd name="T3" fmla="*/ 386 h 557"/>
              <a:gd name="T4" fmla="*/ 806 w 9512"/>
              <a:gd name="T5" fmla="*/ 442 h 557"/>
              <a:gd name="T6" fmla="*/ 885 w 9512"/>
              <a:gd name="T7" fmla="*/ 442 h 557"/>
              <a:gd name="T8" fmla="*/ 1019 w 9512"/>
              <a:gd name="T9" fmla="*/ 10 h 557"/>
              <a:gd name="T10" fmla="*/ 977 w 9512"/>
              <a:gd name="T11" fmla="*/ 205 h 557"/>
              <a:gd name="T12" fmla="*/ 1828 w 9512"/>
              <a:gd name="T13" fmla="*/ 442 h 557"/>
              <a:gd name="T14" fmla="*/ 1827 w 9512"/>
              <a:gd name="T15" fmla="*/ 45 h 557"/>
              <a:gd name="T16" fmla="*/ 2183 w 9512"/>
              <a:gd name="T17" fmla="*/ 165 h 557"/>
              <a:gd name="T18" fmla="*/ 2096 w 9512"/>
              <a:gd name="T19" fmla="*/ 187 h 557"/>
              <a:gd name="T20" fmla="*/ 2606 w 9512"/>
              <a:gd name="T21" fmla="*/ 346 h 557"/>
              <a:gd name="T22" fmla="*/ 2416 w 9512"/>
              <a:gd name="T23" fmla="*/ 267 h 557"/>
              <a:gd name="T24" fmla="*/ 2854 w 9512"/>
              <a:gd name="T25" fmla="*/ 45 h 557"/>
              <a:gd name="T26" fmla="*/ 3277 w 9512"/>
              <a:gd name="T27" fmla="*/ 132 h 557"/>
              <a:gd name="T28" fmla="*/ 3208 w 9512"/>
              <a:gd name="T29" fmla="*/ 442 h 557"/>
              <a:gd name="T30" fmla="*/ 3406 w 9512"/>
              <a:gd name="T31" fmla="*/ 271 h 557"/>
              <a:gd name="T32" fmla="*/ 3581 w 9512"/>
              <a:gd name="T33" fmla="*/ 442 h 557"/>
              <a:gd name="T34" fmla="*/ 3542 w 9512"/>
              <a:gd name="T35" fmla="*/ 230 h 557"/>
              <a:gd name="T36" fmla="*/ 3909 w 9512"/>
              <a:gd name="T37" fmla="*/ 254 h 557"/>
              <a:gd name="T38" fmla="*/ 3672 w 9512"/>
              <a:gd name="T39" fmla="*/ 442 h 557"/>
              <a:gd name="T40" fmla="*/ 4024 w 9512"/>
              <a:gd name="T41" fmla="*/ 360 h 557"/>
              <a:gd name="T42" fmla="*/ 4176 w 9512"/>
              <a:gd name="T43" fmla="*/ 215 h 557"/>
              <a:gd name="T44" fmla="*/ 4435 w 9512"/>
              <a:gd name="T45" fmla="*/ 141 h 557"/>
              <a:gd name="T46" fmla="*/ 4331 w 9512"/>
              <a:gd name="T47" fmla="*/ 77 h 557"/>
              <a:gd name="T48" fmla="*/ 4725 w 9512"/>
              <a:gd name="T49" fmla="*/ 292 h 557"/>
              <a:gd name="T50" fmla="*/ 4623 w 9512"/>
              <a:gd name="T51" fmla="*/ 451 h 557"/>
              <a:gd name="T52" fmla="*/ 4943 w 9512"/>
              <a:gd name="T53" fmla="*/ 132 h 557"/>
              <a:gd name="T54" fmla="*/ 4874 w 9512"/>
              <a:gd name="T55" fmla="*/ 442 h 557"/>
              <a:gd name="T56" fmla="*/ 5073 w 9512"/>
              <a:gd name="T57" fmla="*/ 269 h 557"/>
              <a:gd name="T58" fmla="*/ 5440 w 9512"/>
              <a:gd name="T59" fmla="*/ 248 h 557"/>
              <a:gd name="T60" fmla="*/ 5074 w 9512"/>
              <a:gd name="T61" fmla="*/ 187 h 557"/>
              <a:gd name="T62" fmla="*/ 5741 w 9512"/>
              <a:gd name="T63" fmla="*/ 257 h 557"/>
              <a:gd name="T64" fmla="*/ 5743 w 9512"/>
              <a:gd name="T65" fmla="*/ 442 h 557"/>
              <a:gd name="T66" fmla="*/ 5670 w 9512"/>
              <a:gd name="T67" fmla="*/ 165 h 557"/>
              <a:gd name="T68" fmla="*/ 5974 w 9512"/>
              <a:gd name="T69" fmla="*/ 418 h 557"/>
              <a:gd name="T70" fmla="*/ 5897 w 9512"/>
              <a:gd name="T71" fmla="*/ 77 h 557"/>
              <a:gd name="T72" fmla="*/ 6071 w 9512"/>
              <a:gd name="T73" fmla="*/ 442 h 557"/>
              <a:gd name="T74" fmla="*/ 6110 w 9512"/>
              <a:gd name="T75" fmla="*/ 54 h 557"/>
              <a:gd name="T76" fmla="*/ 6322 w 9512"/>
              <a:gd name="T77" fmla="*/ 132 h 557"/>
              <a:gd name="T78" fmla="*/ 6739 w 9512"/>
              <a:gd name="T79" fmla="*/ 248 h 557"/>
              <a:gd name="T80" fmla="*/ 6571 w 9512"/>
              <a:gd name="T81" fmla="*/ 141 h 557"/>
              <a:gd name="T82" fmla="*/ 7212 w 9512"/>
              <a:gd name="T83" fmla="*/ 0 h 557"/>
              <a:gd name="T84" fmla="*/ 7212 w 9512"/>
              <a:gd name="T85" fmla="*/ 36 h 557"/>
              <a:gd name="T86" fmla="*/ 7657 w 9512"/>
              <a:gd name="T87" fmla="*/ 292 h 557"/>
              <a:gd name="T88" fmla="*/ 7767 w 9512"/>
              <a:gd name="T89" fmla="*/ 141 h 557"/>
              <a:gd name="T90" fmla="*/ 7971 w 9512"/>
              <a:gd name="T91" fmla="*/ 442 h 557"/>
              <a:gd name="T92" fmla="*/ 8209 w 9512"/>
              <a:gd name="T93" fmla="*/ 254 h 557"/>
              <a:gd name="T94" fmla="*/ 8334 w 9512"/>
              <a:gd name="T95" fmla="*/ 284 h 557"/>
              <a:gd name="T96" fmla="*/ 8440 w 9512"/>
              <a:gd name="T97" fmla="*/ 451 h 557"/>
              <a:gd name="T98" fmla="*/ 8298 w 9512"/>
              <a:gd name="T99" fmla="*/ 209 h 557"/>
              <a:gd name="T100" fmla="*/ 8650 w 9512"/>
              <a:gd name="T101" fmla="*/ 358 h 557"/>
              <a:gd name="T102" fmla="*/ 8808 w 9512"/>
              <a:gd name="T103" fmla="*/ 398 h 557"/>
              <a:gd name="T104" fmla="*/ 8662 w 9512"/>
              <a:gd name="T105" fmla="*/ 217 h 557"/>
              <a:gd name="T106" fmla="*/ 9138 w 9512"/>
              <a:gd name="T107" fmla="*/ 442 h 557"/>
              <a:gd name="T108" fmla="*/ 8934 w 9512"/>
              <a:gd name="T109" fmla="*/ 141 h 557"/>
              <a:gd name="T110" fmla="*/ 9306 w 9512"/>
              <a:gd name="T111" fmla="*/ 557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12" h="557">
                <a:moveTo>
                  <a:pt x="0" y="304"/>
                </a:moveTo>
                <a:cubicBezTo>
                  <a:pt x="1" y="346"/>
                  <a:pt x="2" y="452"/>
                  <a:pt x="168" y="452"/>
                </a:cubicBezTo>
                <a:cubicBezTo>
                  <a:pt x="288" y="452"/>
                  <a:pt x="353" y="389"/>
                  <a:pt x="353" y="311"/>
                </a:cubicBezTo>
                <a:cubicBezTo>
                  <a:pt x="353" y="227"/>
                  <a:pt x="279" y="206"/>
                  <a:pt x="204" y="188"/>
                </a:cubicBezTo>
                <a:cubicBezTo>
                  <a:pt x="142" y="173"/>
                  <a:pt x="110" y="166"/>
                  <a:pt x="110" y="125"/>
                </a:cubicBezTo>
                <a:cubicBezTo>
                  <a:pt x="110" y="90"/>
                  <a:pt x="138" y="67"/>
                  <a:pt x="181" y="67"/>
                </a:cubicBezTo>
                <a:cubicBezTo>
                  <a:pt x="245" y="67"/>
                  <a:pt x="250" y="118"/>
                  <a:pt x="252" y="133"/>
                </a:cubicBezTo>
                <a:lnTo>
                  <a:pt x="341" y="133"/>
                </a:lnTo>
                <a:cubicBezTo>
                  <a:pt x="341" y="118"/>
                  <a:pt x="341" y="83"/>
                  <a:pt x="316" y="52"/>
                </a:cubicBezTo>
                <a:cubicBezTo>
                  <a:pt x="284" y="11"/>
                  <a:pt x="230" y="1"/>
                  <a:pt x="186" y="1"/>
                </a:cubicBezTo>
                <a:cubicBezTo>
                  <a:pt x="65" y="1"/>
                  <a:pt x="14" y="64"/>
                  <a:pt x="14" y="136"/>
                </a:cubicBezTo>
                <a:cubicBezTo>
                  <a:pt x="14" y="211"/>
                  <a:pt x="70" y="241"/>
                  <a:pt x="174" y="267"/>
                </a:cubicBezTo>
                <a:cubicBezTo>
                  <a:pt x="229" y="280"/>
                  <a:pt x="256" y="287"/>
                  <a:pt x="256" y="325"/>
                </a:cubicBezTo>
                <a:cubicBezTo>
                  <a:pt x="256" y="362"/>
                  <a:pt x="224" y="386"/>
                  <a:pt x="174" y="386"/>
                </a:cubicBezTo>
                <a:cubicBezTo>
                  <a:pt x="94" y="386"/>
                  <a:pt x="95" y="324"/>
                  <a:pt x="95" y="304"/>
                </a:cubicBezTo>
                <a:lnTo>
                  <a:pt x="0" y="304"/>
                </a:lnTo>
                <a:close/>
                <a:moveTo>
                  <a:pt x="422" y="442"/>
                </a:moveTo>
                <a:lnTo>
                  <a:pt x="510" y="442"/>
                </a:lnTo>
                <a:lnTo>
                  <a:pt x="510" y="82"/>
                </a:lnTo>
                <a:lnTo>
                  <a:pt x="678" y="442"/>
                </a:lnTo>
                <a:lnTo>
                  <a:pt x="806" y="442"/>
                </a:lnTo>
                <a:lnTo>
                  <a:pt x="806" y="8"/>
                </a:lnTo>
                <a:lnTo>
                  <a:pt x="719" y="8"/>
                </a:lnTo>
                <a:lnTo>
                  <a:pt x="719" y="350"/>
                </a:lnTo>
                <a:lnTo>
                  <a:pt x="557" y="8"/>
                </a:lnTo>
                <a:lnTo>
                  <a:pt x="422" y="8"/>
                </a:lnTo>
                <a:lnTo>
                  <a:pt x="422" y="442"/>
                </a:lnTo>
                <a:close/>
                <a:moveTo>
                  <a:pt x="885" y="442"/>
                </a:moveTo>
                <a:lnTo>
                  <a:pt x="979" y="442"/>
                </a:lnTo>
                <a:lnTo>
                  <a:pt x="979" y="274"/>
                </a:lnTo>
                <a:lnTo>
                  <a:pt x="1042" y="274"/>
                </a:lnTo>
                <a:cubicBezTo>
                  <a:pt x="1065" y="274"/>
                  <a:pt x="1109" y="274"/>
                  <a:pt x="1140" y="253"/>
                </a:cubicBezTo>
                <a:cubicBezTo>
                  <a:pt x="1174" y="231"/>
                  <a:pt x="1196" y="188"/>
                  <a:pt x="1196" y="138"/>
                </a:cubicBezTo>
                <a:cubicBezTo>
                  <a:pt x="1196" y="116"/>
                  <a:pt x="1192" y="85"/>
                  <a:pt x="1169" y="57"/>
                </a:cubicBezTo>
                <a:cubicBezTo>
                  <a:pt x="1133" y="14"/>
                  <a:pt x="1081" y="10"/>
                  <a:pt x="1019" y="10"/>
                </a:cubicBezTo>
                <a:lnTo>
                  <a:pt x="885" y="10"/>
                </a:lnTo>
                <a:lnTo>
                  <a:pt x="885" y="442"/>
                </a:lnTo>
                <a:close/>
                <a:moveTo>
                  <a:pt x="977" y="80"/>
                </a:moveTo>
                <a:lnTo>
                  <a:pt x="1023" y="80"/>
                </a:lnTo>
                <a:cubicBezTo>
                  <a:pt x="1050" y="80"/>
                  <a:pt x="1099" y="80"/>
                  <a:pt x="1099" y="139"/>
                </a:cubicBezTo>
                <a:cubicBezTo>
                  <a:pt x="1099" y="205"/>
                  <a:pt x="1044" y="205"/>
                  <a:pt x="1014" y="205"/>
                </a:cubicBezTo>
                <a:lnTo>
                  <a:pt x="977" y="205"/>
                </a:lnTo>
                <a:lnTo>
                  <a:pt x="977" y="80"/>
                </a:lnTo>
                <a:close/>
                <a:moveTo>
                  <a:pt x="1428" y="442"/>
                </a:moveTo>
                <a:lnTo>
                  <a:pt x="1463" y="442"/>
                </a:lnTo>
                <a:lnTo>
                  <a:pt x="1463" y="9"/>
                </a:lnTo>
                <a:lnTo>
                  <a:pt x="1428" y="9"/>
                </a:lnTo>
                <a:lnTo>
                  <a:pt x="1428" y="442"/>
                </a:lnTo>
                <a:close/>
                <a:moveTo>
                  <a:pt x="1828" y="442"/>
                </a:moveTo>
                <a:lnTo>
                  <a:pt x="1866" y="442"/>
                </a:lnTo>
                <a:lnTo>
                  <a:pt x="1867" y="45"/>
                </a:lnTo>
                <a:lnTo>
                  <a:pt x="2004" y="45"/>
                </a:lnTo>
                <a:lnTo>
                  <a:pt x="2004" y="9"/>
                </a:lnTo>
                <a:lnTo>
                  <a:pt x="1687" y="9"/>
                </a:lnTo>
                <a:lnTo>
                  <a:pt x="1687" y="45"/>
                </a:lnTo>
                <a:lnTo>
                  <a:pt x="1827" y="45"/>
                </a:lnTo>
                <a:lnTo>
                  <a:pt x="1828" y="442"/>
                </a:lnTo>
                <a:close/>
                <a:moveTo>
                  <a:pt x="2096" y="9"/>
                </a:moveTo>
                <a:lnTo>
                  <a:pt x="2060" y="9"/>
                </a:lnTo>
                <a:lnTo>
                  <a:pt x="2060" y="442"/>
                </a:lnTo>
                <a:lnTo>
                  <a:pt x="2096" y="442"/>
                </a:lnTo>
                <a:lnTo>
                  <a:pt x="2096" y="269"/>
                </a:lnTo>
                <a:cubicBezTo>
                  <a:pt x="2096" y="215"/>
                  <a:pt x="2123" y="165"/>
                  <a:pt x="2183" y="165"/>
                </a:cubicBezTo>
                <a:cubicBezTo>
                  <a:pt x="2232" y="165"/>
                  <a:pt x="2262" y="196"/>
                  <a:pt x="2262" y="248"/>
                </a:cubicBezTo>
                <a:lnTo>
                  <a:pt x="2262" y="442"/>
                </a:lnTo>
                <a:lnTo>
                  <a:pt x="2298" y="442"/>
                </a:lnTo>
                <a:lnTo>
                  <a:pt x="2298" y="254"/>
                </a:lnTo>
                <a:cubicBezTo>
                  <a:pt x="2298" y="219"/>
                  <a:pt x="2290" y="132"/>
                  <a:pt x="2192" y="132"/>
                </a:cubicBezTo>
                <a:cubicBezTo>
                  <a:pt x="2153" y="132"/>
                  <a:pt x="2118" y="149"/>
                  <a:pt x="2097" y="187"/>
                </a:cubicBezTo>
                <a:lnTo>
                  <a:pt x="2096" y="187"/>
                </a:lnTo>
                <a:lnTo>
                  <a:pt x="2096" y="9"/>
                </a:lnTo>
                <a:close/>
                <a:moveTo>
                  <a:pt x="2647" y="300"/>
                </a:moveTo>
                <a:cubicBezTo>
                  <a:pt x="2647" y="206"/>
                  <a:pt x="2611" y="132"/>
                  <a:pt x="2510" y="132"/>
                </a:cubicBezTo>
                <a:cubicBezTo>
                  <a:pt x="2421" y="132"/>
                  <a:pt x="2376" y="210"/>
                  <a:pt x="2376" y="292"/>
                </a:cubicBezTo>
                <a:cubicBezTo>
                  <a:pt x="2376" y="374"/>
                  <a:pt x="2418" y="451"/>
                  <a:pt x="2508" y="451"/>
                </a:cubicBezTo>
                <a:cubicBezTo>
                  <a:pt x="2580" y="451"/>
                  <a:pt x="2625" y="418"/>
                  <a:pt x="2644" y="346"/>
                </a:cubicBezTo>
                <a:lnTo>
                  <a:pt x="2606" y="346"/>
                </a:lnTo>
                <a:cubicBezTo>
                  <a:pt x="2597" y="388"/>
                  <a:pt x="2561" y="418"/>
                  <a:pt x="2519" y="418"/>
                </a:cubicBezTo>
                <a:cubicBezTo>
                  <a:pt x="2445" y="418"/>
                  <a:pt x="2416" y="364"/>
                  <a:pt x="2415" y="300"/>
                </a:cubicBezTo>
                <a:lnTo>
                  <a:pt x="2647" y="300"/>
                </a:lnTo>
                <a:close/>
                <a:moveTo>
                  <a:pt x="2416" y="267"/>
                </a:moveTo>
                <a:cubicBezTo>
                  <a:pt x="2421" y="214"/>
                  <a:pt x="2452" y="165"/>
                  <a:pt x="2510" y="165"/>
                </a:cubicBezTo>
                <a:cubicBezTo>
                  <a:pt x="2573" y="165"/>
                  <a:pt x="2604" y="209"/>
                  <a:pt x="2608" y="267"/>
                </a:cubicBezTo>
                <a:lnTo>
                  <a:pt x="2416" y="267"/>
                </a:lnTo>
                <a:close/>
                <a:moveTo>
                  <a:pt x="2994" y="442"/>
                </a:moveTo>
                <a:lnTo>
                  <a:pt x="3033" y="442"/>
                </a:lnTo>
                <a:lnTo>
                  <a:pt x="3033" y="45"/>
                </a:lnTo>
                <a:lnTo>
                  <a:pt x="3171" y="45"/>
                </a:lnTo>
                <a:lnTo>
                  <a:pt x="3171" y="9"/>
                </a:lnTo>
                <a:lnTo>
                  <a:pt x="2854" y="9"/>
                </a:lnTo>
                <a:lnTo>
                  <a:pt x="2854" y="45"/>
                </a:lnTo>
                <a:lnTo>
                  <a:pt x="2994" y="45"/>
                </a:lnTo>
                <a:lnTo>
                  <a:pt x="2994" y="442"/>
                </a:lnTo>
                <a:close/>
                <a:moveTo>
                  <a:pt x="3208" y="261"/>
                </a:moveTo>
                <a:cubicBezTo>
                  <a:pt x="3209" y="203"/>
                  <a:pt x="3237" y="165"/>
                  <a:pt x="3291" y="165"/>
                </a:cubicBezTo>
                <a:cubicBezTo>
                  <a:pt x="3298" y="165"/>
                  <a:pt x="3306" y="167"/>
                  <a:pt x="3313" y="167"/>
                </a:cubicBezTo>
                <a:lnTo>
                  <a:pt x="3313" y="133"/>
                </a:lnTo>
                <a:cubicBezTo>
                  <a:pt x="3301" y="132"/>
                  <a:pt x="3289" y="132"/>
                  <a:pt x="3277" y="132"/>
                </a:cubicBezTo>
                <a:cubicBezTo>
                  <a:pt x="3247" y="133"/>
                  <a:pt x="3220" y="155"/>
                  <a:pt x="3209" y="185"/>
                </a:cubicBezTo>
                <a:lnTo>
                  <a:pt x="3208" y="185"/>
                </a:lnTo>
                <a:lnTo>
                  <a:pt x="3206" y="141"/>
                </a:lnTo>
                <a:lnTo>
                  <a:pt x="3169" y="141"/>
                </a:lnTo>
                <a:cubicBezTo>
                  <a:pt x="3170" y="161"/>
                  <a:pt x="3173" y="185"/>
                  <a:pt x="3172" y="209"/>
                </a:cubicBezTo>
                <a:lnTo>
                  <a:pt x="3172" y="442"/>
                </a:lnTo>
                <a:lnTo>
                  <a:pt x="3208" y="442"/>
                </a:lnTo>
                <a:lnTo>
                  <a:pt x="3208" y="261"/>
                </a:lnTo>
                <a:close/>
                <a:moveTo>
                  <a:pt x="3384" y="358"/>
                </a:moveTo>
                <a:cubicBezTo>
                  <a:pt x="3384" y="283"/>
                  <a:pt x="3491" y="292"/>
                  <a:pt x="3542" y="290"/>
                </a:cubicBezTo>
                <a:cubicBezTo>
                  <a:pt x="3546" y="353"/>
                  <a:pt x="3531" y="418"/>
                  <a:pt x="3452" y="418"/>
                </a:cubicBezTo>
                <a:cubicBezTo>
                  <a:pt x="3416" y="418"/>
                  <a:pt x="3384" y="399"/>
                  <a:pt x="3384" y="358"/>
                </a:cubicBezTo>
                <a:close/>
                <a:moveTo>
                  <a:pt x="3542" y="257"/>
                </a:moveTo>
                <a:cubicBezTo>
                  <a:pt x="3498" y="260"/>
                  <a:pt x="3446" y="254"/>
                  <a:pt x="3406" y="271"/>
                </a:cubicBezTo>
                <a:cubicBezTo>
                  <a:pt x="3370" y="286"/>
                  <a:pt x="3345" y="317"/>
                  <a:pt x="3345" y="358"/>
                </a:cubicBezTo>
                <a:cubicBezTo>
                  <a:pt x="3345" y="417"/>
                  <a:pt x="3390" y="451"/>
                  <a:pt x="3446" y="451"/>
                </a:cubicBezTo>
                <a:cubicBezTo>
                  <a:pt x="3486" y="451"/>
                  <a:pt x="3526" y="427"/>
                  <a:pt x="3540" y="402"/>
                </a:cubicBezTo>
                <a:lnTo>
                  <a:pt x="3542" y="398"/>
                </a:lnTo>
                <a:lnTo>
                  <a:pt x="3543" y="398"/>
                </a:lnTo>
                <a:lnTo>
                  <a:pt x="3544" y="442"/>
                </a:lnTo>
                <a:lnTo>
                  <a:pt x="3581" y="442"/>
                </a:lnTo>
                <a:cubicBezTo>
                  <a:pt x="3580" y="422"/>
                  <a:pt x="3577" y="398"/>
                  <a:pt x="3578" y="374"/>
                </a:cubicBezTo>
                <a:lnTo>
                  <a:pt x="3578" y="232"/>
                </a:lnTo>
                <a:cubicBezTo>
                  <a:pt x="3579" y="163"/>
                  <a:pt x="3538" y="132"/>
                  <a:pt x="3471" y="132"/>
                </a:cubicBezTo>
                <a:cubicBezTo>
                  <a:pt x="3414" y="132"/>
                  <a:pt x="3368" y="155"/>
                  <a:pt x="3359" y="217"/>
                </a:cubicBezTo>
                <a:lnTo>
                  <a:pt x="3397" y="217"/>
                </a:lnTo>
                <a:cubicBezTo>
                  <a:pt x="3402" y="176"/>
                  <a:pt x="3433" y="165"/>
                  <a:pt x="3471" y="165"/>
                </a:cubicBezTo>
                <a:cubicBezTo>
                  <a:pt x="3513" y="165"/>
                  <a:pt x="3539" y="181"/>
                  <a:pt x="3542" y="230"/>
                </a:cubicBezTo>
                <a:lnTo>
                  <a:pt x="3542" y="257"/>
                </a:lnTo>
                <a:close/>
                <a:moveTo>
                  <a:pt x="3708" y="269"/>
                </a:moveTo>
                <a:cubicBezTo>
                  <a:pt x="3708" y="215"/>
                  <a:pt x="3735" y="165"/>
                  <a:pt x="3794" y="165"/>
                </a:cubicBezTo>
                <a:cubicBezTo>
                  <a:pt x="3843" y="165"/>
                  <a:pt x="3873" y="196"/>
                  <a:pt x="3873" y="248"/>
                </a:cubicBezTo>
                <a:lnTo>
                  <a:pt x="3873" y="442"/>
                </a:lnTo>
                <a:lnTo>
                  <a:pt x="3909" y="442"/>
                </a:lnTo>
                <a:lnTo>
                  <a:pt x="3909" y="254"/>
                </a:lnTo>
                <a:cubicBezTo>
                  <a:pt x="3909" y="219"/>
                  <a:pt x="3901" y="132"/>
                  <a:pt x="3803" y="132"/>
                </a:cubicBezTo>
                <a:cubicBezTo>
                  <a:pt x="3764" y="132"/>
                  <a:pt x="3730" y="149"/>
                  <a:pt x="3709" y="187"/>
                </a:cubicBezTo>
                <a:lnTo>
                  <a:pt x="3708" y="185"/>
                </a:lnTo>
                <a:lnTo>
                  <a:pt x="3706" y="141"/>
                </a:lnTo>
                <a:lnTo>
                  <a:pt x="3669" y="141"/>
                </a:lnTo>
                <a:cubicBezTo>
                  <a:pt x="3670" y="161"/>
                  <a:pt x="3672" y="185"/>
                  <a:pt x="3672" y="209"/>
                </a:cubicBezTo>
                <a:lnTo>
                  <a:pt x="3672" y="442"/>
                </a:lnTo>
                <a:lnTo>
                  <a:pt x="3708" y="442"/>
                </a:lnTo>
                <a:lnTo>
                  <a:pt x="3708" y="269"/>
                </a:lnTo>
                <a:close/>
                <a:moveTo>
                  <a:pt x="3995" y="216"/>
                </a:moveTo>
                <a:cubicBezTo>
                  <a:pt x="3995" y="272"/>
                  <a:pt x="4043" y="286"/>
                  <a:pt x="4090" y="297"/>
                </a:cubicBezTo>
                <a:cubicBezTo>
                  <a:pt x="4138" y="308"/>
                  <a:pt x="4186" y="315"/>
                  <a:pt x="4186" y="358"/>
                </a:cubicBezTo>
                <a:cubicBezTo>
                  <a:pt x="4186" y="400"/>
                  <a:pt x="4145" y="418"/>
                  <a:pt x="4107" y="418"/>
                </a:cubicBezTo>
                <a:cubicBezTo>
                  <a:pt x="4066" y="418"/>
                  <a:pt x="4027" y="405"/>
                  <a:pt x="4024" y="360"/>
                </a:cubicBezTo>
                <a:lnTo>
                  <a:pt x="3985" y="360"/>
                </a:lnTo>
                <a:cubicBezTo>
                  <a:pt x="3986" y="426"/>
                  <a:pt x="4046" y="451"/>
                  <a:pt x="4098" y="451"/>
                </a:cubicBezTo>
                <a:cubicBezTo>
                  <a:pt x="4162" y="451"/>
                  <a:pt x="4224" y="421"/>
                  <a:pt x="4224" y="353"/>
                </a:cubicBezTo>
                <a:cubicBezTo>
                  <a:pt x="4224" y="320"/>
                  <a:pt x="4205" y="293"/>
                  <a:pt x="4174" y="283"/>
                </a:cubicBezTo>
                <a:cubicBezTo>
                  <a:pt x="4092" y="254"/>
                  <a:pt x="4034" y="258"/>
                  <a:pt x="4034" y="214"/>
                </a:cubicBezTo>
                <a:cubicBezTo>
                  <a:pt x="4034" y="178"/>
                  <a:pt x="4068" y="165"/>
                  <a:pt x="4102" y="165"/>
                </a:cubicBezTo>
                <a:cubicBezTo>
                  <a:pt x="4139" y="165"/>
                  <a:pt x="4172" y="178"/>
                  <a:pt x="4176" y="215"/>
                </a:cubicBezTo>
                <a:lnTo>
                  <a:pt x="4215" y="215"/>
                </a:lnTo>
                <a:cubicBezTo>
                  <a:pt x="4210" y="152"/>
                  <a:pt x="4162" y="132"/>
                  <a:pt x="4105" y="132"/>
                </a:cubicBezTo>
                <a:cubicBezTo>
                  <a:pt x="4052" y="132"/>
                  <a:pt x="3995" y="154"/>
                  <a:pt x="3995" y="216"/>
                </a:cubicBezTo>
                <a:close/>
                <a:moveTo>
                  <a:pt x="4367" y="442"/>
                </a:moveTo>
                <a:lnTo>
                  <a:pt x="4367" y="174"/>
                </a:lnTo>
                <a:lnTo>
                  <a:pt x="4435" y="174"/>
                </a:lnTo>
                <a:lnTo>
                  <a:pt x="4435" y="141"/>
                </a:lnTo>
                <a:lnTo>
                  <a:pt x="4367" y="141"/>
                </a:lnTo>
                <a:lnTo>
                  <a:pt x="4367" y="103"/>
                </a:lnTo>
                <a:cubicBezTo>
                  <a:pt x="4365" y="59"/>
                  <a:pt x="4366" y="35"/>
                  <a:pt x="4415" y="35"/>
                </a:cubicBezTo>
                <a:cubicBezTo>
                  <a:pt x="4423" y="35"/>
                  <a:pt x="4430" y="36"/>
                  <a:pt x="4437" y="37"/>
                </a:cubicBezTo>
                <a:lnTo>
                  <a:pt x="4437" y="8"/>
                </a:lnTo>
                <a:cubicBezTo>
                  <a:pt x="4427" y="6"/>
                  <a:pt x="4415" y="2"/>
                  <a:pt x="4403" y="2"/>
                </a:cubicBezTo>
                <a:cubicBezTo>
                  <a:pt x="4352" y="2"/>
                  <a:pt x="4331" y="25"/>
                  <a:pt x="4331" y="77"/>
                </a:cubicBezTo>
                <a:lnTo>
                  <a:pt x="4331" y="141"/>
                </a:lnTo>
                <a:lnTo>
                  <a:pt x="4270" y="141"/>
                </a:lnTo>
                <a:lnTo>
                  <a:pt x="4270" y="174"/>
                </a:lnTo>
                <a:lnTo>
                  <a:pt x="4331" y="174"/>
                </a:lnTo>
                <a:lnTo>
                  <a:pt x="4331" y="442"/>
                </a:lnTo>
                <a:lnTo>
                  <a:pt x="4367" y="442"/>
                </a:lnTo>
                <a:close/>
                <a:moveTo>
                  <a:pt x="4725" y="292"/>
                </a:moveTo>
                <a:cubicBezTo>
                  <a:pt x="4725" y="347"/>
                  <a:pt x="4696" y="418"/>
                  <a:pt x="4623" y="418"/>
                </a:cubicBezTo>
                <a:cubicBezTo>
                  <a:pt x="4551" y="418"/>
                  <a:pt x="4522" y="347"/>
                  <a:pt x="4522" y="292"/>
                </a:cubicBezTo>
                <a:cubicBezTo>
                  <a:pt x="4522" y="236"/>
                  <a:pt x="4551" y="165"/>
                  <a:pt x="4623" y="165"/>
                </a:cubicBezTo>
                <a:cubicBezTo>
                  <a:pt x="4696" y="165"/>
                  <a:pt x="4725" y="236"/>
                  <a:pt x="4725" y="292"/>
                </a:cubicBezTo>
                <a:close/>
                <a:moveTo>
                  <a:pt x="4623" y="132"/>
                </a:moveTo>
                <a:cubicBezTo>
                  <a:pt x="4527" y="132"/>
                  <a:pt x="4483" y="212"/>
                  <a:pt x="4483" y="292"/>
                </a:cubicBezTo>
                <a:cubicBezTo>
                  <a:pt x="4483" y="371"/>
                  <a:pt x="4527" y="451"/>
                  <a:pt x="4623" y="451"/>
                </a:cubicBezTo>
                <a:cubicBezTo>
                  <a:pt x="4719" y="451"/>
                  <a:pt x="4764" y="371"/>
                  <a:pt x="4764" y="292"/>
                </a:cubicBezTo>
                <a:cubicBezTo>
                  <a:pt x="4764" y="212"/>
                  <a:pt x="4719" y="132"/>
                  <a:pt x="4623" y="132"/>
                </a:cubicBezTo>
                <a:close/>
                <a:moveTo>
                  <a:pt x="4874" y="261"/>
                </a:moveTo>
                <a:cubicBezTo>
                  <a:pt x="4875" y="203"/>
                  <a:pt x="4903" y="165"/>
                  <a:pt x="4957" y="165"/>
                </a:cubicBezTo>
                <a:cubicBezTo>
                  <a:pt x="4964" y="165"/>
                  <a:pt x="4972" y="167"/>
                  <a:pt x="4979" y="167"/>
                </a:cubicBezTo>
                <a:lnTo>
                  <a:pt x="4979" y="133"/>
                </a:lnTo>
                <a:cubicBezTo>
                  <a:pt x="4967" y="132"/>
                  <a:pt x="4955" y="132"/>
                  <a:pt x="4943" y="132"/>
                </a:cubicBezTo>
                <a:cubicBezTo>
                  <a:pt x="4913" y="133"/>
                  <a:pt x="4886" y="155"/>
                  <a:pt x="4875" y="185"/>
                </a:cubicBezTo>
                <a:lnTo>
                  <a:pt x="4874" y="185"/>
                </a:lnTo>
                <a:lnTo>
                  <a:pt x="4872" y="141"/>
                </a:lnTo>
                <a:lnTo>
                  <a:pt x="4835" y="141"/>
                </a:lnTo>
                <a:cubicBezTo>
                  <a:pt x="4836" y="161"/>
                  <a:pt x="4839" y="185"/>
                  <a:pt x="4838" y="209"/>
                </a:cubicBezTo>
                <a:lnTo>
                  <a:pt x="4838" y="442"/>
                </a:lnTo>
                <a:lnTo>
                  <a:pt x="4874" y="442"/>
                </a:lnTo>
                <a:lnTo>
                  <a:pt x="4874" y="261"/>
                </a:lnTo>
                <a:close/>
                <a:moveTo>
                  <a:pt x="5071" y="141"/>
                </a:moveTo>
                <a:lnTo>
                  <a:pt x="5034" y="141"/>
                </a:lnTo>
                <a:cubicBezTo>
                  <a:pt x="5035" y="161"/>
                  <a:pt x="5037" y="185"/>
                  <a:pt x="5037" y="209"/>
                </a:cubicBezTo>
                <a:lnTo>
                  <a:pt x="5037" y="442"/>
                </a:lnTo>
                <a:lnTo>
                  <a:pt x="5073" y="442"/>
                </a:lnTo>
                <a:lnTo>
                  <a:pt x="5073" y="269"/>
                </a:lnTo>
                <a:cubicBezTo>
                  <a:pt x="5073" y="215"/>
                  <a:pt x="5100" y="165"/>
                  <a:pt x="5159" y="165"/>
                </a:cubicBezTo>
                <a:cubicBezTo>
                  <a:pt x="5209" y="165"/>
                  <a:pt x="5239" y="196"/>
                  <a:pt x="5239" y="248"/>
                </a:cubicBezTo>
                <a:lnTo>
                  <a:pt x="5239" y="442"/>
                </a:lnTo>
                <a:lnTo>
                  <a:pt x="5275" y="442"/>
                </a:lnTo>
                <a:lnTo>
                  <a:pt x="5275" y="269"/>
                </a:lnTo>
                <a:cubicBezTo>
                  <a:pt x="5275" y="215"/>
                  <a:pt x="5302" y="165"/>
                  <a:pt x="5361" y="165"/>
                </a:cubicBezTo>
                <a:cubicBezTo>
                  <a:pt x="5410" y="165"/>
                  <a:pt x="5440" y="196"/>
                  <a:pt x="5440" y="248"/>
                </a:cubicBezTo>
                <a:lnTo>
                  <a:pt x="5440" y="442"/>
                </a:lnTo>
                <a:lnTo>
                  <a:pt x="5476" y="442"/>
                </a:lnTo>
                <a:lnTo>
                  <a:pt x="5476" y="254"/>
                </a:lnTo>
                <a:cubicBezTo>
                  <a:pt x="5476" y="219"/>
                  <a:pt x="5468" y="132"/>
                  <a:pt x="5370" y="132"/>
                </a:cubicBezTo>
                <a:cubicBezTo>
                  <a:pt x="5323" y="132"/>
                  <a:pt x="5288" y="163"/>
                  <a:pt x="5266" y="198"/>
                </a:cubicBezTo>
                <a:cubicBezTo>
                  <a:pt x="5253" y="158"/>
                  <a:pt x="5216" y="132"/>
                  <a:pt x="5168" y="132"/>
                </a:cubicBezTo>
                <a:cubicBezTo>
                  <a:pt x="5130" y="132"/>
                  <a:pt x="5095" y="149"/>
                  <a:pt x="5074" y="187"/>
                </a:cubicBezTo>
                <a:lnTo>
                  <a:pt x="5073" y="185"/>
                </a:lnTo>
                <a:lnTo>
                  <a:pt x="5071" y="141"/>
                </a:lnTo>
                <a:close/>
                <a:moveTo>
                  <a:pt x="5583" y="358"/>
                </a:moveTo>
                <a:cubicBezTo>
                  <a:pt x="5583" y="283"/>
                  <a:pt x="5690" y="292"/>
                  <a:pt x="5741" y="290"/>
                </a:cubicBezTo>
                <a:cubicBezTo>
                  <a:pt x="5745" y="353"/>
                  <a:pt x="5730" y="418"/>
                  <a:pt x="5651" y="418"/>
                </a:cubicBezTo>
                <a:cubicBezTo>
                  <a:pt x="5615" y="418"/>
                  <a:pt x="5583" y="399"/>
                  <a:pt x="5583" y="358"/>
                </a:cubicBezTo>
                <a:close/>
                <a:moveTo>
                  <a:pt x="5741" y="257"/>
                </a:moveTo>
                <a:cubicBezTo>
                  <a:pt x="5698" y="260"/>
                  <a:pt x="5645" y="254"/>
                  <a:pt x="5605" y="271"/>
                </a:cubicBezTo>
                <a:cubicBezTo>
                  <a:pt x="5569" y="286"/>
                  <a:pt x="5545" y="317"/>
                  <a:pt x="5545" y="358"/>
                </a:cubicBezTo>
                <a:cubicBezTo>
                  <a:pt x="5545" y="417"/>
                  <a:pt x="5589" y="451"/>
                  <a:pt x="5645" y="451"/>
                </a:cubicBezTo>
                <a:cubicBezTo>
                  <a:pt x="5685" y="451"/>
                  <a:pt x="5726" y="427"/>
                  <a:pt x="5739" y="402"/>
                </a:cubicBezTo>
                <a:lnTo>
                  <a:pt x="5741" y="398"/>
                </a:lnTo>
                <a:lnTo>
                  <a:pt x="5742" y="398"/>
                </a:lnTo>
                <a:lnTo>
                  <a:pt x="5743" y="442"/>
                </a:lnTo>
                <a:lnTo>
                  <a:pt x="5780" y="442"/>
                </a:lnTo>
                <a:cubicBezTo>
                  <a:pt x="5779" y="422"/>
                  <a:pt x="5777" y="398"/>
                  <a:pt x="5777" y="374"/>
                </a:cubicBezTo>
                <a:lnTo>
                  <a:pt x="5777" y="232"/>
                </a:lnTo>
                <a:cubicBezTo>
                  <a:pt x="5778" y="163"/>
                  <a:pt x="5737" y="132"/>
                  <a:pt x="5670" y="132"/>
                </a:cubicBezTo>
                <a:cubicBezTo>
                  <a:pt x="5613" y="132"/>
                  <a:pt x="5567" y="155"/>
                  <a:pt x="5558" y="217"/>
                </a:cubicBezTo>
                <a:lnTo>
                  <a:pt x="5596" y="217"/>
                </a:lnTo>
                <a:cubicBezTo>
                  <a:pt x="5601" y="176"/>
                  <a:pt x="5632" y="165"/>
                  <a:pt x="5670" y="165"/>
                </a:cubicBezTo>
                <a:cubicBezTo>
                  <a:pt x="5712" y="165"/>
                  <a:pt x="5738" y="181"/>
                  <a:pt x="5741" y="230"/>
                </a:cubicBezTo>
                <a:lnTo>
                  <a:pt x="5741" y="257"/>
                </a:lnTo>
                <a:close/>
                <a:moveTo>
                  <a:pt x="5897" y="362"/>
                </a:moveTo>
                <a:cubicBezTo>
                  <a:pt x="5897" y="402"/>
                  <a:pt x="5892" y="451"/>
                  <a:pt x="5968" y="451"/>
                </a:cubicBezTo>
                <a:cubicBezTo>
                  <a:pt x="5981" y="451"/>
                  <a:pt x="5994" y="449"/>
                  <a:pt x="6005" y="446"/>
                </a:cubicBezTo>
                <a:lnTo>
                  <a:pt x="6005" y="415"/>
                </a:lnTo>
                <a:cubicBezTo>
                  <a:pt x="5996" y="417"/>
                  <a:pt x="5985" y="418"/>
                  <a:pt x="5974" y="418"/>
                </a:cubicBezTo>
                <a:cubicBezTo>
                  <a:pt x="5946" y="418"/>
                  <a:pt x="5932" y="403"/>
                  <a:pt x="5933" y="375"/>
                </a:cubicBezTo>
                <a:lnTo>
                  <a:pt x="5933" y="174"/>
                </a:lnTo>
                <a:lnTo>
                  <a:pt x="6001" y="174"/>
                </a:lnTo>
                <a:lnTo>
                  <a:pt x="6001" y="141"/>
                </a:lnTo>
                <a:lnTo>
                  <a:pt x="5933" y="141"/>
                </a:lnTo>
                <a:lnTo>
                  <a:pt x="5933" y="61"/>
                </a:lnTo>
                <a:lnTo>
                  <a:pt x="5897" y="77"/>
                </a:lnTo>
                <a:lnTo>
                  <a:pt x="5897" y="141"/>
                </a:lnTo>
                <a:lnTo>
                  <a:pt x="5837" y="141"/>
                </a:lnTo>
                <a:lnTo>
                  <a:pt x="5837" y="174"/>
                </a:lnTo>
                <a:lnTo>
                  <a:pt x="5897" y="174"/>
                </a:lnTo>
                <a:lnTo>
                  <a:pt x="5897" y="362"/>
                </a:lnTo>
                <a:close/>
                <a:moveTo>
                  <a:pt x="6071" y="141"/>
                </a:moveTo>
                <a:lnTo>
                  <a:pt x="6071" y="442"/>
                </a:lnTo>
                <a:lnTo>
                  <a:pt x="6107" y="442"/>
                </a:lnTo>
                <a:lnTo>
                  <a:pt x="6107" y="141"/>
                </a:lnTo>
                <a:lnTo>
                  <a:pt x="6071" y="141"/>
                </a:lnTo>
                <a:close/>
                <a:moveTo>
                  <a:pt x="6110" y="9"/>
                </a:moveTo>
                <a:lnTo>
                  <a:pt x="6068" y="9"/>
                </a:lnTo>
                <a:lnTo>
                  <a:pt x="6068" y="54"/>
                </a:lnTo>
                <a:lnTo>
                  <a:pt x="6110" y="54"/>
                </a:lnTo>
                <a:lnTo>
                  <a:pt x="6110" y="9"/>
                </a:lnTo>
                <a:close/>
                <a:moveTo>
                  <a:pt x="6424" y="292"/>
                </a:moveTo>
                <a:cubicBezTo>
                  <a:pt x="6424" y="347"/>
                  <a:pt x="6395" y="418"/>
                  <a:pt x="6322" y="418"/>
                </a:cubicBezTo>
                <a:cubicBezTo>
                  <a:pt x="6250" y="418"/>
                  <a:pt x="6221" y="347"/>
                  <a:pt x="6221" y="292"/>
                </a:cubicBezTo>
                <a:cubicBezTo>
                  <a:pt x="6221" y="236"/>
                  <a:pt x="6250" y="165"/>
                  <a:pt x="6322" y="165"/>
                </a:cubicBezTo>
                <a:cubicBezTo>
                  <a:pt x="6395" y="165"/>
                  <a:pt x="6424" y="236"/>
                  <a:pt x="6424" y="292"/>
                </a:cubicBezTo>
                <a:close/>
                <a:moveTo>
                  <a:pt x="6322" y="132"/>
                </a:moveTo>
                <a:cubicBezTo>
                  <a:pt x="6226" y="132"/>
                  <a:pt x="6182" y="212"/>
                  <a:pt x="6182" y="292"/>
                </a:cubicBezTo>
                <a:cubicBezTo>
                  <a:pt x="6182" y="371"/>
                  <a:pt x="6226" y="451"/>
                  <a:pt x="6322" y="451"/>
                </a:cubicBezTo>
                <a:cubicBezTo>
                  <a:pt x="6418" y="451"/>
                  <a:pt x="6463" y="371"/>
                  <a:pt x="6463" y="292"/>
                </a:cubicBezTo>
                <a:cubicBezTo>
                  <a:pt x="6463" y="212"/>
                  <a:pt x="6418" y="132"/>
                  <a:pt x="6322" y="132"/>
                </a:cubicBezTo>
                <a:close/>
                <a:moveTo>
                  <a:pt x="6573" y="269"/>
                </a:moveTo>
                <a:cubicBezTo>
                  <a:pt x="6573" y="215"/>
                  <a:pt x="6600" y="165"/>
                  <a:pt x="6659" y="165"/>
                </a:cubicBezTo>
                <a:cubicBezTo>
                  <a:pt x="6709" y="165"/>
                  <a:pt x="6739" y="196"/>
                  <a:pt x="6739" y="248"/>
                </a:cubicBezTo>
                <a:lnTo>
                  <a:pt x="6739" y="442"/>
                </a:lnTo>
                <a:lnTo>
                  <a:pt x="6774" y="442"/>
                </a:lnTo>
                <a:lnTo>
                  <a:pt x="6774" y="254"/>
                </a:lnTo>
                <a:cubicBezTo>
                  <a:pt x="6774" y="219"/>
                  <a:pt x="6767" y="132"/>
                  <a:pt x="6668" y="132"/>
                </a:cubicBezTo>
                <a:cubicBezTo>
                  <a:pt x="6629" y="132"/>
                  <a:pt x="6595" y="149"/>
                  <a:pt x="6574" y="187"/>
                </a:cubicBezTo>
                <a:lnTo>
                  <a:pt x="6573" y="185"/>
                </a:lnTo>
                <a:lnTo>
                  <a:pt x="6571" y="141"/>
                </a:lnTo>
                <a:lnTo>
                  <a:pt x="6534" y="141"/>
                </a:lnTo>
                <a:cubicBezTo>
                  <a:pt x="6535" y="161"/>
                  <a:pt x="6537" y="185"/>
                  <a:pt x="6537" y="209"/>
                </a:cubicBezTo>
                <a:lnTo>
                  <a:pt x="6537" y="442"/>
                </a:lnTo>
                <a:lnTo>
                  <a:pt x="6573" y="442"/>
                </a:lnTo>
                <a:lnTo>
                  <a:pt x="6573" y="269"/>
                </a:lnTo>
                <a:close/>
                <a:moveTo>
                  <a:pt x="7356" y="110"/>
                </a:moveTo>
                <a:cubicBezTo>
                  <a:pt x="7350" y="33"/>
                  <a:pt x="7283" y="0"/>
                  <a:pt x="7212" y="0"/>
                </a:cubicBezTo>
                <a:cubicBezTo>
                  <a:pt x="7081" y="0"/>
                  <a:pt x="7026" y="107"/>
                  <a:pt x="7026" y="226"/>
                </a:cubicBezTo>
                <a:cubicBezTo>
                  <a:pt x="7026" y="346"/>
                  <a:pt x="7081" y="451"/>
                  <a:pt x="7212" y="451"/>
                </a:cubicBezTo>
                <a:cubicBezTo>
                  <a:pt x="7282" y="451"/>
                  <a:pt x="7348" y="410"/>
                  <a:pt x="7361" y="337"/>
                </a:cubicBezTo>
                <a:lnTo>
                  <a:pt x="7319" y="337"/>
                </a:lnTo>
                <a:cubicBezTo>
                  <a:pt x="7308" y="391"/>
                  <a:pt x="7260" y="415"/>
                  <a:pt x="7212" y="415"/>
                </a:cubicBezTo>
                <a:cubicBezTo>
                  <a:pt x="7101" y="415"/>
                  <a:pt x="7068" y="314"/>
                  <a:pt x="7068" y="226"/>
                </a:cubicBezTo>
                <a:cubicBezTo>
                  <a:pt x="7068" y="137"/>
                  <a:pt x="7101" y="36"/>
                  <a:pt x="7212" y="36"/>
                </a:cubicBezTo>
                <a:cubicBezTo>
                  <a:pt x="7262" y="36"/>
                  <a:pt x="7307" y="58"/>
                  <a:pt x="7314" y="110"/>
                </a:cubicBezTo>
                <a:lnTo>
                  <a:pt x="7356" y="110"/>
                </a:lnTo>
                <a:close/>
                <a:moveTo>
                  <a:pt x="7657" y="292"/>
                </a:moveTo>
                <a:cubicBezTo>
                  <a:pt x="7657" y="347"/>
                  <a:pt x="7629" y="418"/>
                  <a:pt x="7556" y="418"/>
                </a:cubicBezTo>
                <a:cubicBezTo>
                  <a:pt x="7483" y="418"/>
                  <a:pt x="7455" y="347"/>
                  <a:pt x="7455" y="292"/>
                </a:cubicBezTo>
                <a:cubicBezTo>
                  <a:pt x="7455" y="236"/>
                  <a:pt x="7483" y="165"/>
                  <a:pt x="7556" y="165"/>
                </a:cubicBezTo>
                <a:cubicBezTo>
                  <a:pt x="7629" y="165"/>
                  <a:pt x="7657" y="236"/>
                  <a:pt x="7657" y="292"/>
                </a:cubicBezTo>
                <a:close/>
                <a:moveTo>
                  <a:pt x="7556" y="132"/>
                </a:moveTo>
                <a:cubicBezTo>
                  <a:pt x="7460" y="132"/>
                  <a:pt x="7416" y="212"/>
                  <a:pt x="7416" y="292"/>
                </a:cubicBezTo>
                <a:cubicBezTo>
                  <a:pt x="7416" y="371"/>
                  <a:pt x="7460" y="451"/>
                  <a:pt x="7556" y="451"/>
                </a:cubicBezTo>
                <a:cubicBezTo>
                  <a:pt x="7652" y="451"/>
                  <a:pt x="7696" y="371"/>
                  <a:pt x="7696" y="292"/>
                </a:cubicBezTo>
                <a:cubicBezTo>
                  <a:pt x="7696" y="212"/>
                  <a:pt x="7652" y="132"/>
                  <a:pt x="7556" y="132"/>
                </a:cubicBezTo>
                <a:close/>
                <a:moveTo>
                  <a:pt x="7804" y="141"/>
                </a:moveTo>
                <a:lnTo>
                  <a:pt x="7767" y="141"/>
                </a:lnTo>
                <a:cubicBezTo>
                  <a:pt x="7768" y="161"/>
                  <a:pt x="7770" y="185"/>
                  <a:pt x="7770" y="209"/>
                </a:cubicBezTo>
                <a:lnTo>
                  <a:pt x="7770" y="442"/>
                </a:lnTo>
                <a:lnTo>
                  <a:pt x="7806" y="442"/>
                </a:lnTo>
                <a:lnTo>
                  <a:pt x="7806" y="269"/>
                </a:lnTo>
                <a:cubicBezTo>
                  <a:pt x="7806" y="215"/>
                  <a:pt x="7833" y="165"/>
                  <a:pt x="7892" y="165"/>
                </a:cubicBezTo>
                <a:cubicBezTo>
                  <a:pt x="7942" y="165"/>
                  <a:pt x="7971" y="196"/>
                  <a:pt x="7971" y="248"/>
                </a:cubicBezTo>
                <a:lnTo>
                  <a:pt x="7971" y="442"/>
                </a:lnTo>
                <a:lnTo>
                  <a:pt x="8007" y="442"/>
                </a:lnTo>
                <a:lnTo>
                  <a:pt x="8007" y="269"/>
                </a:lnTo>
                <a:cubicBezTo>
                  <a:pt x="8007" y="215"/>
                  <a:pt x="8034" y="165"/>
                  <a:pt x="8094" y="165"/>
                </a:cubicBezTo>
                <a:cubicBezTo>
                  <a:pt x="8143" y="165"/>
                  <a:pt x="8173" y="196"/>
                  <a:pt x="8173" y="248"/>
                </a:cubicBezTo>
                <a:lnTo>
                  <a:pt x="8173" y="442"/>
                </a:lnTo>
                <a:lnTo>
                  <a:pt x="8209" y="442"/>
                </a:lnTo>
                <a:lnTo>
                  <a:pt x="8209" y="254"/>
                </a:lnTo>
                <a:cubicBezTo>
                  <a:pt x="8209" y="219"/>
                  <a:pt x="8201" y="132"/>
                  <a:pt x="8103" y="132"/>
                </a:cubicBezTo>
                <a:cubicBezTo>
                  <a:pt x="8056" y="132"/>
                  <a:pt x="8021" y="163"/>
                  <a:pt x="7999" y="198"/>
                </a:cubicBezTo>
                <a:cubicBezTo>
                  <a:pt x="7986" y="158"/>
                  <a:pt x="7949" y="132"/>
                  <a:pt x="7901" y="132"/>
                </a:cubicBezTo>
                <a:cubicBezTo>
                  <a:pt x="7862" y="132"/>
                  <a:pt x="7828" y="149"/>
                  <a:pt x="7807" y="187"/>
                </a:cubicBezTo>
                <a:lnTo>
                  <a:pt x="7806" y="185"/>
                </a:lnTo>
                <a:lnTo>
                  <a:pt x="7804" y="141"/>
                </a:lnTo>
                <a:close/>
                <a:moveTo>
                  <a:pt x="8334" y="284"/>
                </a:moveTo>
                <a:cubicBezTo>
                  <a:pt x="8334" y="223"/>
                  <a:pt x="8361" y="165"/>
                  <a:pt x="8431" y="165"/>
                </a:cubicBezTo>
                <a:cubicBezTo>
                  <a:pt x="8499" y="165"/>
                  <a:pt x="8523" y="229"/>
                  <a:pt x="8523" y="286"/>
                </a:cubicBezTo>
                <a:cubicBezTo>
                  <a:pt x="8523" y="342"/>
                  <a:pt x="8505" y="418"/>
                  <a:pt x="8436" y="418"/>
                </a:cubicBezTo>
                <a:cubicBezTo>
                  <a:pt x="8358" y="418"/>
                  <a:pt x="8334" y="353"/>
                  <a:pt x="8334" y="284"/>
                </a:cubicBezTo>
                <a:close/>
                <a:moveTo>
                  <a:pt x="8334" y="395"/>
                </a:moveTo>
                <a:lnTo>
                  <a:pt x="8335" y="395"/>
                </a:lnTo>
                <a:cubicBezTo>
                  <a:pt x="8359" y="431"/>
                  <a:pt x="8396" y="451"/>
                  <a:pt x="8440" y="451"/>
                </a:cubicBezTo>
                <a:cubicBezTo>
                  <a:pt x="8527" y="451"/>
                  <a:pt x="8562" y="366"/>
                  <a:pt x="8562" y="290"/>
                </a:cubicBezTo>
                <a:cubicBezTo>
                  <a:pt x="8562" y="212"/>
                  <a:pt x="8527" y="132"/>
                  <a:pt x="8438" y="132"/>
                </a:cubicBezTo>
                <a:cubicBezTo>
                  <a:pt x="8398" y="132"/>
                  <a:pt x="8356" y="151"/>
                  <a:pt x="8335" y="187"/>
                </a:cubicBezTo>
                <a:lnTo>
                  <a:pt x="8334" y="185"/>
                </a:lnTo>
                <a:lnTo>
                  <a:pt x="8332" y="141"/>
                </a:lnTo>
                <a:lnTo>
                  <a:pt x="8295" y="141"/>
                </a:lnTo>
                <a:cubicBezTo>
                  <a:pt x="8296" y="161"/>
                  <a:pt x="8298" y="185"/>
                  <a:pt x="8298" y="209"/>
                </a:cubicBezTo>
                <a:lnTo>
                  <a:pt x="8298" y="557"/>
                </a:lnTo>
                <a:lnTo>
                  <a:pt x="8334" y="557"/>
                </a:lnTo>
                <a:lnTo>
                  <a:pt x="8334" y="395"/>
                </a:lnTo>
                <a:close/>
                <a:moveTo>
                  <a:pt x="8650" y="358"/>
                </a:moveTo>
                <a:cubicBezTo>
                  <a:pt x="8650" y="283"/>
                  <a:pt x="8756" y="292"/>
                  <a:pt x="8807" y="290"/>
                </a:cubicBezTo>
                <a:cubicBezTo>
                  <a:pt x="8811" y="353"/>
                  <a:pt x="8796" y="418"/>
                  <a:pt x="8717" y="418"/>
                </a:cubicBezTo>
                <a:cubicBezTo>
                  <a:pt x="8681" y="418"/>
                  <a:pt x="8650" y="399"/>
                  <a:pt x="8650" y="358"/>
                </a:cubicBezTo>
                <a:close/>
                <a:moveTo>
                  <a:pt x="8807" y="257"/>
                </a:moveTo>
                <a:cubicBezTo>
                  <a:pt x="8764" y="260"/>
                  <a:pt x="8711" y="254"/>
                  <a:pt x="8671" y="271"/>
                </a:cubicBezTo>
                <a:cubicBezTo>
                  <a:pt x="8635" y="286"/>
                  <a:pt x="8611" y="317"/>
                  <a:pt x="8611" y="358"/>
                </a:cubicBezTo>
                <a:cubicBezTo>
                  <a:pt x="8611" y="417"/>
                  <a:pt x="8655" y="451"/>
                  <a:pt x="8711" y="451"/>
                </a:cubicBezTo>
                <a:cubicBezTo>
                  <a:pt x="8752" y="451"/>
                  <a:pt x="8792" y="427"/>
                  <a:pt x="8805" y="402"/>
                </a:cubicBezTo>
                <a:lnTo>
                  <a:pt x="8807" y="398"/>
                </a:lnTo>
                <a:lnTo>
                  <a:pt x="8808" y="398"/>
                </a:lnTo>
                <a:lnTo>
                  <a:pt x="8809" y="442"/>
                </a:lnTo>
                <a:lnTo>
                  <a:pt x="8846" y="442"/>
                </a:lnTo>
                <a:cubicBezTo>
                  <a:pt x="8845" y="422"/>
                  <a:pt x="8843" y="398"/>
                  <a:pt x="8843" y="374"/>
                </a:cubicBezTo>
                <a:lnTo>
                  <a:pt x="8843" y="232"/>
                </a:lnTo>
                <a:cubicBezTo>
                  <a:pt x="8845" y="163"/>
                  <a:pt x="8803" y="132"/>
                  <a:pt x="8737" y="132"/>
                </a:cubicBezTo>
                <a:cubicBezTo>
                  <a:pt x="8679" y="132"/>
                  <a:pt x="8633" y="155"/>
                  <a:pt x="8624" y="217"/>
                </a:cubicBezTo>
                <a:lnTo>
                  <a:pt x="8662" y="217"/>
                </a:lnTo>
                <a:cubicBezTo>
                  <a:pt x="8667" y="176"/>
                  <a:pt x="8698" y="165"/>
                  <a:pt x="8736" y="165"/>
                </a:cubicBezTo>
                <a:cubicBezTo>
                  <a:pt x="8779" y="165"/>
                  <a:pt x="8804" y="181"/>
                  <a:pt x="8807" y="230"/>
                </a:cubicBezTo>
                <a:lnTo>
                  <a:pt x="8807" y="257"/>
                </a:lnTo>
                <a:close/>
                <a:moveTo>
                  <a:pt x="8973" y="269"/>
                </a:moveTo>
                <a:cubicBezTo>
                  <a:pt x="8973" y="215"/>
                  <a:pt x="9000" y="165"/>
                  <a:pt x="9059" y="165"/>
                </a:cubicBezTo>
                <a:cubicBezTo>
                  <a:pt x="9108" y="165"/>
                  <a:pt x="9138" y="196"/>
                  <a:pt x="9138" y="248"/>
                </a:cubicBezTo>
                <a:lnTo>
                  <a:pt x="9138" y="442"/>
                </a:lnTo>
                <a:lnTo>
                  <a:pt x="9174" y="442"/>
                </a:lnTo>
                <a:lnTo>
                  <a:pt x="9174" y="254"/>
                </a:lnTo>
                <a:cubicBezTo>
                  <a:pt x="9174" y="219"/>
                  <a:pt x="9167" y="132"/>
                  <a:pt x="9068" y="132"/>
                </a:cubicBezTo>
                <a:cubicBezTo>
                  <a:pt x="9029" y="132"/>
                  <a:pt x="8995" y="149"/>
                  <a:pt x="8974" y="187"/>
                </a:cubicBezTo>
                <a:lnTo>
                  <a:pt x="8973" y="185"/>
                </a:lnTo>
                <a:lnTo>
                  <a:pt x="8971" y="141"/>
                </a:lnTo>
                <a:lnTo>
                  <a:pt x="8934" y="141"/>
                </a:lnTo>
                <a:cubicBezTo>
                  <a:pt x="8935" y="161"/>
                  <a:pt x="8937" y="185"/>
                  <a:pt x="8937" y="209"/>
                </a:cubicBezTo>
                <a:lnTo>
                  <a:pt x="8937" y="442"/>
                </a:lnTo>
                <a:lnTo>
                  <a:pt x="8973" y="442"/>
                </a:lnTo>
                <a:lnTo>
                  <a:pt x="8973" y="269"/>
                </a:lnTo>
                <a:close/>
                <a:moveTo>
                  <a:pt x="9227" y="141"/>
                </a:moveTo>
                <a:lnTo>
                  <a:pt x="9352" y="442"/>
                </a:lnTo>
                <a:lnTo>
                  <a:pt x="9306" y="557"/>
                </a:lnTo>
                <a:lnTo>
                  <a:pt x="9346" y="557"/>
                </a:lnTo>
                <a:lnTo>
                  <a:pt x="9512" y="141"/>
                </a:lnTo>
                <a:lnTo>
                  <a:pt x="9473" y="141"/>
                </a:lnTo>
                <a:lnTo>
                  <a:pt x="9372" y="393"/>
                </a:lnTo>
                <a:lnTo>
                  <a:pt x="9271" y="141"/>
                </a:lnTo>
                <a:lnTo>
                  <a:pt x="9227" y="14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p>
        </p:txBody>
      </p:sp>
    </p:spTree>
    <p:extLst>
      <p:ext uri="{BB962C8B-B14F-4D97-AF65-F5344CB8AC3E}">
        <p14:creationId xmlns:p14="http://schemas.microsoft.com/office/powerpoint/2010/main" val="894441519"/>
      </p:ext>
    </p:extLst>
  </p:cSld>
  <p:clrMapOvr>
    <a:masterClrMapping/>
  </p:clrMapOvr>
  <p:transition spd="med">
    <p:fade/>
  </p:transition>
  <p:extLst>
    <p:ext uri="{DCECCB84-F9BA-43D5-87BE-67443E8EF086}">
      <p15:sldGuideLst xmlns:p15="http://schemas.microsoft.com/office/powerpoint/2012/main">
        <p15:guide id="1" orient="horz" pos="2478" userDrawn="1">
          <p15:clr>
            <a:srgbClr val="FBAE40"/>
          </p15:clr>
        </p15:guide>
        <p15:guide id="2" orient="horz" pos="2886" userDrawn="1">
          <p15:clr>
            <a:srgbClr val="FBAE40"/>
          </p15:clr>
        </p15:guide>
        <p15:guide id="3" orient="horz" pos="295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Bild+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5544000" cy="48958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2" name="Fußzeilenplatzhalter 1">
            <a:extLst>
              <a:ext uri="{FF2B5EF4-FFF2-40B4-BE49-F238E27FC236}">
                <a16:creationId xmlns:a16="http://schemas.microsoft.com/office/drawing/2014/main" id="{6F5FE3BD-C6A0-4458-A37B-7B8A515FB43B}"/>
              </a:ext>
            </a:extLst>
          </p:cNvPr>
          <p:cNvSpPr>
            <a:spLocks noGrp="1"/>
          </p:cNvSpPr>
          <p:nvPr>
            <p:ph type="ftr" sz="quarter" idx="14"/>
          </p:nvPr>
        </p:nvSpPr>
        <p:spPr/>
        <p:txBody>
          <a:bodyPr/>
          <a:lstStyle/>
          <a:p>
            <a:r>
              <a:rPr lang="en-GB"/>
              <a:t>NZSUG Auckland Event + SAP Forum</a:t>
            </a:r>
            <a:endParaRPr lang="de-DE" dirty="0"/>
          </a:p>
        </p:txBody>
      </p:sp>
      <p:sp>
        <p:nvSpPr>
          <p:cNvPr id="6" name="Textplatzhalter 5">
            <a:extLst>
              <a:ext uri="{FF2B5EF4-FFF2-40B4-BE49-F238E27FC236}">
                <a16:creationId xmlns:a16="http://schemas.microsoft.com/office/drawing/2014/main" id="{01CD0E87-031F-4C93-B737-B689C3D54D8E}"/>
              </a:ext>
            </a:extLst>
          </p:cNvPr>
          <p:cNvSpPr>
            <a:spLocks noGrp="1"/>
          </p:cNvSpPr>
          <p:nvPr>
            <p:ph type="body" sz="quarter" idx="15" hasCustomPrompt="1"/>
          </p:nvPr>
        </p:nvSpPr>
        <p:spPr>
          <a:xfrm>
            <a:off x="6238875" y="1449388"/>
            <a:ext cx="5545138" cy="4895850"/>
          </a:xfrm>
        </p:spPr>
        <p:txBody>
          <a:bodyPr/>
          <a:lstStyle>
            <a:lvl1pPr>
              <a:defRPr/>
            </a:lvl1pPr>
            <a:lvl2pPr>
              <a:defRPr/>
            </a:lvl2pPr>
            <a:lvl3pPr>
              <a:defRPr/>
            </a:lvl3pPr>
            <a:lvl4pPr>
              <a:defRPr/>
            </a:lvl4pPr>
            <a:lvl5pP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2" name="Titelplatzhalter 1">
            <a:extLst>
              <a:ext uri="{FF2B5EF4-FFF2-40B4-BE49-F238E27FC236}">
                <a16:creationId xmlns:a16="http://schemas.microsoft.com/office/drawing/2014/main" id="{29B63DAE-69BA-47E6-B8F6-83E0903C5653}"/>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2070298207"/>
      </p:ext>
    </p:extLst>
  </p:cSld>
  <p:clrMapOvr>
    <a:masterClrMapping/>
  </p:clrMapOvr>
  <p:transition spd="med">
    <p:fade/>
  </p:transition>
  <p:extLst>
    <p:ext uri="{DCECCB84-F9BA-43D5-87BE-67443E8EF086}">
      <p15:sldGuideLst xmlns:p15="http://schemas.microsoft.com/office/powerpoint/2012/main">
        <p15:guide id="1" pos="3749" userDrawn="1">
          <p15:clr>
            <a:srgbClr val="FBAE40"/>
          </p15:clr>
        </p15:guide>
        <p15:guide id="2" pos="393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3xBild + 3x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3600000" cy="36004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dirty="0"/>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11" name="Bildplatzhalter 2">
            <a:extLst>
              <a:ext uri="{FF2B5EF4-FFF2-40B4-BE49-F238E27FC236}">
                <a16:creationId xmlns:a16="http://schemas.microsoft.com/office/drawing/2014/main" id="{FEB4D4E8-7A71-4264-A547-049D6364A68D}"/>
              </a:ext>
            </a:extLst>
          </p:cNvPr>
          <p:cNvSpPr>
            <a:spLocks noGrp="1"/>
          </p:cNvSpPr>
          <p:nvPr>
            <p:ph type="pic" sz="quarter" idx="14"/>
          </p:nvPr>
        </p:nvSpPr>
        <p:spPr>
          <a:xfrm>
            <a:off x="4295206" y="1449388"/>
            <a:ext cx="3600000" cy="36004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10" name="Bildplatzhalter 2">
            <a:extLst>
              <a:ext uri="{FF2B5EF4-FFF2-40B4-BE49-F238E27FC236}">
                <a16:creationId xmlns:a16="http://schemas.microsoft.com/office/drawing/2014/main" id="{00FC0136-678B-4D40-BD08-5ADA3AB4519B}"/>
              </a:ext>
            </a:extLst>
          </p:cNvPr>
          <p:cNvSpPr>
            <a:spLocks noGrp="1"/>
          </p:cNvSpPr>
          <p:nvPr>
            <p:ph type="pic" sz="quarter" idx="15"/>
          </p:nvPr>
        </p:nvSpPr>
        <p:spPr>
          <a:xfrm>
            <a:off x="8179343" y="1449388"/>
            <a:ext cx="3600000" cy="36004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2" name="Fußzeilenplatzhalter 1">
            <a:extLst>
              <a:ext uri="{FF2B5EF4-FFF2-40B4-BE49-F238E27FC236}">
                <a16:creationId xmlns:a16="http://schemas.microsoft.com/office/drawing/2014/main" id="{282EC309-A9CA-4EFA-A8E9-E87B7206AC7F}"/>
              </a:ext>
            </a:extLst>
          </p:cNvPr>
          <p:cNvSpPr>
            <a:spLocks noGrp="1"/>
          </p:cNvSpPr>
          <p:nvPr>
            <p:ph type="ftr" sz="quarter" idx="19"/>
          </p:nvPr>
        </p:nvSpPr>
        <p:spPr/>
        <p:txBody>
          <a:bodyPr/>
          <a:lstStyle/>
          <a:p>
            <a:r>
              <a:rPr lang="en-GB"/>
              <a:t>NZSUG Auckland Event + SAP Forum</a:t>
            </a:r>
            <a:endParaRPr lang="de-DE" dirty="0"/>
          </a:p>
        </p:txBody>
      </p:sp>
      <p:sp>
        <p:nvSpPr>
          <p:cNvPr id="13" name="Textplatzhalter 9">
            <a:extLst>
              <a:ext uri="{FF2B5EF4-FFF2-40B4-BE49-F238E27FC236}">
                <a16:creationId xmlns:a16="http://schemas.microsoft.com/office/drawing/2014/main" id="{BC0034B6-35EC-47A6-962E-B1FEF6DCBE88}"/>
              </a:ext>
            </a:extLst>
          </p:cNvPr>
          <p:cNvSpPr>
            <a:spLocks noGrp="1"/>
          </p:cNvSpPr>
          <p:nvPr>
            <p:ph type="body" sz="quarter" idx="17" hasCustomPrompt="1"/>
          </p:nvPr>
        </p:nvSpPr>
        <p:spPr>
          <a:xfrm>
            <a:off x="406401" y="5337175"/>
            <a:ext cx="3600000" cy="1008063"/>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4" name="Textplatzhalter 9">
            <a:extLst>
              <a:ext uri="{FF2B5EF4-FFF2-40B4-BE49-F238E27FC236}">
                <a16:creationId xmlns:a16="http://schemas.microsoft.com/office/drawing/2014/main" id="{B53B38AA-47AE-415E-A8B4-CC4AF4C50640}"/>
              </a:ext>
            </a:extLst>
          </p:cNvPr>
          <p:cNvSpPr>
            <a:spLocks noGrp="1"/>
          </p:cNvSpPr>
          <p:nvPr>
            <p:ph type="body" sz="quarter" idx="20" hasCustomPrompt="1"/>
          </p:nvPr>
        </p:nvSpPr>
        <p:spPr>
          <a:xfrm>
            <a:off x="4295775" y="5337175"/>
            <a:ext cx="3600000" cy="1008063"/>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5" name="Textplatzhalter 9">
            <a:extLst>
              <a:ext uri="{FF2B5EF4-FFF2-40B4-BE49-F238E27FC236}">
                <a16:creationId xmlns:a16="http://schemas.microsoft.com/office/drawing/2014/main" id="{BE2696EC-77A5-4D82-9001-7FE0658B8FF7}"/>
              </a:ext>
            </a:extLst>
          </p:cNvPr>
          <p:cNvSpPr>
            <a:spLocks noGrp="1"/>
          </p:cNvSpPr>
          <p:nvPr>
            <p:ph type="body" sz="quarter" idx="21" hasCustomPrompt="1"/>
          </p:nvPr>
        </p:nvSpPr>
        <p:spPr>
          <a:xfrm>
            <a:off x="8184013" y="5337175"/>
            <a:ext cx="3600000" cy="1008063"/>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8" name="Titelplatzhalter 1">
            <a:extLst>
              <a:ext uri="{FF2B5EF4-FFF2-40B4-BE49-F238E27FC236}">
                <a16:creationId xmlns:a16="http://schemas.microsoft.com/office/drawing/2014/main" id="{E7EC0151-CD2B-4B73-B153-89839F20F687}"/>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3509960192"/>
      </p:ext>
    </p:extLst>
  </p:cSld>
  <p:clrMapOvr>
    <a:masterClrMapping/>
  </p:clrMapOvr>
  <p:transition spd="med">
    <p:fade/>
  </p:transition>
  <p:extLst>
    <p:ext uri="{DCECCB84-F9BA-43D5-87BE-67443E8EF086}">
      <p15:sldGuideLst xmlns:p15="http://schemas.microsoft.com/office/powerpoint/2012/main">
        <p15:guide id="1" orient="horz" pos="3181" userDrawn="1">
          <p15:clr>
            <a:srgbClr val="FBAE40"/>
          </p15:clr>
        </p15:guide>
        <p15:guide id="2" pos="2524" userDrawn="1">
          <p15:clr>
            <a:srgbClr val="FBAE40"/>
          </p15:clr>
        </p15:guide>
        <p15:guide id="3" pos="2706" userDrawn="1">
          <p15:clr>
            <a:srgbClr val="FBAE40"/>
          </p15:clr>
        </p15:guide>
        <p15:guide id="4" pos="4973" userDrawn="1">
          <p15:clr>
            <a:srgbClr val="FBAE40"/>
          </p15:clr>
        </p15:guide>
        <p15:guide id="5" pos="5155" userDrawn="1">
          <p15:clr>
            <a:srgbClr val="FBAE40"/>
          </p15:clr>
        </p15:guide>
        <p15:guide id="6" orient="horz" pos="336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Bild+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9429450" cy="48958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2" name="Fußzeilenplatzhalter 1">
            <a:extLst>
              <a:ext uri="{FF2B5EF4-FFF2-40B4-BE49-F238E27FC236}">
                <a16:creationId xmlns:a16="http://schemas.microsoft.com/office/drawing/2014/main" id="{086B382B-24BC-4959-A825-81ED251D8BD8}"/>
              </a:ext>
            </a:extLst>
          </p:cNvPr>
          <p:cNvSpPr>
            <a:spLocks noGrp="1"/>
          </p:cNvSpPr>
          <p:nvPr>
            <p:ph type="ftr" sz="quarter" idx="14"/>
          </p:nvPr>
        </p:nvSpPr>
        <p:spPr/>
        <p:txBody>
          <a:bodyPr/>
          <a:lstStyle/>
          <a:p>
            <a:r>
              <a:rPr lang="en-GB"/>
              <a:t>NZSUG Auckland Event + SAP Forum</a:t>
            </a:r>
            <a:endParaRPr lang="de-DE" dirty="0"/>
          </a:p>
        </p:txBody>
      </p:sp>
      <p:sp>
        <p:nvSpPr>
          <p:cNvPr id="11" name="Textplatzhalter 9">
            <a:extLst>
              <a:ext uri="{FF2B5EF4-FFF2-40B4-BE49-F238E27FC236}">
                <a16:creationId xmlns:a16="http://schemas.microsoft.com/office/drawing/2014/main" id="{BCD957A6-1A4A-4B62-A16D-350C467F64F6}"/>
              </a:ext>
            </a:extLst>
          </p:cNvPr>
          <p:cNvSpPr>
            <a:spLocks noGrp="1"/>
          </p:cNvSpPr>
          <p:nvPr>
            <p:ph type="body" sz="quarter" idx="17" hasCustomPrompt="1"/>
          </p:nvPr>
        </p:nvSpPr>
        <p:spPr>
          <a:xfrm>
            <a:off x="10128250" y="1449389"/>
            <a:ext cx="1653500" cy="4895850"/>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3" name="Titelplatzhalter 1">
            <a:extLst>
              <a:ext uri="{FF2B5EF4-FFF2-40B4-BE49-F238E27FC236}">
                <a16:creationId xmlns:a16="http://schemas.microsoft.com/office/drawing/2014/main" id="{DC063DD4-994E-450D-A82C-7D9B6E908B51}"/>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540254365"/>
      </p:ext>
    </p:extLst>
  </p:cSld>
  <p:clrMapOvr>
    <a:masterClrMapping/>
  </p:clrMapOvr>
  <p:transition spd="med">
    <p:fade/>
  </p:transition>
  <p:extLst>
    <p:ext uri="{DCECCB84-F9BA-43D5-87BE-67443E8EF086}">
      <p15:sldGuideLst xmlns:p15="http://schemas.microsoft.com/office/powerpoint/2012/main">
        <p15:guide id="1" pos="6198" userDrawn="1">
          <p15:clr>
            <a:srgbClr val="FBAE40"/>
          </p15:clr>
        </p15:guide>
        <p15:guide id="2" pos="638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2xBild + 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4570725" cy="48958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44" name="Bildplatzhalter 2">
            <a:extLst>
              <a:ext uri="{FF2B5EF4-FFF2-40B4-BE49-F238E27FC236}">
                <a16:creationId xmlns:a16="http://schemas.microsoft.com/office/drawing/2014/main" id="{01A0BF0A-FCD3-49ED-91F6-953DC270DE33}"/>
              </a:ext>
            </a:extLst>
          </p:cNvPr>
          <p:cNvSpPr>
            <a:spLocks noGrp="1"/>
          </p:cNvSpPr>
          <p:nvPr>
            <p:ph type="pic" sz="quarter" idx="14"/>
          </p:nvPr>
        </p:nvSpPr>
        <p:spPr>
          <a:xfrm>
            <a:off x="5265125" y="1449388"/>
            <a:ext cx="4570725" cy="48958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2" name="Fußzeilenplatzhalter 1">
            <a:extLst>
              <a:ext uri="{FF2B5EF4-FFF2-40B4-BE49-F238E27FC236}">
                <a16:creationId xmlns:a16="http://schemas.microsoft.com/office/drawing/2014/main" id="{4F0C0B24-D274-4C7E-B9A9-B908B71431E8}"/>
              </a:ext>
            </a:extLst>
          </p:cNvPr>
          <p:cNvSpPr>
            <a:spLocks noGrp="1"/>
          </p:cNvSpPr>
          <p:nvPr>
            <p:ph type="ftr" sz="quarter" idx="15"/>
          </p:nvPr>
        </p:nvSpPr>
        <p:spPr/>
        <p:txBody>
          <a:bodyPr/>
          <a:lstStyle/>
          <a:p>
            <a:r>
              <a:rPr lang="en-GB"/>
              <a:t>NZSUG Auckland Event + SAP Forum</a:t>
            </a:r>
            <a:endParaRPr lang="de-DE" dirty="0"/>
          </a:p>
        </p:txBody>
      </p:sp>
      <p:sp>
        <p:nvSpPr>
          <p:cNvPr id="11" name="Textplatzhalter 9">
            <a:extLst>
              <a:ext uri="{FF2B5EF4-FFF2-40B4-BE49-F238E27FC236}">
                <a16:creationId xmlns:a16="http://schemas.microsoft.com/office/drawing/2014/main" id="{D0EE38C8-4C13-4702-B057-C6A91BC449B3}"/>
              </a:ext>
            </a:extLst>
          </p:cNvPr>
          <p:cNvSpPr>
            <a:spLocks noGrp="1"/>
          </p:cNvSpPr>
          <p:nvPr>
            <p:ph type="body" sz="quarter" idx="17" hasCustomPrompt="1"/>
          </p:nvPr>
        </p:nvSpPr>
        <p:spPr>
          <a:xfrm>
            <a:off x="10128250" y="1449389"/>
            <a:ext cx="1653500" cy="4895850"/>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3" name="Titelplatzhalter 1">
            <a:extLst>
              <a:ext uri="{FF2B5EF4-FFF2-40B4-BE49-F238E27FC236}">
                <a16:creationId xmlns:a16="http://schemas.microsoft.com/office/drawing/2014/main" id="{50C094C8-DB7D-40E5-B1A2-A447BDA40234}"/>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2621219712"/>
      </p:ext>
    </p:extLst>
  </p:cSld>
  <p:clrMapOvr>
    <a:masterClrMapping/>
  </p:clrMapOvr>
  <p:transition spd="med">
    <p:fade/>
  </p:transition>
  <p:extLst>
    <p:ext uri="{DCECCB84-F9BA-43D5-87BE-67443E8EF086}">
      <p15:sldGuideLst xmlns:p15="http://schemas.microsoft.com/office/powerpoint/2012/main">
        <p15:guide id="3" pos="6380" userDrawn="1">
          <p15:clr>
            <a:srgbClr val="FBAE40"/>
          </p15:clr>
        </p15:guide>
        <p15:guide id="4" pos="6198" userDrawn="1">
          <p15:clr>
            <a:srgbClr val="FBAE40"/>
          </p15:clr>
        </p15:guide>
        <p15:guide id="5" pos="3318" userDrawn="1">
          <p15:clr>
            <a:srgbClr val="FBAE40"/>
          </p15:clr>
        </p15:guide>
        <p15:guide id="6" pos="313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2xBild + 2x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4570725" cy="3597414"/>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44" name="Bildplatzhalter 2">
            <a:extLst>
              <a:ext uri="{FF2B5EF4-FFF2-40B4-BE49-F238E27FC236}">
                <a16:creationId xmlns:a16="http://schemas.microsoft.com/office/drawing/2014/main" id="{01A0BF0A-FCD3-49ED-91F6-953DC270DE33}"/>
              </a:ext>
            </a:extLst>
          </p:cNvPr>
          <p:cNvSpPr>
            <a:spLocks noGrp="1"/>
          </p:cNvSpPr>
          <p:nvPr>
            <p:ph type="pic" sz="quarter" idx="14"/>
          </p:nvPr>
        </p:nvSpPr>
        <p:spPr>
          <a:xfrm>
            <a:off x="5265126" y="1449388"/>
            <a:ext cx="3598980" cy="48958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2" name="Fußzeilenplatzhalter 1">
            <a:extLst>
              <a:ext uri="{FF2B5EF4-FFF2-40B4-BE49-F238E27FC236}">
                <a16:creationId xmlns:a16="http://schemas.microsoft.com/office/drawing/2014/main" id="{0BB49430-CB48-4306-A319-128538898516}"/>
              </a:ext>
            </a:extLst>
          </p:cNvPr>
          <p:cNvSpPr>
            <a:spLocks noGrp="1"/>
          </p:cNvSpPr>
          <p:nvPr>
            <p:ph type="ftr" sz="quarter" idx="16"/>
          </p:nvPr>
        </p:nvSpPr>
        <p:spPr/>
        <p:txBody>
          <a:bodyPr/>
          <a:lstStyle/>
          <a:p>
            <a:r>
              <a:rPr lang="en-GB"/>
              <a:t>NZSUG Auckland Event + SAP Forum</a:t>
            </a:r>
            <a:endParaRPr lang="de-DE" dirty="0"/>
          </a:p>
        </p:txBody>
      </p:sp>
      <p:sp>
        <p:nvSpPr>
          <p:cNvPr id="11" name="Textplatzhalter 9">
            <a:extLst>
              <a:ext uri="{FF2B5EF4-FFF2-40B4-BE49-F238E27FC236}">
                <a16:creationId xmlns:a16="http://schemas.microsoft.com/office/drawing/2014/main" id="{F94F1DC6-775B-4C63-A493-27EF97B765AB}"/>
              </a:ext>
            </a:extLst>
          </p:cNvPr>
          <p:cNvSpPr>
            <a:spLocks noGrp="1"/>
          </p:cNvSpPr>
          <p:nvPr>
            <p:ph type="body" sz="quarter" idx="18" hasCustomPrompt="1"/>
          </p:nvPr>
        </p:nvSpPr>
        <p:spPr>
          <a:xfrm>
            <a:off x="9152107" y="1449389"/>
            <a:ext cx="2629643" cy="4895850"/>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2" name="Textplatzhalter 9">
            <a:extLst>
              <a:ext uri="{FF2B5EF4-FFF2-40B4-BE49-F238E27FC236}">
                <a16:creationId xmlns:a16="http://schemas.microsoft.com/office/drawing/2014/main" id="{095A2E83-3E8D-4538-BDCD-E89E0FE7A016}"/>
              </a:ext>
            </a:extLst>
          </p:cNvPr>
          <p:cNvSpPr>
            <a:spLocks noGrp="1"/>
          </p:cNvSpPr>
          <p:nvPr>
            <p:ph type="body" sz="quarter" idx="17" hasCustomPrompt="1"/>
          </p:nvPr>
        </p:nvSpPr>
        <p:spPr>
          <a:xfrm>
            <a:off x="406400" y="5337175"/>
            <a:ext cx="4572000" cy="1008064"/>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5" name="Titelplatzhalter 1">
            <a:extLst>
              <a:ext uri="{FF2B5EF4-FFF2-40B4-BE49-F238E27FC236}">
                <a16:creationId xmlns:a16="http://schemas.microsoft.com/office/drawing/2014/main" id="{34F892A7-27C7-4E80-A0F8-FDF88791FA70}"/>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2534560981"/>
      </p:ext>
    </p:extLst>
  </p:cSld>
  <p:clrMapOvr>
    <a:masterClrMapping/>
  </p:clrMapOvr>
  <p:transition spd="med">
    <p:fade/>
  </p:transition>
  <p:extLst>
    <p:ext uri="{DCECCB84-F9BA-43D5-87BE-67443E8EF086}">
      <p15:sldGuideLst xmlns:p15="http://schemas.microsoft.com/office/powerpoint/2012/main">
        <p15:guide id="1" orient="horz" pos="3181" userDrawn="1">
          <p15:clr>
            <a:srgbClr val="FBAE40"/>
          </p15:clr>
        </p15:guide>
        <p15:guide id="4" orient="horz" pos="3362" userDrawn="1">
          <p15:clr>
            <a:srgbClr val="FBAE40"/>
          </p15:clr>
        </p15:guide>
        <p15:guide id="5" pos="5767" userDrawn="1">
          <p15:clr>
            <a:srgbClr val="FBAE40"/>
          </p15:clr>
        </p15:guide>
        <p15:guide id="6" pos="5586" userDrawn="1">
          <p15:clr>
            <a:srgbClr val="FBAE40"/>
          </p15:clr>
        </p15:guide>
        <p15:guide id="7" pos="3318" userDrawn="1">
          <p15:clr>
            <a:srgbClr val="FBAE40"/>
          </p15:clr>
        </p15:guide>
        <p15:guide id="8" pos="3136" userDrawn="1">
          <p15:clr>
            <a:srgbClr val="FBAE40"/>
          </p15:clr>
        </p15:guide>
        <p15:guide id="9" orient="horz" pos="2546" userDrawn="1">
          <p15:clr>
            <a:srgbClr val="FBAE40"/>
          </p15:clr>
        </p15:guide>
        <p15:guide id="10" orient="horz" pos="2364" userDrawn="1">
          <p15:clr>
            <a:srgbClr val="FBAE40"/>
          </p15:clr>
        </p15:guide>
        <p15:guide id="11" orient="horz" pos="1729" userDrawn="1">
          <p15:clr>
            <a:srgbClr val="FBAE40"/>
          </p15:clr>
        </p15:guide>
        <p15:guide id="12" orient="horz" pos="154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Referenzen">
    <p:spTree>
      <p:nvGrpSpPr>
        <p:cNvPr id="1" name=""/>
        <p:cNvGrpSpPr/>
        <p:nvPr/>
      </p:nvGrpSpPr>
      <p:grpSpPr>
        <a:xfrm>
          <a:off x="0" y="0"/>
          <a:ext cx="0" cy="0"/>
          <a:chOff x="0" y="0"/>
          <a:chExt cx="0" cy="0"/>
        </a:xfrm>
      </p:grpSpPr>
      <p:sp>
        <p:nvSpPr>
          <p:cNvPr id="21" name="Textplatzhalter 20">
            <a:extLst>
              <a:ext uri="{FF2B5EF4-FFF2-40B4-BE49-F238E27FC236}">
                <a16:creationId xmlns:a16="http://schemas.microsoft.com/office/drawing/2014/main" id="{9B02AE68-77DE-4717-B583-A34FDCB76C30}"/>
              </a:ext>
            </a:extLst>
          </p:cNvPr>
          <p:cNvSpPr>
            <a:spLocks noGrp="1"/>
          </p:cNvSpPr>
          <p:nvPr>
            <p:ph type="body" sz="quarter" idx="16" hasCustomPrompt="1"/>
          </p:nvPr>
        </p:nvSpPr>
        <p:spPr>
          <a:xfrm>
            <a:off x="406400" y="2457450"/>
            <a:ext cx="3600000" cy="3887788"/>
          </a:xfrm>
        </p:spPr>
        <p:txBody>
          <a:bodyPr tIns="72000"/>
          <a:lstStyle>
            <a:lvl1pPr marL="0" indent="0">
              <a:buClr>
                <a:schemeClr val="accent3"/>
              </a:buClr>
              <a:buFont typeface="Wingdings 2" panose="05020102010507070707" pitchFamily="18" charset="2"/>
              <a:buNone/>
              <a:defRPr b="0">
                <a:solidFill>
                  <a:schemeClr val="bg2"/>
                </a:solidFill>
              </a:defRPr>
            </a:lvl1pPr>
            <a:lvl2pPr marL="216000" indent="-216000">
              <a:spcBef>
                <a:spcPts val="600"/>
              </a:spcBef>
              <a:buClr>
                <a:schemeClr val="accent3"/>
              </a:buClr>
              <a:buFont typeface="Wingdings 2" panose="05020102010507070707" pitchFamily="18" charset="2"/>
              <a:buChar char="¡"/>
              <a:defRPr/>
            </a:lvl2pPr>
            <a:lvl3pPr marL="432000" indent="-216000">
              <a:spcBef>
                <a:spcPts val="600"/>
              </a:spcBef>
              <a:buFont typeface="Symbol" panose="05050102010706020507" pitchFamily="18" charset="2"/>
              <a:buChar char="-"/>
              <a:defRPr/>
            </a:lvl3pPr>
            <a:lvl4pPr marL="648000" indent="-216000">
              <a:spcBef>
                <a:spcPts val="600"/>
              </a:spcBef>
              <a:buFont typeface="Wingdings 2" panose="05020102010507070707" pitchFamily="18" charset="2"/>
              <a:buChar char="¡"/>
              <a:defRPr/>
            </a:lvl4pPr>
            <a:lvl5pPr marL="864000" indent="-216000">
              <a:spcBef>
                <a:spcPts val="600"/>
              </a:spcBef>
              <a:buFont typeface="Symbol" panose="05050102010706020507" pitchFamily="18" charset="2"/>
              <a:buChar cha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29" name="Textplatzhalter 20">
            <a:extLst>
              <a:ext uri="{FF2B5EF4-FFF2-40B4-BE49-F238E27FC236}">
                <a16:creationId xmlns:a16="http://schemas.microsoft.com/office/drawing/2014/main" id="{2A9DE786-A884-48C8-A21F-F9B6A3027164}"/>
              </a:ext>
            </a:extLst>
          </p:cNvPr>
          <p:cNvSpPr>
            <a:spLocks noGrp="1"/>
          </p:cNvSpPr>
          <p:nvPr>
            <p:ph type="body" sz="quarter" idx="19" hasCustomPrompt="1"/>
          </p:nvPr>
        </p:nvSpPr>
        <p:spPr>
          <a:xfrm>
            <a:off x="406400" y="1938211"/>
            <a:ext cx="3600000" cy="518519"/>
          </a:xfrm>
          <a:noFill/>
        </p:spPr>
        <p:txBody>
          <a:bodyPr bIns="72000" anchor="b" anchorCtr="0"/>
          <a:lstStyle>
            <a:lvl1pPr marL="0" indent="0">
              <a:buClr>
                <a:schemeClr val="accent3"/>
              </a:buClr>
              <a:buFontTx/>
              <a:buNone/>
              <a:defRPr b="0">
                <a:solidFill>
                  <a:schemeClr val="accent3"/>
                </a:solidFill>
              </a:defRPr>
            </a:lvl1pPr>
            <a:lvl2pPr marL="504000" indent="-252000">
              <a:buClr>
                <a:schemeClr val="accent3"/>
              </a:buClr>
              <a:buFont typeface="Symbol" panose="05050102010706020507" pitchFamily="18" charset="2"/>
              <a:buChar char="-"/>
              <a:defRPr/>
            </a:lvl2pPr>
            <a:lvl3pPr marL="756000">
              <a:defRPr/>
            </a:lvl3pPr>
            <a:lvl4pPr marL="1008000">
              <a:defRPr/>
            </a:lvl4pPr>
            <a:lvl5pPr marL="1260000">
              <a:defRPr/>
            </a:lvl5pPr>
          </a:lstStyle>
          <a:p>
            <a:pPr lvl="0"/>
            <a:r>
              <a:rPr lang="de-DE" dirty="0"/>
              <a:t>Challenge</a:t>
            </a:r>
          </a:p>
        </p:txBody>
      </p:sp>
      <p:sp>
        <p:nvSpPr>
          <p:cNvPr id="32" name="Textplatzhalter 20">
            <a:extLst>
              <a:ext uri="{FF2B5EF4-FFF2-40B4-BE49-F238E27FC236}">
                <a16:creationId xmlns:a16="http://schemas.microsoft.com/office/drawing/2014/main" id="{AE83A3B6-16A1-4184-86CD-F84815D03B67}"/>
              </a:ext>
            </a:extLst>
          </p:cNvPr>
          <p:cNvSpPr>
            <a:spLocks noGrp="1"/>
          </p:cNvSpPr>
          <p:nvPr>
            <p:ph type="body" sz="quarter" idx="20" hasCustomPrompt="1"/>
          </p:nvPr>
        </p:nvSpPr>
        <p:spPr>
          <a:xfrm>
            <a:off x="4295206" y="1938211"/>
            <a:ext cx="3600000" cy="518519"/>
          </a:xfrm>
          <a:noFill/>
        </p:spPr>
        <p:txBody>
          <a:bodyPr bIns="72000" anchor="b" anchorCtr="0"/>
          <a:lstStyle>
            <a:lvl1pPr marL="0" indent="0">
              <a:buClr>
                <a:schemeClr val="accent3"/>
              </a:buClr>
              <a:buFontTx/>
              <a:buNone/>
              <a:defRPr b="0">
                <a:solidFill>
                  <a:schemeClr val="accent3"/>
                </a:solidFill>
              </a:defRPr>
            </a:lvl1pPr>
            <a:lvl2pPr marL="504000" indent="-252000">
              <a:buClr>
                <a:schemeClr val="accent3"/>
              </a:buClr>
              <a:buFont typeface="Symbol" panose="05050102010706020507" pitchFamily="18" charset="2"/>
              <a:buChar char="-"/>
              <a:defRPr/>
            </a:lvl2pPr>
            <a:lvl3pPr marL="756000">
              <a:defRPr/>
            </a:lvl3pPr>
            <a:lvl4pPr marL="1008000">
              <a:defRPr/>
            </a:lvl4pPr>
            <a:lvl5pPr marL="1260000">
              <a:defRPr/>
            </a:lvl5pPr>
          </a:lstStyle>
          <a:p>
            <a:pPr lvl="0"/>
            <a:r>
              <a:rPr lang="de-DE" dirty="0"/>
              <a:t>Solution by SNP</a:t>
            </a:r>
          </a:p>
        </p:txBody>
      </p:sp>
      <p:sp>
        <p:nvSpPr>
          <p:cNvPr id="34" name="Textplatzhalter 20">
            <a:extLst>
              <a:ext uri="{FF2B5EF4-FFF2-40B4-BE49-F238E27FC236}">
                <a16:creationId xmlns:a16="http://schemas.microsoft.com/office/drawing/2014/main" id="{86BBDCC1-33B0-46D5-8E03-BC517AC835A6}"/>
              </a:ext>
            </a:extLst>
          </p:cNvPr>
          <p:cNvSpPr>
            <a:spLocks noGrp="1"/>
          </p:cNvSpPr>
          <p:nvPr>
            <p:ph type="body" sz="quarter" idx="21" hasCustomPrompt="1"/>
          </p:nvPr>
        </p:nvSpPr>
        <p:spPr>
          <a:xfrm>
            <a:off x="8177559" y="1938211"/>
            <a:ext cx="3600000" cy="518519"/>
          </a:xfrm>
          <a:noFill/>
        </p:spPr>
        <p:txBody>
          <a:bodyPr bIns="72000" anchor="b" anchorCtr="0"/>
          <a:lstStyle>
            <a:lvl1pPr marL="0" indent="0">
              <a:buClr>
                <a:schemeClr val="accent3"/>
              </a:buClr>
              <a:buFontTx/>
              <a:buNone/>
              <a:defRPr b="0">
                <a:solidFill>
                  <a:schemeClr val="accent3"/>
                </a:solidFill>
              </a:defRPr>
            </a:lvl1pPr>
            <a:lvl2pPr marL="252000" indent="0">
              <a:buClr>
                <a:schemeClr val="accent3"/>
              </a:buClr>
              <a:buFont typeface="Symbol" panose="05050102010706020507" pitchFamily="18" charset="2"/>
              <a:buNone/>
              <a:defRPr/>
            </a:lvl2pPr>
            <a:lvl3pPr marL="756000">
              <a:defRPr/>
            </a:lvl3pPr>
            <a:lvl4pPr marL="1008000">
              <a:defRPr/>
            </a:lvl4pPr>
            <a:lvl5pPr marL="1260000">
              <a:defRPr/>
            </a:lvl5pPr>
          </a:lstStyle>
          <a:p>
            <a:pPr lvl="0"/>
            <a:r>
              <a:rPr lang="de-DE" dirty="0"/>
              <a:t>Customer Value</a:t>
            </a:r>
          </a:p>
        </p:txBody>
      </p:sp>
      <p:sp>
        <p:nvSpPr>
          <p:cNvPr id="3" name="Datumsplatzhalter 2">
            <a:extLst>
              <a:ext uri="{FF2B5EF4-FFF2-40B4-BE49-F238E27FC236}">
                <a16:creationId xmlns:a16="http://schemas.microsoft.com/office/drawing/2014/main" id="{63F481E1-CFDE-483D-B37E-67995C7AE898}"/>
              </a:ext>
            </a:extLst>
          </p:cNvPr>
          <p:cNvSpPr>
            <a:spLocks noGrp="1"/>
          </p:cNvSpPr>
          <p:nvPr>
            <p:ph type="dt" sz="half" idx="10"/>
          </p:nvPr>
        </p:nvSpPr>
        <p:spPr/>
        <p:txBody>
          <a:bodyPr/>
          <a:lstStyle/>
          <a:p>
            <a:r>
              <a:rPr lang="en-US"/>
              <a:t>21/08/2019</a:t>
            </a:r>
            <a:endParaRPr lang="de-DE" dirty="0"/>
          </a:p>
        </p:txBody>
      </p:sp>
      <p:sp>
        <p:nvSpPr>
          <p:cNvPr id="4" name="Foliennummernplatzhalter 3">
            <a:extLst>
              <a:ext uri="{FF2B5EF4-FFF2-40B4-BE49-F238E27FC236}">
                <a16:creationId xmlns:a16="http://schemas.microsoft.com/office/drawing/2014/main" id="{343517EC-8216-4B1F-B315-2F2A0C3BE2F4}"/>
              </a:ext>
            </a:extLst>
          </p:cNvPr>
          <p:cNvSpPr>
            <a:spLocks noGrp="1"/>
          </p:cNvSpPr>
          <p:nvPr>
            <p:ph type="sldNum" sz="quarter" idx="11"/>
          </p:nvPr>
        </p:nvSpPr>
        <p:spPr/>
        <p:txBody>
          <a:bodyPr/>
          <a:lstStyle/>
          <a:p>
            <a:fld id="{221F1D72-F2AC-4B6E-A46C-E63D2CF40C7B}" type="slidenum">
              <a:rPr lang="de-DE" smtClean="0"/>
              <a:pPr/>
              <a:t>‹#›</a:t>
            </a:fld>
            <a:endParaRPr lang="de-DE" dirty="0"/>
          </a:p>
        </p:txBody>
      </p:sp>
      <p:cxnSp>
        <p:nvCxnSpPr>
          <p:cNvPr id="6" name="Gerade Verbindung 13">
            <a:extLst>
              <a:ext uri="{FF2B5EF4-FFF2-40B4-BE49-F238E27FC236}">
                <a16:creationId xmlns:a16="http://schemas.microsoft.com/office/drawing/2014/main" id="{24DBEF35-58B7-4603-936F-3E947838FC93}"/>
              </a:ext>
            </a:extLst>
          </p:cNvPr>
          <p:cNvCxnSpPr/>
          <p:nvPr userDrawn="1"/>
        </p:nvCxnSpPr>
        <p:spPr>
          <a:xfrm>
            <a:off x="4295206" y="2456730"/>
            <a:ext cx="3600000" cy="0"/>
          </a:xfrm>
          <a:prstGeom prst="line">
            <a:avLst/>
          </a:prstGeom>
          <a:ln w="12700">
            <a:solidFill>
              <a:schemeClr val="accent3"/>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 name="Gerade Verbindung 14">
            <a:extLst>
              <a:ext uri="{FF2B5EF4-FFF2-40B4-BE49-F238E27FC236}">
                <a16:creationId xmlns:a16="http://schemas.microsoft.com/office/drawing/2014/main" id="{787C234D-519B-4229-9899-F2CA2E252A0A}"/>
              </a:ext>
            </a:extLst>
          </p:cNvPr>
          <p:cNvCxnSpPr/>
          <p:nvPr userDrawn="1"/>
        </p:nvCxnSpPr>
        <p:spPr>
          <a:xfrm>
            <a:off x="406400" y="2456730"/>
            <a:ext cx="3600000" cy="0"/>
          </a:xfrm>
          <a:prstGeom prst="line">
            <a:avLst/>
          </a:prstGeom>
          <a:ln w="12700">
            <a:solidFill>
              <a:schemeClr val="accent3"/>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 name="Gerade Verbindung 15">
            <a:extLst>
              <a:ext uri="{FF2B5EF4-FFF2-40B4-BE49-F238E27FC236}">
                <a16:creationId xmlns:a16="http://schemas.microsoft.com/office/drawing/2014/main" id="{0B7136DE-2FCA-46DC-8699-09D80A32F329}"/>
              </a:ext>
            </a:extLst>
          </p:cNvPr>
          <p:cNvCxnSpPr/>
          <p:nvPr userDrawn="1"/>
        </p:nvCxnSpPr>
        <p:spPr>
          <a:xfrm>
            <a:off x="8177559" y="2456730"/>
            <a:ext cx="3600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9" name="Group 11">
            <a:extLst>
              <a:ext uri="{FF2B5EF4-FFF2-40B4-BE49-F238E27FC236}">
                <a16:creationId xmlns:a16="http://schemas.microsoft.com/office/drawing/2014/main" id="{71E577AE-7DE1-4958-A653-D8590565B47C}"/>
              </a:ext>
            </a:extLst>
          </p:cNvPr>
          <p:cNvGrpSpPr>
            <a:grpSpLocks noChangeAspect="1"/>
          </p:cNvGrpSpPr>
          <p:nvPr userDrawn="1"/>
        </p:nvGrpSpPr>
        <p:grpSpPr bwMode="auto">
          <a:xfrm>
            <a:off x="9651101" y="1651505"/>
            <a:ext cx="665073" cy="526146"/>
            <a:chOff x="3614" y="1970"/>
            <a:chExt cx="450" cy="356"/>
          </a:xfrm>
        </p:grpSpPr>
        <p:sp>
          <p:nvSpPr>
            <p:cNvPr id="10" name="Freeform 12">
              <a:extLst>
                <a:ext uri="{FF2B5EF4-FFF2-40B4-BE49-F238E27FC236}">
                  <a16:creationId xmlns:a16="http://schemas.microsoft.com/office/drawing/2014/main" id="{C4CAC6EA-1FDC-48D8-90C8-D5277F574213}"/>
                </a:ext>
              </a:extLst>
            </p:cNvPr>
            <p:cNvSpPr>
              <a:spLocks/>
            </p:cNvSpPr>
            <p:nvPr/>
          </p:nvSpPr>
          <p:spPr bwMode="auto">
            <a:xfrm>
              <a:off x="3614" y="1970"/>
              <a:ext cx="450" cy="356"/>
            </a:xfrm>
            <a:custGeom>
              <a:avLst/>
              <a:gdLst>
                <a:gd name="T0" fmla="*/ 0 w 2642"/>
                <a:gd name="T1" fmla="*/ 620 h 2092"/>
                <a:gd name="T2" fmla="*/ 611 w 2642"/>
                <a:gd name="T3" fmla="*/ 0 h 2092"/>
                <a:gd name="T4" fmla="*/ 2031 w 2642"/>
                <a:gd name="T5" fmla="*/ 0 h 2092"/>
                <a:gd name="T6" fmla="*/ 2642 w 2642"/>
                <a:gd name="T7" fmla="*/ 620 h 2092"/>
                <a:gd name="T8" fmla="*/ 1321 w 2642"/>
                <a:gd name="T9" fmla="*/ 2092 h 2092"/>
                <a:gd name="T10" fmla="*/ 0 w 2642"/>
                <a:gd name="T11" fmla="*/ 620 h 2092"/>
              </a:gdLst>
              <a:ahLst/>
              <a:cxnLst>
                <a:cxn ang="0">
                  <a:pos x="T0" y="T1"/>
                </a:cxn>
                <a:cxn ang="0">
                  <a:pos x="T2" y="T3"/>
                </a:cxn>
                <a:cxn ang="0">
                  <a:pos x="T4" y="T5"/>
                </a:cxn>
                <a:cxn ang="0">
                  <a:pos x="T6" y="T7"/>
                </a:cxn>
                <a:cxn ang="0">
                  <a:pos x="T8" y="T9"/>
                </a:cxn>
                <a:cxn ang="0">
                  <a:pos x="T10" y="T11"/>
                </a:cxn>
              </a:cxnLst>
              <a:rect l="0" t="0" r="r" b="b"/>
              <a:pathLst>
                <a:path w="2642" h="2092">
                  <a:moveTo>
                    <a:pt x="0" y="620"/>
                  </a:moveTo>
                  <a:lnTo>
                    <a:pt x="611" y="0"/>
                  </a:lnTo>
                  <a:lnTo>
                    <a:pt x="2031" y="0"/>
                  </a:lnTo>
                  <a:lnTo>
                    <a:pt x="2642" y="620"/>
                  </a:lnTo>
                  <a:lnTo>
                    <a:pt x="1321" y="2092"/>
                  </a:lnTo>
                  <a:lnTo>
                    <a:pt x="0" y="620"/>
                  </a:lnTo>
                  <a:close/>
                </a:path>
              </a:pathLst>
            </a:cu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a:endParaRPr lang="de-DE"/>
            </a:p>
          </p:txBody>
        </p:sp>
        <p:sp>
          <p:nvSpPr>
            <p:cNvPr id="11" name="Freeform 13">
              <a:extLst>
                <a:ext uri="{FF2B5EF4-FFF2-40B4-BE49-F238E27FC236}">
                  <a16:creationId xmlns:a16="http://schemas.microsoft.com/office/drawing/2014/main" id="{07D7F4AC-B424-4510-A99B-C45E98A6866B}"/>
                </a:ext>
              </a:extLst>
            </p:cNvPr>
            <p:cNvSpPr>
              <a:spLocks noEditPoints="1"/>
            </p:cNvSpPr>
            <p:nvPr/>
          </p:nvSpPr>
          <p:spPr bwMode="auto">
            <a:xfrm>
              <a:off x="3614" y="1970"/>
              <a:ext cx="450" cy="356"/>
            </a:xfrm>
            <a:custGeom>
              <a:avLst/>
              <a:gdLst>
                <a:gd name="T0" fmla="*/ 0 w 2642"/>
                <a:gd name="T1" fmla="*/ 620 h 2092"/>
                <a:gd name="T2" fmla="*/ 2642 w 2642"/>
                <a:gd name="T3" fmla="*/ 620 h 2092"/>
                <a:gd name="T4" fmla="*/ 611 w 2642"/>
                <a:gd name="T5" fmla="*/ 0 h 2092"/>
                <a:gd name="T6" fmla="*/ 852 w 2642"/>
                <a:gd name="T7" fmla="*/ 620 h 2092"/>
                <a:gd name="T8" fmla="*/ 1321 w 2642"/>
                <a:gd name="T9" fmla="*/ 0 h 2092"/>
                <a:gd name="T10" fmla="*/ 1790 w 2642"/>
                <a:gd name="T11" fmla="*/ 620 h 2092"/>
                <a:gd name="T12" fmla="*/ 2031 w 2642"/>
                <a:gd name="T13" fmla="*/ 0 h 2092"/>
                <a:gd name="T14" fmla="*/ 852 w 2642"/>
                <a:gd name="T15" fmla="*/ 620 h 2092"/>
                <a:gd name="T16" fmla="*/ 1321 w 2642"/>
                <a:gd name="T17" fmla="*/ 2092 h 2092"/>
                <a:gd name="T18" fmla="*/ 1790 w 2642"/>
                <a:gd name="T19" fmla="*/ 620 h 2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2" h="2092">
                  <a:moveTo>
                    <a:pt x="0" y="620"/>
                  </a:moveTo>
                  <a:lnTo>
                    <a:pt x="2642" y="620"/>
                  </a:lnTo>
                  <a:moveTo>
                    <a:pt x="611" y="0"/>
                  </a:moveTo>
                  <a:lnTo>
                    <a:pt x="852" y="620"/>
                  </a:lnTo>
                  <a:lnTo>
                    <a:pt x="1321" y="0"/>
                  </a:lnTo>
                  <a:lnTo>
                    <a:pt x="1790" y="620"/>
                  </a:lnTo>
                  <a:lnTo>
                    <a:pt x="2031" y="0"/>
                  </a:lnTo>
                  <a:moveTo>
                    <a:pt x="852" y="620"/>
                  </a:moveTo>
                  <a:lnTo>
                    <a:pt x="1321" y="2092"/>
                  </a:lnTo>
                  <a:lnTo>
                    <a:pt x="1790" y="620"/>
                  </a:lnTo>
                </a:path>
              </a:pathLst>
            </a:cu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a:endParaRPr lang="de-DE"/>
            </a:p>
          </p:txBody>
        </p:sp>
      </p:grpSp>
      <p:grpSp>
        <p:nvGrpSpPr>
          <p:cNvPr id="15" name="Group 39">
            <a:extLst>
              <a:ext uri="{FF2B5EF4-FFF2-40B4-BE49-F238E27FC236}">
                <a16:creationId xmlns:a16="http://schemas.microsoft.com/office/drawing/2014/main" id="{B33BF98F-E85A-4BB6-814B-689A252F9FF1}"/>
              </a:ext>
            </a:extLst>
          </p:cNvPr>
          <p:cNvGrpSpPr>
            <a:grpSpLocks noChangeAspect="1"/>
          </p:cNvGrpSpPr>
          <p:nvPr userDrawn="1"/>
        </p:nvGrpSpPr>
        <p:grpSpPr bwMode="auto">
          <a:xfrm rot="21344665">
            <a:off x="5987998" y="1678295"/>
            <a:ext cx="741061" cy="513042"/>
            <a:chOff x="3758" y="1367"/>
            <a:chExt cx="325" cy="225"/>
          </a:xfrm>
        </p:grpSpPr>
        <p:sp>
          <p:nvSpPr>
            <p:cNvPr id="16" name="Freeform 40">
              <a:extLst>
                <a:ext uri="{FF2B5EF4-FFF2-40B4-BE49-F238E27FC236}">
                  <a16:creationId xmlns:a16="http://schemas.microsoft.com/office/drawing/2014/main" id="{51A8F633-5357-4282-81F9-918015D51B79}"/>
                </a:ext>
              </a:extLst>
            </p:cNvPr>
            <p:cNvSpPr>
              <a:spLocks noEditPoints="1"/>
            </p:cNvSpPr>
            <p:nvPr/>
          </p:nvSpPr>
          <p:spPr bwMode="auto">
            <a:xfrm>
              <a:off x="3936" y="1367"/>
              <a:ext cx="147" cy="145"/>
            </a:xfrm>
            <a:custGeom>
              <a:avLst/>
              <a:gdLst>
                <a:gd name="T0" fmla="*/ 594 w 861"/>
                <a:gd name="T1" fmla="*/ 26 h 856"/>
                <a:gd name="T2" fmla="*/ 585 w 861"/>
                <a:gd name="T3" fmla="*/ 121 h 856"/>
                <a:gd name="T4" fmla="*/ 627 w 861"/>
                <a:gd name="T5" fmla="*/ 147 h 856"/>
                <a:gd name="T6" fmla="*/ 634 w 861"/>
                <a:gd name="T7" fmla="*/ 152 h 856"/>
                <a:gd name="T8" fmla="*/ 676 w 861"/>
                <a:gd name="T9" fmla="*/ 188 h 856"/>
                <a:gd name="T10" fmla="*/ 763 w 861"/>
                <a:gd name="T11" fmla="*/ 152 h 856"/>
                <a:gd name="T12" fmla="*/ 808 w 861"/>
                <a:gd name="T13" fmla="*/ 238 h 856"/>
                <a:gd name="T14" fmla="*/ 757 w 861"/>
                <a:gd name="T15" fmla="*/ 327 h 856"/>
                <a:gd name="T16" fmla="*/ 767 w 861"/>
                <a:gd name="T17" fmla="*/ 371 h 856"/>
                <a:gd name="T18" fmla="*/ 771 w 861"/>
                <a:gd name="T19" fmla="*/ 402 h 856"/>
                <a:gd name="T20" fmla="*/ 860 w 861"/>
                <a:gd name="T21" fmla="*/ 431 h 856"/>
                <a:gd name="T22" fmla="*/ 839 w 861"/>
                <a:gd name="T23" fmla="*/ 525 h 856"/>
                <a:gd name="T24" fmla="*/ 710 w 861"/>
                <a:gd name="T25" fmla="*/ 620 h 856"/>
                <a:gd name="T26" fmla="*/ 705 w 861"/>
                <a:gd name="T27" fmla="*/ 627 h 856"/>
                <a:gd name="T28" fmla="*/ 755 w 861"/>
                <a:gd name="T29" fmla="*/ 707 h 856"/>
                <a:gd name="T30" fmla="*/ 678 w 861"/>
                <a:gd name="T31" fmla="*/ 765 h 856"/>
                <a:gd name="T32" fmla="*/ 609 w 861"/>
                <a:gd name="T33" fmla="*/ 715 h 856"/>
                <a:gd name="T34" fmla="*/ 510 w 861"/>
                <a:gd name="T35" fmla="*/ 756 h 856"/>
                <a:gd name="T36" fmla="*/ 498 w 861"/>
                <a:gd name="T37" fmla="*/ 850 h 856"/>
                <a:gd name="T38" fmla="*/ 401 w 861"/>
                <a:gd name="T39" fmla="*/ 846 h 856"/>
                <a:gd name="T40" fmla="*/ 280 w 861"/>
                <a:gd name="T41" fmla="*/ 730 h 856"/>
                <a:gd name="T42" fmla="*/ 208 w 861"/>
                <a:gd name="T43" fmla="*/ 795 h 856"/>
                <a:gd name="T44" fmla="*/ 137 w 861"/>
                <a:gd name="T45" fmla="*/ 729 h 856"/>
                <a:gd name="T46" fmla="*/ 120 w 861"/>
                <a:gd name="T47" fmla="*/ 562 h 856"/>
                <a:gd name="T48" fmla="*/ 22 w 861"/>
                <a:gd name="T49" fmla="*/ 566 h 856"/>
                <a:gd name="T50" fmla="*/ 9 w 861"/>
                <a:gd name="T51" fmla="*/ 470 h 856"/>
                <a:gd name="T52" fmla="*/ 91 w 861"/>
                <a:gd name="T53" fmla="*/ 441 h 856"/>
                <a:gd name="T54" fmla="*/ 100 w 861"/>
                <a:gd name="T55" fmla="*/ 347 h 856"/>
                <a:gd name="T56" fmla="*/ 104 w 861"/>
                <a:gd name="T57" fmla="*/ 331 h 856"/>
                <a:gd name="T58" fmla="*/ 26 w 861"/>
                <a:gd name="T59" fmla="*/ 271 h 856"/>
                <a:gd name="T60" fmla="*/ 78 w 861"/>
                <a:gd name="T61" fmla="*/ 190 h 856"/>
                <a:gd name="T62" fmla="*/ 240 w 861"/>
                <a:gd name="T63" fmla="*/ 144 h 856"/>
                <a:gd name="T64" fmla="*/ 219 w 861"/>
                <a:gd name="T65" fmla="*/ 48 h 856"/>
                <a:gd name="T66" fmla="*/ 311 w 861"/>
                <a:gd name="T67" fmla="*/ 19 h 856"/>
                <a:gd name="T68" fmla="*/ 374 w 861"/>
                <a:gd name="T69" fmla="*/ 89 h 856"/>
                <a:gd name="T70" fmla="*/ 381 w 861"/>
                <a:gd name="T71" fmla="*/ 88 h 856"/>
                <a:gd name="T72" fmla="*/ 465 w 861"/>
                <a:gd name="T73" fmla="*/ 86 h 856"/>
                <a:gd name="T74" fmla="*/ 510 w 861"/>
                <a:gd name="T75" fmla="*/ 1 h 856"/>
                <a:gd name="T76" fmla="*/ 604 w 861"/>
                <a:gd name="T77" fmla="*/ 428 h 856"/>
                <a:gd name="T78" fmla="*/ 257 w 861"/>
                <a:gd name="T79" fmla="*/ 428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1" h="856">
                  <a:moveTo>
                    <a:pt x="510" y="1"/>
                  </a:moveTo>
                  <a:lnTo>
                    <a:pt x="594" y="26"/>
                  </a:lnTo>
                  <a:cubicBezTo>
                    <a:pt x="599" y="27"/>
                    <a:pt x="600" y="33"/>
                    <a:pt x="599" y="38"/>
                  </a:cubicBezTo>
                  <a:lnTo>
                    <a:pt x="585" y="121"/>
                  </a:lnTo>
                  <a:cubicBezTo>
                    <a:pt x="599" y="128"/>
                    <a:pt x="613" y="137"/>
                    <a:pt x="626" y="146"/>
                  </a:cubicBezTo>
                  <a:lnTo>
                    <a:pt x="627" y="147"/>
                  </a:lnTo>
                  <a:lnTo>
                    <a:pt x="631" y="149"/>
                  </a:lnTo>
                  <a:lnTo>
                    <a:pt x="634" y="152"/>
                  </a:lnTo>
                  <a:lnTo>
                    <a:pt x="636" y="153"/>
                  </a:lnTo>
                  <a:cubicBezTo>
                    <a:pt x="650" y="164"/>
                    <a:pt x="663" y="175"/>
                    <a:pt x="676" y="188"/>
                  </a:cubicBezTo>
                  <a:lnTo>
                    <a:pt x="750" y="150"/>
                  </a:lnTo>
                  <a:cubicBezTo>
                    <a:pt x="755" y="148"/>
                    <a:pt x="761" y="148"/>
                    <a:pt x="763" y="152"/>
                  </a:cubicBezTo>
                  <a:lnTo>
                    <a:pt x="812" y="225"/>
                  </a:lnTo>
                  <a:cubicBezTo>
                    <a:pt x="814" y="229"/>
                    <a:pt x="812" y="235"/>
                    <a:pt x="808" y="238"/>
                  </a:cubicBezTo>
                  <a:lnTo>
                    <a:pt x="744" y="291"/>
                  </a:lnTo>
                  <a:cubicBezTo>
                    <a:pt x="749" y="303"/>
                    <a:pt x="753" y="315"/>
                    <a:pt x="757" y="327"/>
                  </a:cubicBezTo>
                  <a:cubicBezTo>
                    <a:pt x="761" y="340"/>
                    <a:pt x="764" y="354"/>
                    <a:pt x="767" y="368"/>
                  </a:cubicBezTo>
                  <a:lnTo>
                    <a:pt x="767" y="371"/>
                  </a:lnTo>
                  <a:lnTo>
                    <a:pt x="768" y="375"/>
                  </a:lnTo>
                  <a:cubicBezTo>
                    <a:pt x="769" y="384"/>
                    <a:pt x="770" y="393"/>
                    <a:pt x="771" y="402"/>
                  </a:cubicBezTo>
                  <a:lnTo>
                    <a:pt x="851" y="421"/>
                  </a:lnTo>
                  <a:cubicBezTo>
                    <a:pt x="857" y="422"/>
                    <a:pt x="861" y="426"/>
                    <a:pt x="860" y="431"/>
                  </a:cubicBezTo>
                  <a:lnTo>
                    <a:pt x="850" y="518"/>
                  </a:lnTo>
                  <a:cubicBezTo>
                    <a:pt x="850" y="523"/>
                    <a:pt x="845" y="525"/>
                    <a:pt x="839" y="525"/>
                  </a:cubicBezTo>
                  <a:lnTo>
                    <a:pt x="757" y="525"/>
                  </a:lnTo>
                  <a:cubicBezTo>
                    <a:pt x="746" y="559"/>
                    <a:pt x="730" y="591"/>
                    <a:pt x="710" y="620"/>
                  </a:cubicBezTo>
                  <a:lnTo>
                    <a:pt x="710" y="621"/>
                  </a:lnTo>
                  <a:lnTo>
                    <a:pt x="705" y="627"/>
                  </a:lnTo>
                  <a:lnTo>
                    <a:pt x="755" y="693"/>
                  </a:lnTo>
                  <a:cubicBezTo>
                    <a:pt x="758" y="698"/>
                    <a:pt x="759" y="703"/>
                    <a:pt x="755" y="707"/>
                  </a:cubicBezTo>
                  <a:lnTo>
                    <a:pt x="692" y="767"/>
                  </a:lnTo>
                  <a:cubicBezTo>
                    <a:pt x="688" y="770"/>
                    <a:pt x="683" y="769"/>
                    <a:pt x="678" y="765"/>
                  </a:cubicBezTo>
                  <a:lnTo>
                    <a:pt x="615" y="712"/>
                  </a:lnTo>
                  <a:lnTo>
                    <a:pt x="609" y="715"/>
                  </a:lnTo>
                  <a:cubicBezTo>
                    <a:pt x="584" y="730"/>
                    <a:pt x="558" y="742"/>
                    <a:pt x="529" y="751"/>
                  </a:cubicBezTo>
                  <a:cubicBezTo>
                    <a:pt x="523" y="753"/>
                    <a:pt x="517" y="754"/>
                    <a:pt x="510" y="756"/>
                  </a:cubicBezTo>
                  <a:lnTo>
                    <a:pt x="506" y="840"/>
                  </a:lnTo>
                  <a:cubicBezTo>
                    <a:pt x="506" y="845"/>
                    <a:pt x="503" y="850"/>
                    <a:pt x="498" y="850"/>
                  </a:cubicBezTo>
                  <a:lnTo>
                    <a:pt x="410" y="856"/>
                  </a:lnTo>
                  <a:cubicBezTo>
                    <a:pt x="405" y="856"/>
                    <a:pt x="402" y="851"/>
                    <a:pt x="401" y="846"/>
                  </a:cubicBezTo>
                  <a:lnTo>
                    <a:pt x="387" y="762"/>
                  </a:lnTo>
                  <a:cubicBezTo>
                    <a:pt x="349" y="757"/>
                    <a:pt x="313" y="746"/>
                    <a:pt x="280" y="730"/>
                  </a:cubicBezTo>
                  <a:lnTo>
                    <a:pt x="221" y="792"/>
                  </a:lnTo>
                  <a:cubicBezTo>
                    <a:pt x="217" y="796"/>
                    <a:pt x="212" y="798"/>
                    <a:pt x="208" y="795"/>
                  </a:cubicBezTo>
                  <a:lnTo>
                    <a:pt x="138" y="743"/>
                  </a:lnTo>
                  <a:cubicBezTo>
                    <a:pt x="134" y="740"/>
                    <a:pt x="134" y="734"/>
                    <a:pt x="137" y="729"/>
                  </a:cubicBezTo>
                  <a:lnTo>
                    <a:pt x="180" y="655"/>
                  </a:lnTo>
                  <a:cubicBezTo>
                    <a:pt x="155" y="627"/>
                    <a:pt x="135" y="596"/>
                    <a:pt x="120" y="562"/>
                  </a:cubicBezTo>
                  <a:lnTo>
                    <a:pt x="33" y="572"/>
                  </a:lnTo>
                  <a:cubicBezTo>
                    <a:pt x="28" y="573"/>
                    <a:pt x="23" y="571"/>
                    <a:pt x="22" y="566"/>
                  </a:cubicBezTo>
                  <a:lnTo>
                    <a:pt x="1" y="481"/>
                  </a:lnTo>
                  <a:cubicBezTo>
                    <a:pt x="0" y="476"/>
                    <a:pt x="4" y="472"/>
                    <a:pt x="9" y="470"/>
                  </a:cubicBezTo>
                  <a:lnTo>
                    <a:pt x="91" y="441"/>
                  </a:lnTo>
                  <a:lnTo>
                    <a:pt x="91" y="441"/>
                  </a:lnTo>
                  <a:lnTo>
                    <a:pt x="91" y="433"/>
                  </a:lnTo>
                  <a:cubicBezTo>
                    <a:pt x="90" y="404"/>
                    <a:pt x="93" y="375"/>
                    <a:pt x="100" y="347"/>
                  </a:cubicBezTo>
                  <a:cubicBezTo>
                    <a:pt x="101" y="342"/>
                    <a:pt x="103" y="336"/>
                    <a:pt x="104" y="331"/>
                  </a:cubicBezTo>
                  <a:lnTo>
                    <a:pt x="104" y="331"/>
                  </a:lnTo>
                  <a:lnTo>
                    <a:pt x="31" y="284"/>
                  </a:lnTo>
                  <a:cubicBezTo>
                    <a:pt x="26" y="281"/>
                    <a:pt x="24" y="276"/>
                    <a:pt x="26" y="271"/>
                  </a:cubicBezTo>
                  <a:lnTo>
                    <a:pt x="65" y="193"/>
                  </a:lnTo>
                  <a:cubicBezTo>
                    <a:pt x="67" y="189"/>
                    <a:pt x="73" y="188"/>
                    <a:pt x="78" y="190"/>
                  </a:cubicBezTo>
                  <a:lnTo>
                    <a:pt x="160" y="220"/>
                  </a:lnTo>
                  <a:cubicBezTo>
                    <a:pt x="182" y="190"/>
                    <a:pt x="209" y="164"/>
                    <a:pt x="240" y="144"/>
                  </a:cubicBezTo>
                  <a:lnTo>
                    <a:pt x="215" y="61"/>
                  </a:lnTo>
                  <a:cubicBezTo>
                    <a:pt x="213" y="55"/>
                    <a:pt x="214" y="50"/>
                    <a:pt x="219" y="48"/>
                  </a:cubicBezTo>
                  <a:lnTo>
                    <a:pt x="299" y="13"/>
                  </a:lnTo>
                  <a:cubicBezTo>
                    <a:pt x="304" y="11"/>
                    <a:pt x="308" y="14"/>
                    <a:pt x="311" y="19"/>
                  </a:cubicBezTo>
                  <a:lnTo>
                    <a:pt x="354" y="94"/>
                  </a:lnTo>
                  <a:cubicBezTo>
                    <a:pt x="361" y="92"/>
                    <a:pt x="367" y="91"/>
                    <a:pt x="374" y="89"/>
                  </a:cubicBezTo>
                  <a:lnTo>
                    <a:pt x="378" y="89"/>
                  </a:lnTo>
                  <a:lnTo>
                    <a:pt x="381" y="88"/>
                  </a:lnTo>
                  <a:cubicBezTo>
                    <a:pt x="395" y="86"/>
                    <a:pt x="409" y="85"/>
                    <a:pt x="423" y="85"/>
                  </a:cubicBezTo>
                  <a:cubicBezTo>
                    <a:pt x="437" y="84"/>
                    <a:pt x="451" y="85"/>
                    <a:pt x="465" y="86"/>
                  </a:cubicBezTo>
                  <a:lnTo>
                    <a:pt x="499" y="8"/>
                  </a:lnTo>
                  <a:cubicBezTo>
                    <a:pt x="501" y="3"/>
                    <a:pt x="505" y="0"/>
                    <a:pt x="510" y="1"/>
                  </a:cubicBezTo>
                  <a:close/>
                  <a:moveTo>
                    <a:pt x="431" y="255"/>
                  </a:moveTo>
                  <a:cubicBezTo>
                    <a:pt x="527" y="255"/>
                    <a:pt x="604" y="332"/>
                    <a:pt x="604" y="428"/>
                  </a:cubicBezTo>
                  <a:cubicBezTo>
                    <a:pt x="604" y="524"/>
                    <a:pt x="527" y="602"/>
                    <a:pt x="431" y="602"/>
                  </a:cubicBezTo>
                  <a:cubicBezTo>
                    <a:pt x="335" y="602"/>
                    <a:pt x="257" y="524"/>
                    <a:pt x="257" y="428"/>
                  </a:cubicBezTo>
                  <a:cubicBezTo>
                    <a:pt x="257" y="332"/>
                    <a:pt x="335" y="255"/>
                    <a:pt x="431" y="255"/>
                  </a:cubicBezTo>
                  <a:close/>
                </a:path>
              </a:pathLst>
            </a:cu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a:endParaRPr lang="de-DE"/>
            </a:p>
          </p:txBody>
        </p:sp>
        <p:sp>
          <p:nvSpPr>
            <p:cNvPr id="17" name="Freeform 41">
              <a:extLst>
                <a:ext uri="{FF2B5EF4-FFF2-40B4-BE49-F238E27FC236}">
                  <a16:creationId xmlns:a16="http://schemas.microsoft.com/office/drawing/2014/main" id="{5B811F76-0EB6-4232-BBAF-FF7CFBEE2DF7}"/>
                </a:ext>
              </a:extLst>
            </p:cNvPr>
            <p:cNvSpPr>
              <a:spLocks noEditPoints="1"/>
            </p:cNvSpPr>
            <p:nvPr/>
          </p:nvSpPr>
          <p:spPr bwMode="auto">
            <a:xfrm>
              <a:off x="3758" y="1401"/>
              <a:ext cx="192" cy="191"/>
            </a:xfrm>
            <a:custGeom>
              <a:avLst/>
              <a:gdLst>
                <a:gd name="T0" fmla="*/ 275 w 1126"/>
                <a:gd name="T1" fmla="*/ 1038 h 1122"/>
                <a:gd name="T2" fmla="*/ 385 w 1126"/>
                <a:gd name="T3" fmla="*/ 1101 h 1122"/>
                <a:gd name="T4" fmla="*/ 458 w 1126"/>
                <a:gd name="T5" fmla="*/ 997 h 1122"/>
                <a:gd name="T6" fmla="*/ 646 w 1126"/>
                <a:gd name="T7" fmla="*/ 1111 h 1122"/>
                <a:gd name="T8" fmla="*/ 771 w 1126"/>
                <a:gd name="T9" fmla="*/ 1089 h 1122"/>
                <a:gd name="T10" fmla="*/ 760 w 1126"/>
                <a:gd name="T11" fmla="*/ 964 h 1122"/>
                <a:gd name="T12" fmla="*/ 874 w 1126"/>
                <a:gd name="T13" fmla="*/ 884 h 1122"/>
                <a:gd name="T14" fmla="*/ 977 w 1126"/>
                <a:gd name="T15" fmla="*/ 928 h 1122"/>
                <a:gd name="T16" fmla="*/ 1058 w 1126"/>
                <a:gd name="T17" fmla="*/ 831 h 1122"/>
                <a:gd name="T18" fmla="*/ 971 w 1126"/>
                <a:gd name="T19" fmla="*/ 744 h 1122"/>
                <a:gd name="T20" fmla="*/ 975 w 1126"/>
                <a:gd name="T21" fmla="*/ 734 h 1122"/>
                <a:gd name="T22" fmla="*/ 1113 w 1126"/>
                <a:gd name="T23" fmla="*/ 575 h 1122"/>
                <a:gd name="T24" fmla="*/ 1113 w 1126"/>
                <a:gd name="T25" fmla="*/ 449 h 1122"/>
                <a:gd name="T26" fmla="*/ 991 w 1126"/>
                <a:gd name="T27" fmla="*/ 438 h 1122"/>
                <a:gd name="T28" fmla="*/ 977 w 1126"/>
                <a:gd name="T29" fmla="*/ 399 h 1122"/>
                <a:gd name="T30" fmla="*/ 951 w 1126"/>
                <a:gd name="T31" fmla="*/ 345 h 1122"/>
                <a:gd name="T32" fmla="*/ 991 w 1126"/>
                <a:gd name="T33" fmla="*/ 218 h 1122"/>
                <a:gd name="T34" fmla="*/ 909 w 1126"/>
                <a:gd name="T35" fmla="*/ 121 h 1122"/>
                <a:gd name="T36" fmla="*/ 808 w 1126"/>
                <a:gd name="T37" fmla="*/ 192 h 1122"/>
                <a:gd name="T38" fmla="*/ 744 w 1126"/>
                <a:gd name="T39" fmla="*/ 158 h 1122"/>
                <a:gd name="T40" fmla="*/ 734 w 1126"/>
                <a:gd name="T41" fmla="*/ 153 h 1122"/>
                <a:gd name="T42" fmla="*/ 672 w 1126"/>
                <a:gd name="T43" fmla="*/ 133 h 1122"/>
                <a:gd name="T44" fmla="*/ 657 w 1126"/>
                <a:gd name="T45" fmla="*/ 8 h 1122"/>
                <a:gd name="T46" fmla="*/ 530 w 1126"/>
                <a:gd name="T47" fmla="*/ 13 h 1122"/>
                <a:gd name="T48" fmla="*/ 455 w 1126"/>
                <a:gd name="T49" fmla="*/ 133 h 1122"/>
                <a:gd name="T50" fmla="*/ 399 w 1126"/>
                <a:gd name="T51" fmla="*/ 151 h 1122"/>
                <a:gd name="T52" fmla="*/ 370 w 1126"/>
                <a:gd name="T53" fmla="*/ 164 h 1122"/>
                <a:gd name="T54" fmla="*/ 277 w 1126"/>
                <a:gd name="T55" fmla="*/ 77 h 1122"/>
                <a:gd name="T56" fmla="*/ 182 w 1126"/>
                <a:gd name="T57" fmla="*/ 162 h 1122"/>
                <a:gd name="T58" fmla="*/ 158 w 1126"/>
                <a:gd name="T59" fmla="*/ 381 h 1122"/>
                <a:gd name="T60" fmla="*/ 30 w 1126"/>
                <a:gd name="T61" fmla="*/ 374 h 1122"/>
                <a:gd name="T62" fmla="*/ 12 w 1126"/>
                <a:gd name="T63" fmla="*/ 499 h 1122"/>
                <a:gd name="T64" fmla="*/ 119 w 1126"/>
                <a:gd name="T65" fmla="*/ 539 h 1122"/>
                <a:gd name="T66" fmla="*/ 132 w 1126"/>
                <a:gd name="T67" fmla="*/ 673 h 1122"/>
                <a:gd name="T68" fmla="*/ 134 w 1126"/>
                <a:gd name="T69" fmla="*/ 682 h 1122"/>
                <a:gd name="T70" fmla="*/ 31 w 1126"/>
                <a:gd name="T71" fmla="*/ 760 h 1122"/>
                <a:gd name="T72" fmla="*/ 98 w 1126"/>
                <a:gd name="T73" fmla="*/ 867 h 1122"/>
                <a:gd name="T74" fmla="*/ 309 w 1126"/>
                <a:gd name="T75" fmla="*/ 930 h 1122"/>
                <a:gd name="T76" fmla="*/ 856 w 1126"/>
                <a:gd name="T77" fmla="*/ 561 h 1122"/>
                <a:gd name="T78" fmla="*/ 271 w 1126"/>
                <a:gd name="T79" fmla="*/ 561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26" h="1122">
                  <a:moveTo>
                    <a:pt x="309" y="930"/>
                  </a:moveTo>
                  <a:lnTo>
                    <a:pt x="275" y="1038"/>
                  </a:lnTo>
                  <a:cubicBezTo>
                    <a:pt x="273" y="1045"/>
                    <a:pt x="274" y="1052"/>
                    <a:pt x="280" y="1055"/>
                  </a:cubicBezTo>
                  <a:lnTo>
                    <a:pt x="385" y="1101"/>
                  </a:lnTo>
                  <a:cubicBezTo>
                    <a:pt x="391" y="1104"/>
                    <a:pt x="397" y="1100"/>
                    <a:pt x="401" y="1094"/>
                  </a:cubicBezTo>
                  <a:lnTo>
                    <a:pt x="458" y="997"/>
                  </a:lnTo>
                  <a:cubicBezTo>
                    <a:pt x="505" y="1009"/>
                    <a:pt x="554" y="1012"/>
                    <a:pt x="604" y="1008"/>
                  </a:cubicBezTo>
                  <a:lnTo>
                    <a:pt x="646" y="1111"/>
                  </a:lnTo>
                  <a:cubicBezTo>
                    <a:pt x="649" y="1117"/>
                    <a:pt x="655" y="1122"/>
                    <a:pt x="661" y="1120"/>
                  </a:cubicBezTo>
                  <a:lnTo>
                    <a:pt x="771" y="1089"/>
                  </a:lnTo>
                  <a:cubicBezTo>
                    <a:pt x="777" y="1087"/>
                    <a:pt x="779" y="1080"/>
                    <a:pt x="778" y="1073"/>
                  </a:cubicBezTo>
                  <a:lnTo>
                    <a:pt x="760" y="964"/>
                  </a:lnTo>
                  <a:cubicBezTo>
                    <a:pt x="768" y="960"/>
                    <a:pt x="775" y="956"/>
                    <a:pt x="783" y="952"/>
                  </a:cubicBezTo>
                  <a:cubicBezTo>
                    <a:pt x="817" y="933"/>
                    <a:pt x="847" y="910"/>
                    <a:pt x="874" y="884"/>
                  </a:cubicBezTo>
                  <a:lnTo>
                    <a:pt x="880" y="878"/>
                  </a:lnTo>
                  <a:lnTo>
                    <a:pt x="977" y="928"/>
                  </a:lnTo>
                  <a:cubicBezTo>
                    <a:pt x="983" y="931"/>
                    <a:pt x="991" y="931"/>
                    <a:pt x="994" y="926"/>
                  </a:cubicBezTo>
                  <a:lnTo>
                    <a:pt x="1058" y="831"/>
                  </a:lnTo>
                  <a:cubicBezTo>
                    <a:pt x="1062" y="826"/>
                    <a:pt x="1059" y="819"/>
                    <a:pt x="1054" y="814"/>
                  </a:cubicBezTo>
                  <a:lnTo>
                    <a:pt x="971" y="744"/>
                  </a:lnTo>
                  <a:lnTo>
                    <a:pt x="975" y="734"/>
                  </a:lnTo>
                  <a:lnTo>
                    <a:pt x="975" y="734"/>
                  </a:lnTo>
                  <a:cubicBezTo>
                    <a:pt x="993" y="691"/>
                    <a:pt x="1004" y="645"/>
                    <a:pt x="1008" y="599"/>
                  </a:cubicBezTo>
                  <a:lnTo>
                    <a:pt x="1113" y="575"/>
                  </a:lnTo>
                  <a:cubicBezTo>
                    <a:pt x="1120" y="574"/>
                    <a:pt x="1126" y="569"/>
                    <a:pt x="1125" y="563"/>
                  </a:cubicBezTo>
                  <a:lnTo>
                    <a:pt x="1113" y="449"/>
                  </a:lnTo>
                  <a:cubicBezTo>
                    <a:pt x="1112" y="442"/>
                    <a:pt x="1106" y="439"/>
                    <a:pt x="1099" y="439"/>
                  </a:cubicBezTo>
                  <a:lnTo>
                    <a:pt x="991" y="438"/>
                  </a:lnTo>
                  <a:cubicBezTo>
                    <a:pt x="987" y="426"/>
                    <a:pt x="983" y="415"/>
                    <a:pt x="979" y="404"/>
                  </a:cubicBezTo>
                  <a:lnTo>
                    <a:pt x="977" y="399"/>
                  </a:lnTo>
                  <a:lnTo>
                    <a:pt x="975" y="395"/>
                  </a:lnTo>
                  <a:cubicBezTo>
                    <a:pt x="968" y="378"/>
                    <a:pt x="960" y="362"/>
                    <a:pt x="951" y="345"/>
                  </a:cubicBezTo>
                  <a:cubicBezTo>
                    <a:pt x="943" y="331"/>
                    <a:pt x="934" y="317"/>
                    <a:pt x="925" y="304"/>
                  </a:cubicBezTo>
                  <a:lnTo>
                    <a:pt x="991" y="218"/>
                  </a:lnTo>
                  <a:cubicBezTo>
                    <a:pt x="995" y="212"/>
                    <a:pt x="996" y="205"/>
                    <a:pt x="992" y="200"/>
                  </a:cubicBezTo>
                  <a:lnTo>
                    <a:pt x="909" y="121"/>
                  </a:lnTo>
                  <a:cubicBezTo>
                    <a:pt x="905" y="116"/>
                    <a:pt x="897" y="118"/>
                    <a:pt x="892" y="122"/>
                  </a:cubicBezTo>
                  <a:lnTo>
                    <a:pt x="808" y="192"/>
                  </a:lnTo>
                  <a:cubicBezTo>
                    <a:pt x="788" y="179"/>
                    <a:pt x="768" y="168"/>
                    <a:pt x="747" y="159"/>
                  </a:cubicBezTo>
                  <a:lnTo>
                    <a:pt x="744" y="158"/>
                  </a:lnTo>
                  <a:lnTo>
                    <a:pt x="739" y="155"/>
                  </a:lnTo>
                  <a:lnTo>
                    <a:pt x="734" y="153"/>
                  </a:lnTo>
                  <a:lnTo>
                    <a:pt x="732" y="152"/>
                  </a:lnTo>
                  <a:cubicBezTo>
                    <a:pt x="712" y="144"/>
                    <a:pt x="692" y="138"/>
                    <a:pt x="672" y="133"/>
                  </a:cubicBezTo>
                  <a:lnTo>
                    <a:pt x="667" y="22"/>
                  </a:lnTo>
                  <a:cubicBezTo>
                    <a:pt x="667" y="15"/>
                    <a:pt x="663" y="9"/>
                    <a:pt x="657" y="8"/>
                  </a:cubicBezTo>
                  <a:lnTo>
                    <a:pt x="542" y="1"/>
                  </a:lnTo>
                  <a:cubicBezTo>
                    <a:pt x="536" y="0"/>
                    <a:pt x="531" y="6"/>
                    <a:pt x="530" y="13"/>
                  </a:cubicBezTo>
                  <a:lnTo>
                    <a:pt x="510" y="122"/>
                  </a:lnTo>
                  <a:cubicBezTo>
                    <a:pt x="492" y="125"/>
                    <a:pt x="473" y="128"/>
                    <a:pt x="455" y="133"/>
                  </a:cubicBezTo>
                  <a:cubicBezTo>
                    <a:pt x="437" y="137"/>
                    <a:pt x="420" y="143"/>
                    <a:pt x="403" y="149"/>
                  </a:cubicBezTo>
                  <a:lnTo>
                    <a:pt x="399" y="151"/>
                  </a:lnTo>
                  <a:lnTo>
                    <a:pt x="394" y="153"/>
                  </a:lnTo>
                  <a:cubicBezTo>
                    <a:pt x="386" y="156"/>
                    <a:pt x="378" y="160"/>
                    <a:pt x="370" y="164"/>
                  </a:cubicBezTo>
                  <a:lnTo>
                    <a:pt x="294" y="81"/>
                  </a:lnTo>
                  <a:cubicBezTo>
                    <a:pt x="289" y="76"/>
                    <a:pt x="282" y="73"/>
                    <a:pt x="277" y="77"/>
                  </a:cubicBezTo>
                  <a:lnTo>
                    <a:pt x="184" y="144"/>
                  </a:lnTo>
                  <a:cubicBezTo>
                    <a:pt x="179" y="148"/>
                    <a:pt x="179" y="155"/>
                    <a:pt x="182" y="162"/>
                  </a:cubicBezTo>
                  <a:lnTo>
                    <a:pt x="238" y="260"/>
                  </a:lnTo>
                  <a:cubicBezTo>
                    <a:pt x="205" y="296"/>
                    <a:pt x="178" y="336"/>
                    <a:pt x="158" y="381"/>
                  </a:cubicBezTo>
                  <a:lnTo>
                    <a:pt x="45" y="366"/>
                  </a:lnTo>
                  <a:cubicBezTo>
                    <a:pt x="38" y="365"/>
                    <a:pt x="31" y="367"/>
                    <a:pt x="30" y="374"/>
                  </a:cubicBezTo>
                  <a:lnTo>
                    <a:pt x="2" y="485"/>
                  </a:lnTo>
                  <a:cubicBezTo>
                    <a:pt x="0" y="491"/>
                    <a:pt x="5" y="497"/>
                    <a:pt x="12" y="499"/>
                  </a:cubicBezTo>
                  <a:lnTo>
                    <a:pt x="119" y="539"/>
                  </a:lnTo>
                  <a:lnTo>
                    <a:pt x="119" y="539"/>
                  </a:lnTo>
                  <a:cubicBezTo>
                    <a:pt x="119" y="546"/>
                    <a:pt x="118" y="553"/>
                    <a:pt x="118" y="560"/>
                  </a:cubicBezTo>
                  <a:cubicBezTo>
                    <a:pt x="118" y="597"/>
                    <a:pt x="122" y="635"/>
                    <a:pt x="132" y="673"/>
                  </a:cubicBezTo>
                  <a:cubicBezTo>
                    <a:pt x="133" y="676"/>
                    <a:pt x="133" y="679"/>
                    <a:pt x="134" y="682"/>
                  </a:cubicBezTo>
                  <a:lnTo>
                    <a:pt x="134" y="682"/>
                  </a:lnTo>
                  <a:lnTo>
                    <a:pt x="38" y="744"/>
                  </a:lnTo>
                  <a:cubicBezTo>
                    <a:pt x="32" y="748"/>
                    <a:pt x="28" y="754"/>
                    <a:pt x="31" y="760"/>
                  </a:cubicBezTo>
                  <a:lnTo>
                    <a:pt x="81" y="863"/>
                  </a:lnTo>
                  <a:cubicBezTo>
                    <a:pt x="84" y="868"/>
                    <a:pt x="91" y="870"/>
                    <a:pt x="98" y="867"/>
                  </a:cubicBezTo>
                  <a:lnTo>
                    <a:pt x="205" y="829"/>
                  </a:lnTo>
                  <a:cubicBezTo>
                    <a:pt x="237" y="871"/>
                    <a:pt x="266" y="900"/>
                    <a:pt x="309" y="930"/>
                  </a:cubicBezTo>
                  <a:close/>
                  <a:moveTo>
                    <a:pt x="563" y="268"/>
                  </a:moveTo>
                  <a:cubicBezTo>
                    <a:pt x="725" y="268"/>
                    <a:pt x="856" y="399"/>
                    <a:pt x="856" y="561"/>
                  </a:cubicBezTo>
                  <a:cubicBezTo>
                    <a:pt x="856" y="722"/>
                    <a:pt x="725" y="853"/>
                    <a:pt x="563" y="853"/>
                  </a:cubicBezTo>
                  <a:cubicBezTo>
                    <a:pt x="402" y="853"/>
                    <a:pt x="271" y="722"/>
                    <a:pt x="271" y="561"/>
                  </a:cubicBezTo>
                  <a:cubicBezTo>
                    <a:pt x="271" y="399"/>
                    <a:pt x="402" y="268"/>
                    <a:pt x="563" y="268"/>
                  </a:cubicBezTo>
                  <a:close/>
                </a:path>
              </a:pathLst>
            </a:cu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a:endParaRPr lang="de-DE"/>
            </a:p>
          </p:txBody>
        </p:sp>
      </p:grpSp>
      <p:sp>
        <p:nvSpPr>
          <p:cNvPr id="30" name="Rechteck 29">
            <a:extLst>
              <a:ext uri="{FF2B5EF4-FFF2-40B4-BE49-F238E27FC236}">
                <a16:creationId xmlns:a16="http://schemas.microsoft.com/office/drawing/2014/main" id="{A98F7257-869A-4A16-8F1E-6F1114D04148}"/>
              </a:ext>
            </a:extLst>
          </p:cNvPr>
          <p:cNvSpPr/>
          <p:nvPr userDrawn="1"/>
        </p:nvSpPr>
        <p:spPr>
          <a:xfrm>
            <a:off x="8183563" y="1"/>
            <a:ext cx="1836483" cy="94456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eaLnBrk="1"/>
            <a:endParaRPr lang="de-DE" sz="1400" dirty="0" err="1"/>
          </a:p>
        </p:txBody>
      </p:sp>
      <p:sp>
        <p:nvSpPr>
          <p:cNvPr id="33" name="Bildplatzhalter 32">
            <a:extLst>
              <a:ext uri="{FF2B5EF4-FFF2-40B4-BE49-F238E27FC236}">
                <a16:creationId xmlns:a16="http://schemas.microsoft.com/office/drawing/2014/main" id="{F2949D9D-C122-45BC-8C8A-EB939013AC86}"/>
              </a:ext>
            </a:extLst>
          </p:cNvPr>
          <p:cNvSpPr>
            <a:spLocks noGrp="1"/>
          </p:cNvSpPr>
          <p:nvPr>
            <p:ph type="pic" sz="quarter" idx="15" hasCustomPrompt="1"/>
          </p:nvPr>
        </p:nvSpPr>
        <p:spPr>
          <a:xfrm>
            <a:off x="8183204" y="0"/>
            <a:ext cx="1833563" cy="944563"/>
          </a:xfrm>
          <a:noFill/>
        </p:spPr>
        <p:txBody>
          <a:bodyPr vert="horz" lIns="0" tIns="0" rIns="0" bIns="0" rtlCol="0" anchor="ctr" anchorCtr="0">
            <a:noAutofit/>
          </a:bodyPr>
          <a:lstStyle>
            <a:lvl1pPr algn="ctr">
              <a:defRPr lang="de-DE" sz="1100" b="0">
                <a:solidFill>
                  <a:schemeClr val="tx2"/>
                </a:solidFill>
              </a:defRPr>
            </a:lvl1pPr>
          </a:lstStyle>
          <a:p>
            <a:pPr lvl="0" algn="ctr"/>
            <a:r>
              <a:rPr lang="de-DE" dirty="0"/>
              <a:t>Insert </a:t>
            </a:r>
            <a:r>
              <a:rPr lang="de-DE" dirty="0" err="1"/>
              <a:t>reference</a:t>
            </a:r>
            <a:r>
              <a:rPr lang="de-DE" dirty="0"/>
              <a:t> logo</a:t>
            </a:r>
          </a:p>
        </p:txBody>
      </p:sp>
      <p:sp>
        <p:nvSpPr>
          <p:cNvPr id="5" name="Fußzeilenplatzhalter 4">
            <a:extLst>
              <a:ext uri="{FF2B5EF4-FFF2-40B4-BE49-F238E27FC236}">
                <a16:creationId xmlns:a16="http://schemas.microsoft.com/office/drawing/2014/main" id="{08A7E216-CA61-4B50-AE6A-10749EE4E482}"/>
              </a:ext>
            </a:extLst>
          </p:cNvPr>
          <p:cNvSpPr>
            <a:spLocks noGrp="1"/>
          </p:cNvSpPr>
          <p:nvPr>
            <p:ph type="ftr" sz="quarter" idx="24"/>
          </p:nvPr>
        </p:nvSpPr>
        <p:spPr/>
        <p:txBody>
          <a:bodyPr/>
          <a:lstStyle/>
          <a:p>
            <a:r>
              <a:rPr lang="en-GB"/>
              <a:t>NZSUG Auckland Event + SAP Forum</a:t>
            </a:r>
            <a:endParaRPr lang="de-DE" dirty="0"/>
          </a:p>
        </p:txBody>
      </p:sp>
      <p:sp>
        <p:nvSpPr>
          <p:cNvPr id="35" name="Textplatzhalter 20">
            <a:extLst>
              <a:ext uri="{FF2B5EF4-FFF2-40B4-BE49-F238E27FC236}">
                <a16:creationId xmlns:a16="http://schemas.microsoft.com/office/drawing/2014/main" id="{3DF93B3A-A21F-4CE1-908A-ACA86179D044}"/>
              </a:ext>
            </a:extLst>
          </p:cNvPr>
          <p:cNvSpPr>
            <a:spLocks noGrp="1"/>
          </p:cNvSpPr>
          <p:nvPr>
            <p:ph type="body" sz="quarter" idx="25" hasCustomPrompt="1"/>
          </p:nvPr>
        </p:nvSpPr>
        <p:spPr>
          <a:xfrm>
            <a:off x="4295206" y="2457450"/>
            <a:ext cx="3600000" cy="3887788"/>
          </a:xfrm>
        </p:spPr>
        <p:txBody>
          <a:bodyPr tIns="72000"/>
          <a:lstStyle>
            <a:lvl1pPr marL="0" indent="0">
              <a:buClr>
                <a:schemeClr val="accent3"/>
              </a:buClr>
              <a:buFont typeface="Wingdings 2" panose="05020102010507070707" pitchFamily="18" charset="2"/>
              <a:buNone/>
              <a:defRPr b="0">
                <a:solidFill>
                  <a:schemeClr val="bg2"/>
                </a:solidFill>
              </a:defRPr>
            </a:lvl1pPr>
            <a:lvl2pPr marL="216000" indent="-216000">
              <a:spcBef>
                <a:spcPts val="600"/>
              </a:spcBef>
              <a:buClr>
                <a:schemeClr val="accent3"/>
              </a:buClr>
              <a:buFont typeface="Wingdings 2" panose="05020102010507070707" pitchFamily="18" charset="2"/>
              <a:buChar char="¡"/>
              <a:defRPr/>
            </a:lvl2pPr>
            <a:lvl3pPr marL="432000" indent="-216000">
              <a:spcBef>
                <a:spcPts val="600"/>
              </a:spcBef>
              <a:buFont typeface="Symbol" panose="05050102010706020507" pitchFamily="18" charset="2"/>
              <a:buChar char="-"/>
              <a:defRPr/>
            </a:lvl3pPr>
            <a:lvl4pPr marL="648000" indent="-216000">
              <a:spcBef>
                <a:spcPts val="600"/>
              </a:spcBef>
              <a:buFont typeface="Wingdings 2" panose="05020102010507070707" pitchFamily="18" charset="2"/>
              <a:buChar char="¡"/>
              <a:defRPr/>
            </a:lvl4pPr>
            <a:lvl5pPr marL="864000" indent="-216000">
              <a:spcBef>
                <a:spcPts val="600"/>
              </a:spcBef>
              <a:buFont typeface="Symbol" panose="05050102010706020507" pitchFamily="18" charset="2"/>
              <a:buChar cha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36" name="Textplatzhalter 20">
            <a:extLst>
              <a:ext uri="{FF2B5EF4-FFF2-40B4-BE49-F238E27FC236}">
                <a16:creationId xmlns:a16="http://schemas.microsoft.com/office/drawing/2014/main" id="{B1DF2711-C377-427F-A7CF-D67141503FA2}"/>
              </a:ext>
            </a:extLst>
          </p:cNvPr>
          <p:cNvSpPr>
            <a:spLocks noGrp="1"/>
          </p:cNvSpPr>
          <p:nvPr>
            <p:ph type="body" sz="quarter" idx="26" hasCustomPrompt="1"/>
          </p:nvPr>
        </p:nvSpPr>
        <p:spPr>
          <a:xfrm>
            <a:off x="8177559" y="2457450"/>
            <a:ext cx="3600000" cy="3887788"/>
          </a:xfrm>
        </p:spPr>
        <p:txBody>
          <a:bodyPr tIns="72000"/>
          <a:lstStyle>
            <a:lvl1pPr marL="0" indent="0">
              <a:buClr>
                <a:schemeClr val="accent3"/>
              </a:buClr>
              <a:buFont typeface="Wingdings 2" panose="05020102010507070707" pitchFamily="18" charset="2"/>
              <a:buNone/>
              <a:defRPr b="0">
                <a:solidFill>
                  <a:schemeClr val="bg2"/>
                </a:solidFill>
              </a:defRPr>
            </a:lvl1pPr>
            <a:lvl2pPr marL="216000" indent="-216000">
              <a:spcBef>
                <a:spcPts val="600"/>
              </a:spcBef>
              <a:buClr>
                <a:schemeClr val="accent3"/>
              </a:buClr>
              <a:buFont typeface="Wingdings 2" panose="05020102010507070707" pitchFamily="18" charset="2"/>
              <a:buChar char="¡"/>
              <a:defRPr/>
            </a:lvl2pPr>
            <a:lvl3pPr marL="432000" indent="-216000">
              <a:spcBef>
                <a:spcPts val="600"/>
              </a:spcBef>
              <a:buFont typeface="Symbol" panose="05050102010706020507" pitchFamily="18" charset="2"/>
              <a:buChar char="-"/>
              <a:defRPr/>
            </a:lvl3pPr>
            <a:lvl4pPr marL="648000" indent="-216000">
              <a:spcBef>
                <a:spcPts val="600"/>
              </a:spcBef>
              <a:buFont typeface="Wingdings 2" panose="05020102010507070707" pitchFamily="18" charset="2"/>
              <a:buChar char="¡"/>
              <a:defRPr/>
            </a:lvl4pPr>
            <a:lvl5pPr marL="864000" indent="-216000">
              <a:spcBef>
                <a:spcPts val="600"/>
              </a:spcBef>
              <a:buFont typeface="Symbol" panose="05050102010706020507" pitchFamily="18" charset="2"/>
              <a:buChar cha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22" name="Freeform 5">
            <a:extLst>
              <a:ext uri="{FF2B5EF4-FFF2-40B4-BE49-F238E27FC236}">
                <a16:creationId xmlns:a16="http://schemas.microsoft.com/office/drawing/2014/main" id="{14649282-ADD6-4AD6-8BC4-A17D0CEC096F}"/>
              </a:ext>
            </a:extLst>
          </p:cNvPr>
          <p:cNvSpPr>
            <a:spLocks noEditPoints="1"/>
          </p:cNvSpPr>
          <p:nvPr userDrawn="1"/>
        </p:nvSpPr>
        <p:spPr bwMode="auto">
          <a:xfrm>
            <a:off x="1584155" y="1752454"/>
            <a:ext cx="802639" cy="465671"/>
          </a:xfrm>
          <a:custGeom>
            <a:avLst/>
            <a:gdLst>
              <a:gd name="T0" fmla="*/ 786 w 1473"/>
              <a:gd name="T1" fmla="*/ 416 h 851"/>
              <a:gd name="T2" fmla="*/ 973 w 1473"/>
              <a:gd name="T3" fmla="*/ 180 h 851"/>
              <a:gd name="T4" fmla="*/ 1473 w 1473"/>
              <a:gd name="T5" fmla="*/ 851 h 851"/>
              <a:gd name="T6" fmla="*/ 1087 w 1473"/>
              <a:gd name="T7" fmla="*/ 851 h 851"/>
              <a:gd name="T8" fmla="*/ 900 w 1473"/>
              <a:gd name="T9" fmla="*/ 516 h 851"/>
              <a:gd name="T10" fmla="*/ 952 w 1473"/>
              <a:gd name="T11" fmla="*/ 458 h 851"/>
              <a:gd name="T12" fmla="*/ 1030 w 1473"/>
              <a:gd name="T13" fmla="*/ 487 h 851"/>
              <a:gd name="T14" fmla="*/ 1087 w 1473"/>
              <a:gd name="T15" fmla="*/ 458 h 851"/>
              <a:gd name="T16" fmla="*/ 1202 w 1473"/>
              <a:gd name="T17" fmla="*/ 487 h 851"/>
              <a:gd name="T18" fmla="*/ 162 w 1473"/>
              <a:gd name="T19" fmla="*/ 536 h 851"/>
              <a:gd name="T20" fmla="*/ 293 w 1473"/>
              <a:gd name="T21" fmla="*/ 595 h 851"/>
              <a:gd name="T22" fmla="*/ 378 w 1473"/>
              <a:gd name="T23" fmla="*/ 546 h 851"/>
              <a:gd name="T24" fmla="*/ 463 w 1473"/>
              <a:gd name="T25" fmla="*/ 595 h 851"/>
              <a:gd name="T26" fmla="*/ 564 w 1473"/>
              <a:gd name="T27" fmla="*/ 505 h 851"/>
              <a:gd name="T28" fmla="*/ 678 w 1473"/>
              <a:gd name="T29" fmla="*/ 571 h 851"/>
              <a:gd name="T30" fmla="*/ 740 w 1473"/>
              <a:gd name="T31" fmla="*/ 505 h 851"/>
              <a:gd name="T32" fmla="*/ 798 w 1473"/>
              <a:gd name="T33" fmla="*/ 442 h 851"/>
              <a:gd name="T34" fmla="*/ 0 w 1473"/>
              <a:gd name="T35" fmla="*/ 851 h 851"/>
              <a:gd name="T36" fmla="*/ 244 w 1473"/>
              <a:gd name="T37" fmla="*/ 379 h 851"/>
              <a:gd name="T38" fmla="*/ 318 w 1473"/>
              <a:gd name="T39" fmla="*/ 441 h 851"/>
              <a:gd name="T40" fmla="*/ 442 w 1473"/>
              <a:gd name="T41" fmla="*/ 163 h 851"/>
              <a:gd name="T42" fmla="*/ 485 w 1473"/>
              <a:gd name="T43" fmla="*/ 202 h 851"/>
              <a:gd name="T44" fmla="*/ 577 w 1473"/>
              <a:gd name="T45" fmla="*/ 0 h 851"/>
              <a:gd name="T46" fmla="*/ 786 w 1473"/>
              <a:gd name="T47" fmla="*/ 416 h 851"/>
              <a:gd name="T48" fmla="*/ 787 w 1473"/>
              <a:gd name="T49" fmla="*/ 419 h 851"/>
              <a:gd name="T50" fmla="*/ 818 w 1473"/>
              <a:gd name="T51" fmla="*/ 480 h 851"/>
              <a:gd name="T52" fmla="*/ 830 w 1473"/>
              <a:gd name="T53" fmla="*/ 472 h 851"/>
              <a:gd name="T54" fmla="*/ 864 w 1473"/>
              <a:gd name="T55" fmla="*/ 449 h 851"/>
              <a:gd name="T56" fmla="*/ 1087 w 1473"/>
              <a:gd name="T57" fmla="*/ 851 h 851"/>
              <a:gd name="T58" fmla="*/ 0 w 1473"/>
              <a:gd name="T59" fmla="*/ 8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73" h="851">
                <a:moveTo>
                  <a:pt x="786" y="416"/>
                </a:moveTo>
                <a:lnTo>
                  <a:pt x="973" y="180"/>
                </a:lnTo>
                <a:lnTo>
                  <a:pt x="1473" y="851"/>
                </a:lnTo>
                <a:lnTo>
                  <a:pt x="1087" y="851"/>
                </a:lnTo>
                <a:moveTo>
                  <a:pt x="900" y="516"/>
                </a:moveTo>
                <a:lnTo>
                  <a:pt x="952" y="458"/>
                </a:lnTo>
                <a:lnTo>
                  <a:pt x="1030" y="487"/>
                </a:lnTo>
                <a:lnTo>
                  <a:pt x="1087" y="458"/>
                </a:lnTo>
                <a:lnTo>
                  <a:pt x="1202" y="487"/>
                </a:lnTo>
                <a:moveTo>
                  <a:pt x="162" y="536"/>
                </a:moveTo>
                <a:cubicBezTo>
                  <a:pt x="162" y="536"/>
                  <a:pt x="288" y="597"/>
                  <a:pt x="293" y="595"/>
                </a:cubicBezTo>
                <a:cubicBezTo>
                  <a:pt x="299" y="593"/>
                  <a:pt x="378" y="546"/>
                  <a:pt x="378" y="546"/>
                </a:cubicBezTo>
                <a:lnTo>
                  <a:pt x="463" y="595"/>
                </a:lnTo>
                <a:lnTo>
                  <a:pt x="564" y="505"/>
                </a:lnTo>
                <a:lnTo>
                  <a:pt x="678" y="571"/>
                </a:lnTo>
                <a:lnTo>
                  <a:pt x="740" y="505"/>
                </a:lnTo>
                <a:lnTo>
                  <a:pt x="798" y="442"/>
                </a:lnTo>
                <a:moveTo>
                  <a:pt x="0" y="851"/>
                </a:moveTo>
                <a:lnTo>
                  <a:pt x="244" y="379"/>
                </a:lnTo>
                <a:lnTo>
                  <a:pt x="318" y="441"/>
                </a:lnTo>
                <a:lnTo>
                  <a:pt x="442" y="163"/>
                </a:lnTo>
                <a:lnTo>
                  <a:pt x="485" y="202"/>
                </a:lnTo>
                <a:lnTo>
                  <a:pt x="577" y="0"/>
                </a:lnTo>
                <a:lnTo>
                  <a:pt x="786" y="416"/>
                </a:lnTo>
                <a:lnTo>
                  <a:pt x="787" y="419"/>
                </a:lnTo>
                <a:lnTo>
                  <a:pt x="818" y="480"/>
                </a:lnTo>
                <a:lnTo>
                  <a:pt x="830" y="472"/>
                </a:lnTo>
                <a:lnTo>
                  <a:pt x="864" y="449"/>
                </a:lnTo>
                <a:lnTo>
                  <a:pt x="1087" y="851"/>
                </a:lnTo>
                <a:lnTo>
                  <a:pt x="0" y="851"/>
                </a:lnTo>
                <a:close/>
              </a:path>
            </a:pathLst>
          </a:cu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eaLnBrk="1"/>
            <a:endParaRPr lang="de-DE"/>
          </a:p>
        </p:txBody>
      </p:sp>
      <p:sp>
        <p:nvSpPr>
          <p:cNvPr id="28" name="Titelplatzhalter 1">
            <a:extLst>
              <a:ext uri="{FF2B5EF4-FFF2-40B4-BE49-F238E27FC236}">
                <a16:creationId xmlns:a16="http://schemas.microsoft.com/office/drawing/2014/main" id="{5E906477-8F5E-497B-8299-3CF42E92C2B3}"/>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3680175839"/>
      </p:ext>
    </p:extLst>
  </p:cSld>
  <p:clrMapOvr>
    <a:masterClrMapping/>
  </p:clrMapOvr>
  <p:transition spd="med">
    <p:fade/>
  </p:transition>
  <p:extLst>
    <p:ext uri="{DCECCB84-F9BA-43D5-87BE-67443E8EF086}">
      <p15:sldGuideLst xmlns:p15="http://schemas.microsoft.com/office/powerpoint/2012/main">
        <p15:guide id="1" orient="horz" pos="1548" userDrawn="1">
          <p15:clr>
            <a:srgbClr val="FBAE40"/>
          </p15:clr>
        </p15:guide>
        <p15:guide id="2" pos="2524" userDrawn="1">
          <p15:clr>
            <a:srgbClr val="FBAE40"/>
          </p15:clr>
        </p15:guide>
        <p15:guide id="3" pos="4973" userDrawn="1">
          <p15:clr>
            <a:srgbClr val="FBAE40"/>
          </p15:clr>
        </p15:guide>
        <p15:guide id="4" pos="5155" userDrawn="1">
          <p15:clr>
            <a:srgbClr val="FBAE40"/>
          </p15:clr>
        </p15:guide>
        <p15:guide id="5" pos="2706" userDrawn="1">
          <p15:clr>
            <a:srgbClr val="FBAE40"/>
          </p15:clr>
        </p15:guide>
        <p15:guide id="6" orient="horz" pos="50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 Schluss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06400" y="333375"/>
            <a:ext cx="11377613" cy="590605"/>
          </a:xfrm>
          <a:prstGeom prst="rect">
            <a:avLst/>
          </a:prstGeom>
        </p:spPr>
        <p:txBody>
          <a:bodyPr anchor="b" anchorCtr="0"/>
          <a:lstStyle>
            <a:lvl1pPr>
              <a:defRPr sz="3600" b="1">
                <a:solidFill>
                  <a:schemeClr val="accent3"/>
                </a:solidFill>
              </a:defRPr>
            </a:lvl1pPr>
          </a:lstStyle>
          <a:p>
            <a:r>
              <a:rPr lang="de-DE" dirty="0"/>
              <a:t>CLICK TO EDIT TITLE</a:t>
            </a:r>
          </a:p>
        </p:txBody>
      </p:sp>
      <p:sp>
        <p:nvSpPr>
          <p:cNvPr id="7" name="Rechteck 6">
            <a:extLst>
              <a:ext uri="{FF2B5EF4-FFF2-40B4-BE49-F238E27FC236}">
                <a16:creationId xmlns:a16="http://schemas.microsoft.com/office/drawing/2014/main" id="{DB26614C-4862-4F34-B263-BB407BFC6188}"/>
              </a:ext>
            </a:extLst>
          </p:cNvPr>
          <p:cNvSpPr/>
          <p:nvPr userDrawn="1"/>
        </p:nvSpPr>
        <p:spPr>
          <a:xfrm>
            <a:off x="406400" y="5876893"/>
            <a:ext cx="474878" cy="981107"/>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1"/>
            <a:endParaRPr lang="de-DE" sz="1400" dirty="0" err="1">
              <a:solidFill>
                <a:schemeClr val="bg2"/>
              </a:solidFill>
            </a:endParaRPr>
          </a:p>
        </p:txBody>
      </p:sp>
      <p:sp>
        <p:nvSpPr>
          <p:cNvPr id="8" name="Rechteck 7">
            <a:extLst>
              <a:ext uri="{FF2B5EF4-FFF2-40B4-BE49-F238E27FC236}">
                <a16:creationId xmlns:a16="http://schemas.microsoft.com/office/drawing/2014/main" id="{0D159B70-F27C-4E91-BEFA-F07AD585CCBF}"/>
              </a:ext>
            </a:extLst>
          </p:cNvPr>
          <p:cNvSpPr/>
          <p:nvPr userDrawn="1"/>
        </p:nvSpPr>
        <p:spPr>
          <a:xfrm>
            <a:off x="918620" y="5876893"/>
            <a:ext cx="474878" cy="981107"/>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1"/>
            <a:endParaRPr lang="de-DE" sz="1400" dirty="0" err="1">
              <a:solidFill>
                <a:schemeClr val="bg2"/>
              </a:solidFill>
            </a:endParaRPr>
          </a:p>
        </p:txBody>
      </p:sp>
      <p:sp>
        <p:nvSpPr>
          <p:cNvPr id="9" name="Rechteck 8">
            <a:extLst>
              <a:ext uri="{FF2B5EF4-FFF2-40B4-BE49-F238E27FC236}">
                <a16:creationId xmlns:a16="http://schemas.microsoft.com/office/drawing/2014/main" id="{2AA34FB4-8D1B-4A90-B0C6-56970FCCF7E3}"/>
              </a:ext>
            </a:extLst>
          </p:cNvPr>
          <p:cNvSpPr/>
          <p:nvPr userDrawn="1"/>
        </p:nvSpPr>
        <p:spPr>
          <a:xfrm>
            <a:off x="1430840" y="5876893"/>
            <a:ext cx="474878" cy="981107"/>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1"/>
            <a:endParaRPr lang="de-DE" sz="1400" dirty="0" err="1">
              <a:solidFill>
                <a:schemeClr val="bg2"/>
              </a:solidFill>
            </a:endParaRPr>
          </a:p>
        </p:txBody>
      </p:sp>
      <p:sp>
        <p:nvSpPr>
          <p:cNvPr id="11" name="Rechteck 10">
            <a:extLst>
              <a:ext uri="{FF2B5EF4-FFF2-40B4-BE49-F238E27FC236}">
                <a16:creationId xmlns:a16="http://schemas.microsoft.com/office/drawing/2014/main" id="{D27DABEB-96F8-4326-A284-7FD4A39F3992}"/>
              </a:ext>
            </a:extLst>
          </p:cNvPr>
          <p:cNvSpPr/>
          <p:nvPr userDrawn="1"/>
        </p:nvSpPr>
        <p:spPr>
          <a:xfrm>
            <a:off x="1943060" y="5876893"/>
            <a:ext cx="474878" cy="981107"/>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1"/>
            <a:endParaRPr lang="de-DE" sz="1400" dirty="0" err="1">
              <a:solidFill>
                <a:schemeClr val="bg2"/>
              </a:solidFill>
            </a:endParaRPr>
          </a:p>
        </p:txBody>
      </p:sp>
      <p:sp>
        <p:nvSpPr>
          <p:cNvPr id="12" name="Rechteck 11">
            <a:extLst>
              <a:ext uri="{FF2B5EF4-FFF2-40B4-BE49-F238E27FC236}">
                <a16:creationId xmlns:a16="http://schemas.microsoft.com/office/drawing/2014/main" id="{6423E382-98F4-41FA-B570-C70014DC5AB0}"/>
              </a:ext>
            </a:extLst>
          </p:cNvPr>
          <p:cNvSpPr/>
          <p:nvPr userDrawn="1"/>
        </p:nvSpPr>
        <p:spPr>
          <a:xfrm>
            <a:off x="406400" y="5573338"/>
            <a:ext cx="1720250" cy="307777"/>
          </a:xfrm>
          <a:prstGeom prst="rect">
            <a:avLst/>
          </a:prstGeom>
          <a:ln>
            <a:noFill/>
          </a:ln>
        </p:spPr>
        <p:txBody>
          <a:bodyPr wrap="square" lIns="0">
            <a:spAutoFit/>
          </a:bodyPr>
          <a:lstStyle/>
          <a:p>
            <a:r>
              <a:rPr lang="de-DE" sz="1400" b="1">
                <a:solidFill>
                  <a:schemeClr val="tx2"/>
                </a:solidFill>
              </a:rPr>
              <a:t>Follow us</a:t>
            </a:r>
            <a:endParaRPr lang="de-DE" sz="1400" b="1" dirty="0">
              <a:solidFill>
                <a:schemeClr val="tx2"/>
              </a:solidFill>
            </a:endParaRPr>
          </a:p>
        </p:txBody>
      </p:sp>
      <p:sp>
        <p:nvSpPr>
          <p:cNvPr id="13" name="Freeform 23">
            <a:extLst>
              <a:ext uri="{FF2B5EF4-FFF2-40B4-BE49-F238E27FC236}">
                <a16:creationId xmlns:a16="http://schemas.microsoft.com/office/drawing/2014/main" id="{86516686-6D93-41FF-AFC8-AB572DAC3477}"/>
              </a:ext>
            </a:extLst>
          </p:cNvPr>
          <p:cNvSpPr>
            <a:spLocks/>
          </p:cNvSpPr>
          <p:nvPr userDrawn="1"/>
        </p:nvSpPr>
        <p:spPr bwMode="auto">
          <a:xfrm>
            <a:off x="564464" y="5972066"/>
            <a:ext cx="158750" cy="296863"/>
          </a:xfrm>
          <a:custGeom>
            <a:avLst/>
            <a:gdLst>
              <a:gd name="T0" fmla="*/ 0 w 587"/>
              <a:gd name="T1" fmla="*/ 378 h 1096"/>
              <a:gd name="T2" fmla="*/ 0 w 587"/>
              <a:gd name="T3" fmla="*/ 378 h 1096"/>
              <a:gd name="T4" fmla="*/ 0 w 587"/>
              <a:gd name="T5" fmla="*/ 588 h 1096"/>
              <a:gd name="T6" fmla="*/ 168 w 587"/>
              <a:gd name="T7" fmla="*/ 588 h 1096"/>
              <a:gd name="T8" fmla="*/ 168 w 587"/>
              <a:gd name="T9" fmla="*/ 1096 h 1096"/>
              <a:gd name="T10" fmla="*/ 378 w 587"/>
              <a:gd name="T11" fmla="*/ 1096 h 1096"/>
              <a:gd name="T12" fmla="*/ 378 w 587"/>
              <a:gd name="T13" fmla="*/ 588 h 1096"/>
              <a:gd name="T14" fmla="*/ 587 w 587"/>
              <a:gd name="T15" fmla="*/ 588 h 1096"/>
              <a:gd name="T16" fmla="*/ 587 w 587"/>
              <a:gd name="T17" fmla="*/ 378 h 1096"/>
              <a:gd name="T18" fmla="*/ 378 w 587"/>
              <a:gd name="T19" fmla="*/ 378 h 1096"/>
              <a:gd name="T20" fmla="*/ 378 w 587"/>
              <a:gd name="T21" fmla="*/ 271 h 1096"/>
              <a:gd name="T22" fmla="*/ 391 w 587"/>
              <a:gd name="T23" fmla="*/ 225 h 1096"/>
              <a:gd name="T24" fmla="*/ 419 w 587"/>
              <a:gd name="T25" fmla="*/ 206 h 1096"/>
              <a:gd name="T26" fmla="*/ 587 w 587"/>
              <a:gd name="T27" fmla="*/ 206 h 1096"/>
              <a:gd name="T28" fmla="*/ 587 w 587"/>
              <a:gd name="T29" fmla="*/ 0 h 1096"/>
              <a:gd name="T30" fmla="*/ 419 w 587"/>
              <a:gd name="T31" fmla="*/ 0 h 1096"/>
              <a:gd name="T32" fmla="*/ 322 w 587"/>
              <a:gd name="T33" fmla="*/ 22 h 1096"/>
              <a:gd name="T34" fmla="*/ 242 w 587"/>
              <a:gd name="T35" fmla="*/ 80 h 1096"/>
              <a:gd name="T36" fmla="*/ 188 w 587"/>
              <a:gd name="T37" fmla="*/ 167 h 1096"/>
              <a:gd name="T38" fmla="*/ 168 w 587"/>
              <a:gd name="T39" fmla="*/ 274 h 1096"/>
              <a:gd name="T40" fmla="*/ 168 w 587"/>
              <a:gd name="T41" fmla="*/ 378 h 1096"/>
              <a:gd name="T42" fmla="*/ 0 w 587"/>
              <a:gd name="T43" fmla="*/ 37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7" h="1096">
                <a:moveTo>
                  <a:pt x="0" y="378"/>
                </a:moveTo>
                <a:lnTo>
                  <a:pt x="0" y="378"/>
                </a:lnTo>
                <a:lnTo>
                  <a:pt x="0" y="588"/>
                </a:lnTo>
                <a:lnTo>
                  <a:pt x="168" y="588"/>
                </a:lnTo>
                <a:lnTo>
                  <a:pt x="168" y="1096"/>
                </a:lnTo>
                <a:lnTo>
                  <a:pt x="378" y="1096"/>
                </a:lnTo>
                <a:lnTo>
                  <a:pt x="378" y="588"/>
                </a:lnTo>
                <a:lnTo>
                  <a:pt x="587" y="588"/>
                </a:lnTo>
                <a:lnTo>
                  <a:pt x="587" y="378"/>
                </a:lnTo>
                <a:lnTo>
                  <a:pt x="378" y="378"/>
                </a:lnTo>
                <a:lnTo>
                  <a:pt x="378" y="271"/>
                </a:lnTo>
                <a:cubicBezTo>
                  <a:pt x="378" y="252"/>
                  <a:pt x="383" y="237"/>
                  <a:pt x="391" y="225"/>
                </a:cubicBezTo>
                <a:cubicBezTo>
                  <a:pt x="399" y="213"/>
                  <a:pt x="409" y="206"/>
                  <a:pt x="419" y="206"/>
                </a:cubicBezTo>
                <a:lnTo>
                  <a:pt x="587" y="206"/>
                </a:lnTo>
                <a:lnTo>
                  <a:pt x="587" y="0"/>
                </a:lnTo>
                <a:lnTo>
                  <a:pt x="419" y="0"/>
                </a:lnTo>
                <a:cubicBezTo>
                  <a:pt x="384" y="0"/>
                  <a:pt x="352" y="8"/>
                  <a:pt x="322" y="22"/>
                </a:cubicBezTo>
                <a:cubicBezTo>
                  <a:pt x="292" y="36"/>
                  <a:pt x="265" y="55"/>
                  <a:pt x="242" y="80"/>
                </a:cubicBezTo>
                <a:cubicBezTo>
                  <a:pt x="219" y="105"/>
                  <a:pt x="201" y="134"/>
                  <a:pt x="188" y="167"/>
                </a:cubicBezTo>
                <a:cubicBezTo>
                  <a:pt x="175" y="200"/>
                  <a:pt x="169" y="236"/>
                  <a:pt x="168" y="274"/>
                </a:cubicBezTo>
                <a:lnTo>
                  <a:pt x="168" y="378"/>
                </a:lnTo>
                <a:lnTo>
                  <a:pt x="0" y="37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solidFill>
                <a:schemeClr val="bg2"/>
              </a:solidFill>
            </a:endParaRPr>
          </a:p>
        </p:txBody>
      </p:sp>
      <p:sp>
        <p:nvSpPr>
          <p:cNvPr id="14" name="Freeform 24">
            <a:extLst>
              <a:ext uri="{FF2B5EF4-FFF2-40B4-BE49-F238E27FC236}">
                <a16:creationId xmlns:a16="http://schemas.microsoft.com/office/drawing/2014/main" id="{0A6904BA-AECD-42AD-81FC-C2637F036959}"/>
              </a:ext>
            </a:extLst>
          </p:cNvPr>
          <p:cNvSpPr>
            <a:spLocks noEditPoints="1"/>
          </p:cNvSpPr>
          <p:nvPr userDrawn="1"/>
        </p:nvSpPr>
        <p:spPr bwMode="auto">
          <a:xfrm>
            <a:off x="1542072" y="5991116"/>
            <a:ext cx="252413" cy="277813"/>
          </a:xfrm>
          <a:custGeom>
            <a:avLst/>
            <a:gdLst>
              <a:gd name="T0" fmla="*/ 124 w 929"/>
              <a:gd name="T1" fmla="*/ 0 h 1035"/>
              <a:gd name="T2" fmla="*/ 124 w 929"/>
              <a:gd name="T3" fmla="*/ 0 h 1035"/>
              <a:gd name="T4" fmla="*/ 61 w 929"/>
              <a:gd name="T5" fmla="*/ 17 h 1035"/>
              <a:gd name="T6" fmla="*/ 17 w 929"/>
              <a:gd name="T7" fmla="*/ 63 h 1035"/>
              <a:gd name="T8" fmla="*/ 0 w 929"/>
              <a:gd name="T9" fmla="*/ 127 h 1035"/>
              <a:gd name="T10" fmla="*/ 17 w 929"/>
              <a:gd name="T11" fmla="*/ 191 h 1035"/>
              <a:gd name="T12" fmla="*/ 61 w 929"/>
              <a:gd name="T13" fmla="*/ 236 h 1035"/>
              <a:gd name="T14" fmla="*/ 124 w 929"/>
              <a:gd name="T15" fmla="*/ 253 h 1035"/>
              <a:gd name="T16" fmla="*/ 187 w 929"/>
              <a:gd name="T17" fmla="*/ 236 h 1035"/>
              <a:gd name="T18" fmla="*/ 233 w 929"/>
              <a:gd name="T19" fmla="*/ 191 h 1035"/>
              <a:gd name="T20" fmla="*/ 250 w 929"/>
              <a:gd name="T21" fmla="*/ 127 h 1035"/>
              <a:gd name="T22" fmla="*/ 233 w 929"/>
              <a:gd name="T23" fmla="*/ 63 h 1035"/>
              <a:gd name="T24" fmla="*/ 187 w 929"/>
              <a:gd name="T25" fmla="*/ 17 h 1035"/>
              <a:gd name="T26" fmla="*/ 124 w 929"/>
              <a:gd name="T27" fmla="*/ 0 h 1035"/>
              <a:gd name="T28" fmla="*/ 325 w 929"/>
              <a:gd name="T29" fmla="*/ 328 h 1035"/>
              <a:gd name="T30" fmla="*/ 325 w 929"/>
              <a:gd name="T31" fmla="*/ 328 h 1035"/>
              <a:gd name="T32" fmla="*/ 325 w 929"/>
              <a:gd name="T33" fmla="*/ 1035 h 1035"/>
              <a:gd name="T34" fmla="*/ 529 w 929"/>
              <a:gd name="T35" fmla="*/ 1035 h 1035"/>
              <a:gd name="T36" fmla="*/ 529 w 929"/>
              <a:gd name="T37" fmla="*/ 582 h 1035"/>
              <a:gd name="T38" fmla="*/ 539 w 929"/>
              <a:gd name="T39" fmla="*/ 574 h 1035"/>
              <a:gd name="T40" fmla="*/ 564 w 929"/>
              <a:gd name="T41" fmla="*/ 556 h 1035"/>
              <a:gd name="T42" fmla="*/ 601 w 929"/>
              <a:gd name="T43" fmla="*/ 538 h 1035"/>
              <a:gd name="T44" fmla="*/ 646 w 929"/>
              <a:gd name="T45" fmla="*/ 532 h 1035"/>
              <a:gd name="T46" fmla="*/ 693 w 929"/>
              <a:gd name="T47" fmla="*/ 545 h 1035"/>
              <a:gd name="T48" fmla="*/ 710 w 929"/>
              <a:gd name="T49" fmla="*/ 559 h 1035"/>
              <a:gd name="T50" fmla="*/ 723 w 929"/>
              <a:gd name="T51" fmla="*/ 581 h 1035"/>
              <a:gd name="T52" fmla="*/ 728 w 929"/>
              <a:gd name="T53" fmla="*/ 604 h 1035"/>
              <a:gd name="T54" fmla="*/ 728 w 929"/>
              <a:gd name="T55" fmla="*/ 1035 h 1035"/>
              <a:gd name="T56" fmla="*/ 929 w 929"/>
              <a:gd name="T57" fmla="*/ 1035 h 1035"/>
              <a:gd name="T58" fmla="*/ 929 w 929"/>
              <a:gd name="T59" fmla="*/ 604 h 1035"/>
              <a:gd name="T60" fmla="*/ 912 w 929"/>
              <a:gd name="T61" fmla="*/ 512 h 1035"/>
              <a:gd name="T62" fmla="*/ 864 w 929"/>
              <a:gd name="T63" fmla="*/ 430 h 1035"/>
              <a:gd name="T64" fmla="*/ 792 w 929"/>
              <a:gd name="T65" fmla="*/ 368 h 1035"/>
              <a:gd name="T66" fmla="*/ 707 w 929"/>
              <a:gd name="T67" fmla="*/ 340 h 1035"/>
              <a:gd name="T68" fmla="*/ 615 w 929"/>
              <a:gd name="T69" fmla="*/ 336 h 1035"/>
              <a:gd name="T70" fmla="*/ 529 w 929"/>
              <a:gd name="T71" fmla="*/ 361 h 1035"/>
              <a:gd name="T72" fmla="*/ 529 w 929"/>
              <a:gd name="T73" fmla="*/ 328 h 1035"/>
              <a:gd name="T74" fmla="*/ 325 w 929"/>
              <a:gd name="T75" fmla="*/ 328 h 1035"/>
              <a:gd name="T76" fmla="*/ 226 w 929"/>
              <a:gd name="T77" fmla="*/ 1035 h 1035"/>
              <a:gd name="T78" fmla="*/ 226 w 929"/>
              <a:gd name="T79" fmla="*/ 1035 h 1035"/>
              <a:gd name="T80" fmla="*/ 226 w 929"/>
              <a:gd name="T81" fmla="*/ 328 h 1035"/>
              <a:gd name="T82" fmla="*/ 22 w 929"/>
              <a:gd name="T83" fmla="*/ 328 h 1035"/>
              <a:gd name="T84" fmla="*/ 22 w 929"/>
              <a:gd name="T85" fmla="*/ 1035 h 1035"/>
              <a:gd name="T86" fmla="*/ 226 w 929"/>
              <a:gd name="T87"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29" h="1035">
                <a:moveTo>
                  <a:pt x="124" y="0"/>
                </a:moveTo>
                <a:lnTo>
                  <a:pt x="124" y="0"/>
                </a:lnTo>
                <a:cubicBezTo>
                  <a:pt x="100" y="0"/>
                  <a:pt x="79" y="6"/>
                  <a:pt x="61" y="17"/>
                </a:cubicBezTo>
                <a:cubicBezTo>
                  <a:pt x="42" y="29"/>
                  <a:pt x="27" y="44"/>
                  <a:pt x="17" y="63"/>
                </a:cubicBezTo>
                <a:cubicBezTo>
                  <a:pt x="6" y="83"/>
                  <a:pt x="0" y="104"/>
                  <a:pt x="0" y="127"/>
                </a:cubicBezTo>
                <a:cubicBezTo>
                  <a:pt x="0" y="151"/>
                  <a:pt x="6" y="172"/>
                  <a:pt x="17" y="191"/>
                </a:cubicBezTo>
                <a:cubicBezTo>
                  <a:pt x="27" y="210"/>
                  <a:pt x="42" y="225"/>
                  <a:pt x="61" y="236"/>
                </a:cubicBezTo>
                <a:cubicBezTo>
                  <a:pt x="79" y="247"/>
                  <a:pt x="100" y="253"/>
                  <a:pt x="124" y="253"/>
                </a:cubicBezTo>
                <a:cubicBezTo>
                  <a:pt x="147" y="253"/>
                  <a:pt x="168" y="247"/>
                  <a:pt x="187" y="236"/>
                </a:cubicBezTo>
                <a:cubicBezTo>
                  <a:pt x="206" y="225"/>
                  <a:pt x="221" y="210"/>
                  <a:pt x="233" y="191"/>
                </a:cubicBezTo>
                <a:cubicBezTo>
                  <a:pt x="244" y="172"/>
                  <a:pt x="250" y="151"/>
                  <a:pt x="250" y="127"/>
                </a:cubicBezTo>
                <a:cubicBezTo>
                  <a:pt x="250" y="104"/>
                  <a:pt x="244" y="83"/>
                  <a:pt x="233" y="63"/>
                </a:cubicBezTo>
                <a:cubicBezTo>
                  <a:pt x="221" y="44"/>
                  <a:pt x="206" y="29"/>
                  <a:pt x="187" y="17"/>
                </a:cubicBezTo>
                <a:cubicBezTo>
                  <a:pt x="168" y="6"/>
                  <a:pt x="147" y="0"/>
                  <a:pt x="124" y="0"/>
                </a:cubicBezTo>
                <a:close/>
                <a:moveTo>
                  <a:pt x="325" y="328"/>
                </a:moveTo>
                <a:lnTo>
                  <a:pt x="325" y="328"/>
                </a:lnTo>
                <a:lnTo>
                  <a:pt x="325" y="1035"/>
                </a:lnTo>
                <a:lnTo>
                  <a:pt x="529" y="1035"/>
                </a:lnTo>
                <a:lnTo>
                  <a:pt x="529" y="582"/>
                </a:lnTo>
                <a:cubicBezTo>
                  <a:pt x="529" y="582"/>
                  <a:pt x="533" y="579"/>
                  <a:pt x="539" y="574"/>
                </a:cubicBezTo>
                <a:cubicBezTo>
                  <a:pt x="545" y="569"/>
                  <a:pt x="553" y="562"/>
                  <a:pt x="564" y="556"/>
                </a:cubicBezTo>
                <a:cubicBezTo>
                  <a:pt x="575" y="549"/>
                  <a:pt x="587" y="543"/>
                  <a:pt x="601" y="538"/>
                </a:cubicBezTo>
                <a:cubicBezTo>
                  <a:pt x="615" y="534"/>
                  <a:pt x="630" y="531"/>
                  <a:pt x="646" y="532"/>
                </a:cubicBezTo>
                <a:cubicBezTo>
                  <a:pt x="661" y="532"/>
                  <a:pt x="677" y="537"/>
                  <a:pt x="693" y="545"/>
                </a:cubicBezTo>
                <a:cubicBezTo>
                  <a:pt x="699" y="548"/>
                  <a:pt x="704" y="552"/>
                  <a:pt x="710" y="559"/>
                </a:cubicBezTo>
                <a:cubicBezTo>
                  <a:pt x="715" y="565"/>
                  <a:pt x="719" y="573"/>
                  <a:pt x="723" y="581"/>
                </a:cubicBezTo>
                <a:cubicBezTo>
                  <a:pt x="726" y="589"/>
                  <a:pt x="728" y="597"/>
                  <a:pt x="728" y="604"/>
                </a:cubicBezTo>
                <a:lnTo>
                  <a:pt x="728" y="1035"/>
                </a:lnTo>
                <a:lnTo>
                  <a:pt x="929" y="1035"/>
                </a:lnTo>
                <a:lnTo>
                  <a:pt x="929" y="604"/>
                </a:lnTo>
                <a:cubicBezTo>
                  <a:pt x="929" y="573"/>
                  <a:pt x="923" y="542"/>
                  <a:pt x="912" y="512"/>
                </a:cubicBezTo>
                <a:cubicBezTo>
                  <a:pt x="900" y="482"/>
                  <a:pt x="885" y="454"/>
                  <a:pt x="864" y="430"/>
                </a:cubicBezTo>
                <a:cubicBezTo>
                  <a:pt x="844" y="404"/>
                  <a:pt x="820" y="384"/>
                  <a:pt x="792" y="368"/>
                </a:cubicBezTo>
                <a:cubicBezTo>
                  <a:pt x="766" y="355"/>
                  <a:pt x="738" y="345"/>
                  <a:pt x="707" y="340"/>
                </a:cubicBezTo>
                <a:cubicBezTo>
                  <a:pt x="677" y="334"/>
                  <a:pt x="646" y="333"/>
                  <a:pt x="615" y="336"/>
                </a:cubicBezTo>
                <a:cubicBezTo>
                  <a:pt x="584" y="339"/>
                  <a:pt x="556" y="348"/>
                  <a:pt x="529" y="361"/>
                </a:cubicBezTo>
                <a:lnTo>
                  <a:pt x="529" y="328"/>
                </a:lnTo>
                <a:lnTo>
                  <a:pt x="325" y="328"/>
                </a:lnTo>
                <a:close/>
                <a:moveTo>
                  <a:pt x="226" y="1035"/>
                </a:moveTo>
                <a:lnTo>
                  <a:pt x="226" y="1035"/>
                </a:lnTo>
                <a:lnTo>
                  <a:pt x="226" y="328"/>
                </a:lnTo>
                <a:lnTo>
                  <a:pt x="22" y="328"/>
                </a:lnTo>
                <a:lnTo>
                  <a:pt x="22" y="1035"/>
                </a:lnTo>
                <a:lnTo>
                  <a:pt x="226" y="10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solidFill>
                <a:schemeClr val="bg2"/>
              </a:solidFill>
            </a:endParaRPr>
          </a:p>
        </p:txBody>
      </p:sp>
      <p:sp>
        <p:nvSpPr>
          <p:cNvPr id="16" name="Freeform 25">
            <a:extLst>
              <a:ext uri="{FF2B5EF4-FFF2-40B4-BE49-F238E27FC236}">
                <a16:creationId xmlns:a16="http://schemas.microsoft.com/office/drawing/2014/main" id="{6F25957B-1D0E-416E-95BA-66EF7DE042C3}"/>
              </a:ext>
            </a:extLst>
          </p:cNvPr>
          <p:cNvSpPr>
            <a:spLocks/>
          </p:cNvSpPr>
          <p:nvPr userDrawn="1"/>
        </p:nvSpPr>
        <p:spPr bwMode="auto">
          <a:xfrm>
            <a:off x="1001277" y="6016516"/>
            <a:ext cx="309563" cy="252413"/>
          </a:xfrm>
          <a:custGeom>
            <a:avLst/>
            <a:gdLst>
              <a:gd name="T0" fmla="*/ 1146 w 1146"/>
              <a:gd name="T1" fmla="*/ 111 h 933"/>
              <a:gd name="T2" fmla="*/ 1081 w 1146"/>
              <a:gd name="T3" fmla="*/ 134 h 933"/>
              <a:gd name="T4" fmla="*/ 1011 w 1146"/>
              <a:gd name="T5" fmla="*/ 148 h 933"/>
              <a:gd name="T6" fmla="*/ 1074 w 1146"/>
              <a:gd name="T7" fmla="*/ 92 h 933"/>
              <a:gd name="T8" fmla="*/ 1115 w 1146"/>
              <a:gd name="T9" fmla="*/ 19 h 933"/>
              <a:gd name="T10" fmla="*/ 1042 w 1146"/>
              <a:gd name="T11" fmla="*/ 52 h 933"/>
              <a:gd name="T12" fmla="*/ 964 w 1146"/>
              <a:gd name="T13" fmla="*/ 74 h 933"/>
              <a:gd name="T14" fmla="*/ 889 w 1146"/>
              <a:gd name="T15" fmla="*/ 20 h 933"/>
              <a:gd name="T16" fmla="*/ 793 w 1146"/>
              <a:gd name="T17" fmla="*/ 0 h 933"/>
              <a:gd name="T18" fmla="*/ 674 w 1146"/>
              <a:gd name="T19" fmla="*/ 32 h 933"/>
              <a:gd name="T20" fmla="*/ 591 w 1146"/>
              <a:gd name="T21" fmla="*/ 118 h 933"/>
              <a:gd name="T22" fmla="*/ 558 w 1146"/>
              <a:gd name="T23" fmla="*/ 238 h 933"/>
              <a:gd name="T24" fmla="*/ 560 w 1146"/>
              <a:gd name="T25" fmla="*/ 263 h 933"/>
              <a:gd name="T26" fmla="*/ 564 w 1146"/>
              <a:gd name="T27" fmla="*/ 289 h 933"/>
              <a:gd name="T28" fmla="*/ 378 w 1146"/>
              <a:gd name="T29" fmla="*/ 253 h 933"/>
              <a:gd name="T30" fmla="*/ 214 w 1146"/>
              <a:gd name="T31" fmla="*/ 169 h 933"/>
              <a:gd name="T32" fmla="*/ 80 w 1146"/>
              <a:gd name="T33" fmla="*/ 43 h 933"/>
              <a:gd name="T34" fmla="*/ 57 w 1146"/>
              <a:gd name="T35" fmla="*/ 99 h 933"/>
              <a:gd name="T36" fmla="*/ 49 w 1146"/>
              <a:gd name="T37" fmla="*/ 162 h 933"/>
              <a:gd name="T38" fmla="*/ 77 w 1146"/>
              <a:gd name="T39" fmla="*/ 275 h 933"/>
              <a:gd name="T40" fmla="*/ 154 w 1146"/>
              <a:gd name="T41" fmla="*/ 357 h 933"/>
              <a:gd name="T42" fmla="*/ 95 w 1146"/>
              <a:gd name="T43" fmla="*/ 349 h 933"/>
              <a:gd name="T44" fmla="*/ 45 w 1146"/>
              <a:gd name="T45" fmla="*/ 330 h 933"/>
              <a:gd name="T46" fmla="*/ 45 w 1146"/>
              <a:gd name="T47" fmla="*/ 331 h 933"/>
              <a:gd name="T48" fmla="*/ 45 w 1146"/>
              <a:gd name="T49" fmla="*/ 331 h 933"/>
              <a:gd name="T50" fmla="*/ 70 w 1146"/>
              <a:gd name="T51" fmla="*/ 436 h 933"/>
              <a:gd name="T52" fmla="*/ 137 w 1146"/>
              <a:gd name="T53" fmla="*/ 517 h 933"/>
              <a:gd name="T54" fmla="*/ 234 w 1146"/>
              <a:gd name="T55" fmla="*/ 562 h 933"/>
              <a:gd name="T56" fmla="*/ 205 w 1146"/>
              <a:gd name="T57" fmla="*/ 567 h 933"/>
              <a:gd name="T58" fmla="*/ 172 w 1146"/>
              <a:gd name="T59" fmla="*/ 570 h 933"/>
              <a:gd name="T60" fmla="*/ 150 w 1146"/>
              <a:gd name="T61" fmla="*/ 568 h 933"/>
              <a:gd name="T62" fmla="*/ 129 w 1146"/>
              <a:gd name="T63" fmla="*/ 564 h 933"/>
              <a:gd name="T64" fmla="*/ 176 w 1146"/>
              <a:gd name="T65" fmla="*/ 647 h 933"/>
              <a:gd name="T66" fmla="*/ 251 w 1146"/>
              <a:gd name="T67" fmla="*/ 705 h 933"/>
              <a:gd name="T68" fmla="*/ 348 w 1146"/>
              <a:gd name="T69" fmla="*/ 728 h 933"/>
              <a:gd name="T70" fmla="*/ 213 w 1146"/>
              <a:gd name="T71" fmla="*/ 802 h 933"/>
              <a:gd name="T72" fmla="*/ 57 w 1146"/>
              <a:gd name="T73" fmla="*/ 827 h 933"/>
              <a:gd name="T74" fmla="*/ 28 w 1146"/>
              <a:gd name="T75" fmla="*/ 827 h 933"/>
              <a:gd name="T76" fmla="*/ 0 w 1146"/>
              <a:gd name="T77" fmla="*/ 825 h 933"/>
              <a:gd name="T78" fmla="*/ 171 w 1146"/>
              <a:gd name="T79" fmla="*/ 905 h 933"/>
              <a:gd name="T80" fmla="*/ 361 w 1146"/>
              <a:gd name="T81" fmla="*/ 933 h 933"/>
              <a:gd name="T82" fmla="*/ 596 w 1146"/>
              <a:gd name="T83" fmla="*/ 893 h 933"/>
              <a:gd name="T84" fmla="*/ 782 w 1146"/>
              <a:gd name="T85" fmla="*/ 787 h 933"/>
              <a:gd name="T86" fmla="*/ 918 w 1146"/>
              <a:gd name="T87" fmla="*/ 633 h 933"/>
              <a:gd name="T88" fmla="*/ 1001 w 1146"/>
              <a:gd name="T89" fmla="*/ 452 h 933"/>
              <a:gd name="T90" fmla="*/ 1029 w 1146"/>
              <a:gd name="T91" fmla="*/ 261 h 933"/>
              <a:gd name="T92" fmla="*/ 1029 w 1146"/>
              <a:gd name="T93" fmla="*/ 247 h 933"/>
              <a:gd name="T94" fmla="*/ 1029 w 1146"/>
              <a:gd name="T95" fmla="*/ 234 h 933"/>
              <a:gd name="T96" fmla="*/ 1092 w 1146"/>
              <a:gd name="T97" fmla="*/ 176 h 933"/>
              <a:gd name="T98" fmla="*/ 1146 w 1146"/>
              <a:gd name="T99" fmla="*/ 111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46" h="933">
                <a:moveTo>
                  <a:pt x="1146" y="111"/>
                </a:moveTo>
                <a:cubicBezTo>
                  <a:pt x="1125" y="120"/>
                  <a:pt x="1104" y="128"/>
                  <a:pt x="1081" y="134"/>
                </a:cubicBezTo>
                <a:cubicBezTo>
                  <a:pt x="1059" y="140"/>
                  <a:pt x="1036" y="145"/>
                  <a:pt x="1011" y="148"/>
                </a:cubicBezTo>
                <a:cubicBezTo>
                  <a:pt x="1036" y="132"/>
                  <a:pt x="1056" y="114"/>
                  <a:pt x="1074" y="92"/>
                </a:cubicBezTo>
                <a:cubicBezTo>
                  <a:pt x="1091" y="70"/>
                  <a:pt x="1105" y="46"/>
                  <a:pt x="1115" y="19"/>
                </a:cubicBezTo>
                <a:cubicBezTo>
                  <a:pt x="1092" y="31"/>
                  <a:pt x="1068" y="42"/>
                  <a:pt x="1042" y="52"/>
                </a:cubicBezTo>
                <a:cubicBezTo>
                  <a:pt x="1017" y="62"/>
                  <a:pt x="991" y="70"/>
                  <a:pt x="964" y="74"/>
                </a:cubicBezTo>
                <a:cubicBezTo>
                  <a:pt x="943" y="51"/>
                  <a:pt x="917" y="33"/>
                  <a:pt x="889" y="20"/>
                </a:cubicBezTo>
                <a:cubicBezTo>
                  <a:pt x="860" y="7"/>
                  <a:pt x="828" y="0"/>
                  <a:pt x="793" y="0"/>
                </a:cubicBezTo>
                <a:cubicBezTo>
                  <a:pt x="749" y="0"/>
                  <a:pt x="710" y="11"/>
                  <a:pt x="674" y="32"/>
                </a:cubicBezTo>
                <a:cubicBezTo>
                  <a:pt x="639" y="54"/>
                  <a:pt x="611" y="82"/>
                  <a:pt x="591" y="118"/>
                </a:cubicBezTo>
                <a:cubicBezTo>
                  <a:pt x="569" y="154"/>
                  <a:pt x="559" y="194"/>
                  <a:pt x="558" y="238"/>
                </a:cubicBezTo>
                <a:cubicBezTo>
                  <a:pt x="558" y="246"/>
                  <a:pt x="559" y="254"/>
                  <a:pt x="560" y="263"/>
                </a:cubicBezTo>
                <a:cubicBezTo>
                  <a:pt x="561" y="272"/>
                  <a:pt x="562" y="280"/>
                  <a:pt x="564" y="289"/>
                </a:cubicBezTo>
                <a:cubicBezTo>
                  <a:pt x="499" y="286"/>
                  <a:pt x="437" y="274"/>
                  <a:pt x="378" y="253"/>
                </a:cubicBezTo>
                <a:cubicBezTo>
                  <a:pt x="319" y="233"/>
                  <a:pt x="265" y="205"/>
                  <a:pt x="214" y="169"/>
                </a:cubicBezTo>
                <a:cubicBezTo>
                  <a:pt x="164" y="133"/>
                  <a:pt x="120" y="91"/>
                  <a:pt x="80" y="43"/>
                </a:cubicBezTo>
                <a:cubicBezTo>
                  <a:pt x="70" y="60"/>
                  <a:pt x="63" y="79"/>
                  <a:pt x="57" y="99"/>
                </a:cubicBezTo>
                <a:cubicBezTo>
                  <a:pt x="52" y="118"/>
                  <a:pt x="49" y="139"/>
                  <a:pt x="49" y="162"/>
                </a:cubicBezTo>
                <a:cubicBezTo>
                  <a:pt x="49" y="203"/>
                  <a:pt x="58" y="241"/>
                  <a:pt x="77" y="275"/>
                </a:cubicBezTo>
                <a:cubicBezTo>
                  <a:pt x="95" y="308"/>
                  <a:pt x="121" y="336"/>
                  <a:pt x="154" y="357"/>
                </a:cubicBezTo>
                <a:cubicBezTo>
                  <a:pt x="133" y="357"/>
                  <a:pt x="113" y="354"/>
                  <a:pt x="95" y="349"/>
                </a:cubicBezTo>
                <a:cubicBezTo>
                  <a:pt x="77" y="344"/>
                  <a:pt x="61" y="337"/>
                  <a:pt x="45" y="330"/>
                </a:cubicBezTo>
                <a:cubicBezTo>
                  <a:pt x="45" y="331"/>
                  <a:pt x="45" y="331"/>
                  <a:pt x="45" y="331"/>
                </a:cubicBezTo>
                <a:cubicBezTo>
                  <a:pt x="45" y="331"/>
                  <a:pt x="45" y="331"/>
                  <a:pt x="45" y="331"/>
                </a:cubicBezTo>
                <a:cubicBezTo>
                  <a:pt x="45" y="370"/>
                  <a:pt x="54" y="404"/>
                  <a:pt x="70" y="436"/>
                </a:cubicBezTo>
                <a:cubicBezTo>
                  <a:pt x="87" y="468"/>
                  <a:pt x="109" y="495"/>
                  <a:pt x="137" y="517"/>
                </a:cubicBezTo>
                <a:cubicBezTo>
                  <a:pt x="166" y="539"/>
                  <a:pt x="198" y="554"/>
                  <a:pt x="234" y="562"/>
                </a:cubicBezTo>
                <a:cubicBezTo>
                  <a:pt x="225" y="564"/>
                  <a:pt x="215" y="566"/>
                  <a:pt x="205" y="567"/>
                </a:cubicBezTo>
                <a:cubicBezTo>
                  <a:pt x="194" y="569"/>
                  <a:pt x="184" y="570"/>
                  <a:pt x="172" y="570"/>
                </a:cubicBezTo>
                <a:cubicBezTo>
                  <a:pt x="164" y="570"/>
                  <a:pt x="157" y="569"/>
                  <a:pt x="150" y="568"/>
                </a:cubicBezTo>
                <a:cubicBezTo>
                  <a:pt x="144" y="567"/>
                  <a:pt x="137" y="566"/>
                  <a:pt x="129" y="564"/>
                </a:cubicBezTo>
                <a:cubicBezTo>
                  <a:pt x="139" y="595"/>
                  <a:pt x="155" y="623"/>
                  <a:pt x="176" y="647"/>
                </a:cubicBezTo>
                <a:cubicBezTo>
                  <a:pt x="197" y="672"/>
                  <a:pt x="222" y="691"/>
                  <a:pt x="251" y="705"/>
                </a:cubicBezTo>
                <a:cubicBezTo>
                  <a:pt x="281" y="719"/>
                  <a:pt x="313" y="727"/>
                  <a:pt x="348" y="728"/>
                </a:cubicBezTo>
                <a:cubicBezTo>
                  <a:pt x="307" y="760"/>
                  <a:pt x="262" y="785"/>
                  <a:pt x="213" y="802"/>
                </a:cubicBezTo>
                <a:cubicBezTo>
                  <a:pt x="164" y="818"/>
                  <a:pt x="112" y="827"/>
                  <a:pt x="57" y="827"/>
                </a:cubicBezTo>
                <a:cubicBezTo>
                  <a:pt x="47" y="827"/>
                  <a:pt x="37" y="827"/>
                  <a:pt x="28" y="827"/>
                </a:cubicBezTo>
                <a:cubicBezTo>
                  <a:pt x="18" y="827"/>
                  <a:pt x="9" y="826"/>
                  <a:pt x="0" y="825"/>
                </a:cubicBezTo>
                <a:cubicBezTo>
                  <a:pt x="53" y="860"/>
                  <a:pt x="110" y="886"/>
                  <a:pt x="171" y="905"/>
                </a:cubicBezTo>
                <a:cubicBezTo>
                  <a:pt x="231" y="923"/>
                  <a:pt x="295" y="932"/>
                  <a:pt x="361" y="933"/>
                </a:cubicBezTo>
                <a:cubicBezTo>
                  <a:pt x="447" y="932"/>
                  <a:pt x="526" y="919"/>
                  <a:pt x="596" y="893"/>
                </a:cubicBezTo>
                <a:cubicBezTo>
                  <a:pt x="667" y="867"/>
                  <a:pt x="729" y="832"/>
                  <a:pt x="782" y="787"/>
                </a:cubicBezTo>
                <a:cubicBezTo>
                  <a:pt x="836" y="742"/>
                  <a:pt x="881" y="691"/>
                  <a:pt x="918" y="633"/>
                </a:cubicBezTo>
                <a:cubicBezTo>
                  <a:pt x="955" y="576"/>
                  <a:pt x="982" y="515"/>
                  <a:pt x="1001" y="452"/>
                </a:cubicBezTo>
                <a:cubicBezTo>
                  <a:pt x="1019" y="388"/>
                  <a:pt x="1029" y="325"/>
                  <a:pt x="1029" y="261"/>
                </a:cubicBezTo>
                <a:cubicBezTo>
                  <a:pt x="1029" y="256"/>
                  <a:pt x="1029" y="251"/>
                  <a:pt x="1029" y="247"/>
                </a:cubicBezTo>
                <a:cubicBezTo>
                  <a:pt x="1029" y="242"/>
                  <a:pt x="1029" y="238"/>
                  <a:pt x="1029" y="234"/>
                </a:cubicBezTo>
                <a:cubicBezTo>
                  <a:pt x="1051" y="216"/>
                  <a:pt x="1073" y="197"/>
                  <a:pt x="1092" y="176"/>
                </a:cubicBezTo>
                <a:cubicBezTo>
                  <a:pt x="1112" y="155"/>
                  <a:pt x="1130" y="133"/>
                  <a:pt x="1146" y="11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solidFill>
                <a:schemeClr val="bg2"/>
              </a:solidFill>
            </a:endParaRPr>
          </a:p>
        </p:txBody>
      </p:sp>
      <p:grpSp>
        <p:nvGrpSpPr>
          <p:cNvPr id="17" name="Group 4">
            <a:extLst>
              <a:ext uri="{FF2B5EF4-FFF2-40B4-BE49-F238E27FC236}">
                <a16:creationId xmlns:a16="http://schemas.microsoft.com/office/drawing/2014/main" id="{918D246E-0B39-4A3D-B70E-410AC715EA08}"/>
              </a:ext>
            </a:extLst>
          </p:cNvPr>
          <p:cNvGrpSpPr>
            <a:grpSpLocks noChangeAspect="1"/>
          </p:cNvGrpSpPr>
          <p:nvPr userDrawn="1"/>
        </p:nvGrpSpPr>
        <p:grpSpPr bwMode="auto">
          <a:xfrm>
            <a:off x="2051563" y="5972065"/>
            <a:ext cx="257872" cy="296864"/>
            <a:chOff x="1948" y="3483"/>
            <a:chExt cx="496" cy="571"/>
          </a:xfrm>
          <a:solidFill>
            <a:schemeClr val="tx2"/>
          </a:solidFill>
        </p:grpSpPr>
        <p:sp>
          <p:nvSpPr>
            <p:cNvPr id="18" name="Freeform 5">
              <a:extLst>
                <a:ext uri="{FF2B5EF4-FFF2-40B4-BE49-F238E27FC236}">
                  <a16:creationId xmlns:a16="http://schemas.microsoft.com/office/drawing/2014/main" id="{D8DEB1DB-329B-48D7-8269-22837CC8C858}"/>
                </a:ext>
              </a:extLst>
            </p:cNvPr>
            <p:cNvSpPr>
              <a:spLocks/>
            </p:cNvSpPr>
            <p:nvPr/>
          </p:nvSpPr>
          <p:spPr bwMode="auto">
            <a:xfrm>
              <a:off x="1948" y="3596"/>
              <a:ext cx="211" cy="287"/>
            </a:xfrm>
            <a:custGeom>
              <a:avLst/>
              <a:gdLst>
                <a:gd name="T0" fmla="*/ 83 w 381"/>
                <a:gd name="T1" fmla="*/ 0 h 529"/>
                <a:gd name="T2" fmla="*/ 62 w 381"/>
                <a:gd name="T3" fmla="*/ 9 h 529"/>
                <a:gd name="T4" fmla="*/ 63 w 381"/>
                <a:gd name="T5" fmla="*/ 33 h 529"/>
                <a:gd name="T6" fmla="*/ 165 w 381"/>
                <a:gd name="T7" fmla="*/ 210 h 529"/>
                <a:gd name="T8" fmla="*/ 165 w 381"/>
                <a:gd name="T9" fmla="*/ 211 h 529"/>
                <a:gd name="T10" fmla="*/ 4 w 381"/>
                <a:gd name="T11" fmla="*/ 495 h 529"/>
                <a:gd name="T12" fmla="*/ 4 w 381"/>
                <a:gd name="T13" fmla="*/ 519 h 529"/>
                <a:gd name="T14" fmla="*/ 24 w 381"/>
                <a:gd name="T15" fmla="*/ 529 h 529"/>
                <a:gd name="T16" fmla="*/ 176 w 381"/>
                <a:gd name="T17" fmla="*/ 529 h 529"/>
                <a:gd name="T18" fmla="*/ 217 w 381"/>
                <a:gd name="T19" fmla="*/ 500 h 529"/>
                <a:gd name="T20" fmla="*/ 381 w 381"/>
                <a:gd name="T21" fmla="*/ 210 h 529"/>
                <a:gd name="T22" fmla="*/ 277 w 381"/>
                <a:gd name="T23" fmla="*/ 28 h 529"/>
                <a:gd name="T24" fmla="*/ 234 w 381"/>
                <a:gd name="T25" fmla="*/ 0 h 529"/>
                <a:gd name="T26" fmla="*/ 83 w 381"/>
                <a:gd name="T27"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1" h="529">
                  <a:moveTo>
                    <a:pt x="83" y="0"/>
                  </a:moveTo>
                  <a:cubicBezTo>
                    <a:pt x="73" y="0"/>
                    <a:pt x="66" y="3"/>
                    <a:pt x="62" y="9"/>
                  </a:cubicBezTo>
                  <a:cubicBezTo>
                    <a:pt x="58" y="16"/>
                    <a:pt x="59" y="24"/>
                    <a:pt x="63" y="33"/>
                  </a:cubicBezTo>
                  <a:lnTo>
                    <a:pt x="165" y="210"/>
                  </a:lnTo>
                  <a:cubicBezTo>
                    <a:pt x="166" y="210"/>
                    <a:pt x="166" y="211"/>
                    <a:pt x="165" y="211"/>
                  </a:cubicBezTo>
                  <a:lnTo>
                    <a:pt x="4" y="495"/>
                  </a:lnTo>
                  <a:cubicBezTo>
                    <a:pt x="0" y="504"/>
                    <a:pt x="0" y="512"/>
                    <a:pt x="4" y="519"/>
                  </a:cubicBezTo>
                  <a:cubicBezTo>
                    <a:pt x="8" y="525"/>
                    <a:pt x="15" y="529"/>
                    <a:pt x="24" y="529"/>
                  </a:cubicBezTo>
                  <a:lnTo>
                    <a:pt x="176" y="529"/>
                  </a:lnTo>
                  <a:cubicBezTo>
                    <a:pt x="198" y="529"/>
                    <a:pt x="209" y="514"/>
                    <a:pt x="217" y="500"/>
                  </a:cubicBezTo>
                  <a:cubicBezTo>
                    <a:pt x="217" y="500"/>
                    <a:pt x="375" y="221"/>
                    <a:pt x="381" y="210"/>
                  </a:cubicBezTo>
                  <a:cubicBezTo>
                    <a:pt x="380" y="209"/>
                    <a:pt x="277" y="28"/>
                    <a:pt x="277" y="28"/>
                  </a:cubicBezTo>
                  <a:cubicBezTo>
                    <a:pt x="269" y="15"/>
                    <a:pt x="258" y="0"/>
                    <a:pt x="234" y="0"/>
                  </a:cubicBezTo>
                  <a:lnTo>
                    <a:pt x="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solidFill>
                  <a:schemeClr val="bg2"/>
                </a:solidFill>
              </a:endParaRPr>
            </a:p>
          </p:txBody>
        </p:sp>
        <p:sp>
          <p:nvSpPr>
            <p:cNvPr id="20" name="Freeform 6">
              <a:extLst>
                <a:ext uri="{FF2B5EF4-FFF2-40B4-BE49-F238E27FC236}">
                  <a16:creationId xmlns:a16="http://schemas.microsoft.com/office/drawing/2014/main" id="{7445C3C5-8293-4753-90BC-9047D1AAC7AC}"/>
                </a:ext>
              </a:extLst>
            </p:cNvPr>
            <p:cNvSpPr>
              <a:spLocks/>
            </p:cNvSpPr>
            <p:nvPr/>
          </p:nvSpPr>
          <p:spPr bwMode="auto">
            <a:xfrm>
              <a:off x="2137" y="3483"/>
              <a:ext cx="307" cy="571"/>
            </a:xfrm>
            <a:custGeom>
              <a:avLst/>
              <a:gdLst>
                <a:gd name="T0" fmla="*/ 378 w 555"/>
                <a:gd name="T1" fmla="*/ 0 h 1052"/>
                <a:gd name="T2" fmla="*/ 337 w 555"/>
                <a:gd name="T3" fmla="*/ 29 h 1052"/>
                <a:gd name="T4" fmla="*/ 0 w 555"/>
                <a:gd name="T5" fmla="*/ 628 h 1052"/>
                <a:gd name="T6" fmla="*/ 215 w 555"/>
                <a:gd name="T7" fmla="*/ 1023 h 1052"/>
                <a:gd name="T8" fmla="*/ 258 w 555"/>
                <a:gd name="T9" fmla="*/ 1052 h 1052"/>
                <a:gd name="T10" fmla="*/ 409 w 555"/>
                <a:gd name="T11" fmla="*/ 1052 h 1052"/>
                <a:gd name="T12" fmla="*/ 429 w 555"/>
                <a:gd name="T13" fmla="*/ 1042 h 1052"/>
                <a:gd name="T14" fmla="*/ 429 w 555"/>
                <a:gd name="T15" fmla="*/ 1019 h 1052"/>
                <a:gd name="T16" fmla="*/ 215 w 555"/>
                <a:gd name="T17" fmla="*/ 628 h 1052"/>
                <a:gd name="T18" fmla="*/ 215 w 555"/>
                <a:gd name="T19" fmla="*/ 627 h 1052"/>
                <a:gd name="T20" fmla="*/ 551 w 555"/>
                <a:gd name="T21" fmla="*/ 33 h 1052"/>
                <a:gd name="T22" fmla="*/ 551 w 555"/>
                <a:gd name="T23" fmla="*/ 10 h 1052"/>
                <a:gd name="T24" fmla="*/ 531 w 555"/>
                <a:gd name="T25" fmla="*/ 0 h 1052"/>
                <a:gd name="T26" fmla="*/ 378 w 555"/>
                <a:gd name="T27" fmla="*/ 0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5" h="1052">
                  <a:moveTo>
                    <a:pt x="378" y="0"/>
                  </a:moveTo>
                  <a:cubicBezTo>
                    <a:pt x="355" y="0"/>
                    <a:pt x="345" y="14"/>
                    <a:pt x="337" y="29"/>
                  </a:cubicBezTo>
                  <a:cubicBezTo>
                    <a:pt x="337" y="29"/>
                    <a:pt x="10" y="609"/>
                    <a:pt x="0" y="628"/>
                  </a:cubicBezTo>
                  <a:cubicBezTo>
                    <a:pt x="0" y="629"/>
                    <a:pt x="215" y="1023"/>
                    <a:pt x="215" y="1023"/>
                  </a:cubicBezTo>
                  <a:cubicBezTo>
                    <a:pt x="223" y="1036"/>
                    <a:pt x="234" y="1052"/>
                    <a:pt x="258" y="1052"/>
                  </a:cubicBezTo>
                  <a:lnTo>
                    <a:pt x="409" y="1052"/>
                  </a:lnTo>
                  <a:cubicBezTo>
                    <a:pt x="418" y="1052"/>
                    <a:pt x="425" y="1048"/>
                    <a:pt x="429" y="1042"/>
                  </a:cubicBezTo>
                  <a:cubicBezTo>
                    <a:pt x="433" y="1036"/>
                    <a:pt x="433" y="1027"/>
                    <a:pt x="429" y="1019"/>
                  </a:cubicBezTo>
                  <a:lnTo>
                    <a:pt x="215" y="628"/>
                  </a:lnTo>
                  <a:cubicBezTo>
                    <a:pt x="215" y="628"/>
                    <a:pt x="215" y="627"/>
                    <a:pt x="215" y="627"/>
                  </a:cubicBezTo>
                  <a:lnTo>
                    <a:pt x="551" y="33"/>
                  </a:lnTo>
                  <a:cubicBezTo>
                    <a:pt x="555" y="25"/>
                    <a:pt x="555" y="16"/>
                    <a:pt x="551" y="10"/>
                  </a:cubicBezTo>
                  <a:cubicBezTo>
                    <a:pt x="547" y="4"/>
                    <a:pt x="540" y="0"/>
                    <a:pt x="531" y="0"/>
                  </a:cubicBezTo>
                  <a:lnTo>
                    <a:pt x="3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solidFill>
                  <a:schemeClr val="bg2"/>
                </a:solidFill>
              </a:endParaRPr>
            </a:p>
          </p:txBody>
        </p:sp>
      </p:grpSp>
      <p:sp>
        <p:nvSpPr>
          <p:cNvPr id="5" name="Textfeld 4">
            <a:extLst>
              <a:ext uri="{FF2B5EF4-FFF2-40B4-BE49-F238E27FC236}">
                <a16:creationId xmlns:a16="http://schemas.microsoft.com/office/drawing/2014/main" id="{E9A8C998-49FE-4514-9CCA-C31B58E61705}"/>
              </a:ext>
            </a:extLst>
          </p:cNvPr>
          <p:cNvSpPr txBox="1"/>
          <p:nvPr userDrawn="1"/>
        </p:nvSpPr>
        <p:spPr>
          <a:xfrm>
            <a:off x="406400" y="1449388"/>
            <a:ext cx="5112743" cy="2555676"/>
          </a:xfrm>
          <a:prstGeom prst="rect">
            <a:avLst/>
          </a:prstGeom>
          <a:noFill/>
        </p:spPr>
        <p:txBody>
          <a:bodyPr wrap="square" lIns="0" tIns="0" rIns="0" bIns="0" rtlCol="0" anchor="t" anchorCtr="0">
            <a:noAutofit/>
          </a:bodyPr>
          <a:lstStyle/>
          <a:p>
            <a:pPr algn="l">
              <a:spcBef>
                <a:spcPts val="400"/>
              </a:spcBef>
            </a:pPr>
            <a:r>
              <a:rPr lang="de-DE" sz="1800" b="1" dirty="0">
                <a:solidFill>
                  <a:schemeClr val="tx2"/>
                </a:solidFill>
              </a:rPr>
              <a:t>SNP Schneider-Neureither &amp; </a:t>
            </a:r>
            <a:r>
              <a:rPr lang="de-DE" sz="1800" b="1" dirty="0" err="1">
                <a:solidFill>
                  <a:schemeClr val="tx2"/>
                </a:solidFill>
              </a:rPr>
              <a:t>WesternIntl</a:t>
            </a:r>
            <a:r>
              <a:rPr lang="de-DE" sz="1800" b="1" dirty="0">
                <a:solidFill>
                  <a:schemeClr val="tx2"/>
                </a:solidFill>
              </a:rPr>
              <a:t> SE</a:t>
            </a:r>
          </a:p>
          <a:p>
            <a:pPr algn="l">
              <a:spcBef>
                <a:spcPts val="400"/>
              </a:spcBef>
            </a:pPr>
            <a:r>
              <a:rPr lang="de-DE" sz="1800" dirty="0">
                <a:solidFill>
                  <a:schemeClr val="tx2"/>
                </a:solidFill>
              </a:rPr>
              <a:t>Dossenheimer Landstraße 100</a:t>
            </a:r>
          </a:p>
          <a:p>
            <a:pPr algn="l">
              <a:spcBef>
                <a:spcPts val="400"/>
              </a:spcBef>
            </a:pPr>
            <a:r>
              <a:rPr lang="de-DE" sz="1800" dirty="0">
                <a:solidFill>
                  <a:schemeClr val="tx2"/>
                </a:solidFill>
              </a:rPr>
              <a:t>69121 Heidelberg</a:t>
            </a:r>
          </a:p>
          <a:p>
            <a:pPr algn="l">
              <a:spcBef>
                <a:spcPts val="400"/>
              </a:spcBef>
            </a:pPr>
            <a:endParaRPr lang="de-DE" sz="1800" dirty="0">
              <a:solidFill>
                <a:schemeClr val="tx2"/>
              </a:solidFill>
            </a:endParaRPr>
          </a:p>
          <a:p>
            <a:pPr marL="358775" indent="0" algn="l">
              <a:spcBef>
                <a:spcPts val="400"/>
              </a:spcBef>
            </a:pPr>
            <a:r>
              <a:rPr lang="de-DE" sz="1800" dirty="0">
                <a:solidFill>
                  <a:schemeClr val="tx2"/>
                </a:solidFill>
              </a:rPr>
              <a:t>+49 6221 64 25 - 0</a:t>
            </a:r>
          </a:p>
          <a:p>
            <a:pPr marL="358775" indent="0" algn="l">
              <a:spcBef>
                <a:spcPts val="400"/>
              </a:spcBef>
            </a:pPr>
            <a:r>
              <a:rPr lang="de-DE" sz="1800" dirty="0">
                <a:solidFill>
                  <a:schemeClr val="tx2"/>
                </a:solidFill>
              </a:rPr>
              <a:t>+49 6221 64 25 - 20</a:t>
            </a:r>
          </a:p>
          <a:p>
            <a:pPr marL="358775" indent="0" algn="l">
              <a:spcBef>
                <a:spcPts val="400"/>
              </a:spcBef>
            </a:pPr>
            <a:r>
              <a:rPr lang="de-DE" sz="1800" dirty="0" err="1">
                <a:solidFill>
                  <a:schemeClr val="tx2"/>
                </a:solidFill>
              </a:rPr>
              <a:t>info@snpgroup.com</a:t>
            </a:r>
            <a:endParaRPr lang="de-DE" sz="1800" dirty="0">
              <a:solidFill>
                <a:schemeClr val="tx2"/>
              </a:solidFill>
            </a:endParaRPr>
          </a:p>
          <a:p>
            <a:pPr marL="358775" indent="0" algn="l">
              <a:spcBef>
                <a:spcPts val="400"/>
              </a:spcBef>
            </a:pPr>
            <a:r>
              <a:rPr lang="de-DE" sz="1800" dirty="0">
                <a:solidFill>
                  <a:schemeClr val="tx2"/>
                </a:solidFill>
              </a:rPr>
              <a:t>www.snpgroup.com</a:t>
            </a:r>
          </a:p>
        </p:txBody>
      </p:sp>
      <p:grpSp>
        <p:nvGrpSpPr>
          <p:cNvPr id="3" name="Gruppieren 2">
            <a:extLst>
              <a:ext uri="{FF2B5EF4-FFF2-40B4-BE49-F238E27FC236}">
                <a16:creationId xmlns:a16="http://schemas.microsoft.com/office/drawing/2014/main" id="{095DED04-8731-4026-A6F0-4508C8B72FFC}"/>
              </a:ext>
            </a:extLst>
          </p:cNvPr>
          <p:cNvGrpSpPr/>
          <p:nvPr userDrawn="1"/>
        </p:nvGrpSpPr>
        <p:grpSpPr>
          <a:xfrm>
            <a:off x="406401" y="2788271"/>
            <a:ext cx="252201" cy="1178939"/>
            <a:chOff x="406401" y="2788271"/>
            <a:chExt cx="252201" cy="1178939"/>
          </a:xfrm>
        </p:grpSpPr>
        <p:sp>
          <p:nvSpPr>
            <p:cNvPr id="19" name="Freeform 5">
              <a:extLst>
                <a:ext uri="{FF2B5EF4-FFF2-40B4-BE49-F238E27FC236}">
                  <a16:creationId xmlns:a16="http://schemas.microsoft.com/office/drawing/2014/main" id="{2573E468-75A0-4DE1-9526-B3BF8CDA772D}"/>
                </a:ext>
              </a:extLst>
            </p:cNvPr>
            <p:cNvSpPr>
              <a:spLocks noEditPoints="1"/>
            </p:cNvSpPr>
            <p:nvPr userDrawn="1"/>
          </p:nvSpPr>
          <p:spPr bwMode="auto">
            <a:xfrm>
              <a:off x="408403" y="3458805"/>
              <a:ext cx="250199" cy="176140"/>
            </a:xfrm>
            <a:custGeom>
              <a:avLst/>
              <a:gdLst>
                <a:gd name="T0" fmla="*/ 471 w 510"/>
                <a:gd name="T1" fmla="*/ 0 h 382"/>
                <a:gd name="T2" fmla="*/ 39 w 510"/>
                <a:gd name="T3" fmla="*/ 0 h 382"/>
                <a:gd name="T4" fmla="*/ 0 w 510"/>
                <a:gd name="T5" fmla="*/ 39 h 382"/>
                <a:gd name="T6" fmla="*/ 0 w 510"/>
                <a:gd name="T7" fmla="*/ 343 h 382"/>
                <a:gd name="T8" fmla="*/ 39 w 510"/>
                <a:gd name="T9" fmla="*/ 382 h 382"/>
                <a:gd name="T10" fmla="*/ 471 w 510"/>
                <a:gd name="T11" fmla="*/ 382 h 382"/>
                <a:gd name="T12" fmla="*/ 510 w 510"/>
                <a:gd name="T13" fmla="*/ 343 h 382"/>
                <a:gd name="T14" fmla="*/ 510 w 510"/>
                <a:gd name="T15" fmla="*/ 39 h 382"/>
                <a:gd name="T16" fmla="*/ 471 w 510"/>
                <a:gd name="T17" fmla="*/ 0 h 382"/>
                <a:gd name="T18" fmla="*/ 465 w 510"/>
                <a:gd name="T19" fmla="*/ 29 h 382"/>
                <a:gd name="T20" fmla="*/ 258 w 510"/>
                <a:gd name="T21" fmla="*/ 206 h 382"/>
                <a:gd name="T22" fmla="*/ 50 w 510"/>
                <a:gd name="T23" fmla="*/ 29 h 382"/>
                <a:gd name="T24" fmla="*/ 465 w 510"/>
                <a:gd name="T25" fmla="*/ 29 h 382"/>
                <a:gd name="T26" fmla="*/ 481 w 510"/>
                <a:gd name="T27" fmla="*/ 343 h 382"/>
                <a:gd name="T28" fmla="*/ 471 w 510"/>
                <a:gd name="T29" fmla="*/ 353 h 382"/>
                <a:gd name="T30" fmla="*/ 39 w 510"/>
                <a:gd name="T31" fmla="*/ 353 h 382"/>
                <a:gd name="T32" fmla="*/ 29 w 510"/>
                <a:gd name="T33" fmla="*/ 343 h 382"/>
                <a:gd name="T34" fmla="*/ 29 w 510"/>
                <a:gd name="T35" fmla="*/ 49 h 382"/>
                <a:gd name="T36" fmla="*/ 248 w 510"/>
                <a:gd name="T37" fmla="*/ 236 h 382"/>
                <a:gd name="T38" fmla="*/ 249 w 510"/>
                <a:gd name="T39" fmla="*/ 237 h 382"/>
                <a:gd name="T40" fmla="*/ 249 w 510"/>
                <a:gd name="T41" fmla="*/ 237 h 382"/>
                <a:gd name="T42" fmla="*/ 250 w 510"/>
                <a:gd name="T43" fmla="*/ 237 h 382"/>
                <a:gd name="T44" fmla="*/ 250 w 510"/>
                <a:gd name="T45" fmla="*/ 238 h 382"/>
                <a:gd name="T46" fmla="*/ 252 w 510"/>
                <a:gd name="T47" fmla="*/ 238 h 382"/>
                <a:gd name="T48" fmla="*/ 252 w 510"/>
                <a:gd name="T49" fmla="*/ 238 h 382"/>
                <a:gd name="T50" fmla="*/ 253 w 510"/>
                <a:gd name="T51" fmla="*/ 239 h 382"/>
                <a:gd name="T52" fmla="*/ 254 w 510"/>
                <a:gd name="T53" fmla="*/ 239 h 382"/>
                <a:gd name="T54" fmla="*/ 254 w 510"/>
                <a:gd name="T55" fmla="*/ 239 h 382"/>
                <a:gd name="T56" fmla="*/ 255 w 510"/>
                <a:gd name="T57" fmla="*/ 239 h 382"/>
                <a:gd name="T58" fmla="*/ 256 w 510"/>
                <a:gd name="T59" fmla="*/ 240 h 382"/>
                <a:gd name="T60" fmla="*/ 256 w 510"/>
                <a:gd name="T61" fmla="*/ 240 h 382"/>
                <a:gd name="T62" fmla="*/ 258 w 510"/>
                <a:gd name="T63" fmla="*/ 240 h 382"/>
                <a:gd name="T64" fmla="*/ 259 w 510"/>
                <a:gd name="T65" fmla="*/ 240 h 382"/>
                <a:gd name="T66" fmla="*/ 259 w 510"/>
                <a:gd name="T67" fmla="*/ 240 h 382"/>
                <a:gd name="T68" fmla="*/ 260 w 510"/>
                <a:gd name="T69" fmla="*/ 239 h 382"/>
                <a:gd name="T70" fmla="*/ 261 w 510"/>
                <a:gd name="T71" fmla="*/ 239 h 382"/>
                <a:gd name="T72" fmla="*/ 262 w 510"/>
                <a:gd name="T73" fmla="*/ 239 h 382"/>
                <a:gd name="T74" fmla="*/ 262 w 510"/>
                <a:gd name="T75" fmla="*/ 239 h 382"/>
                <a:gd name="T76" fmla="*/ 263 w 510"/>
                <a:gd name="T77" fmla="*/ 238 h 382"/>
                <a:gd name="T78" fmla="*/ 264 w 510"/>
                <a:gd name="T79" fmla="*/ 238 h 382"/>
                <a:gd name="T80" fmla="*/ 265 w 510"/>
                <a:gd name="T81" fmla="*/ 238 h 382"/>
                <a:gd name="T82" fmla="*/ 265 w 510"/>
                <a:gd name="T83" fmla="*/ 237 h 382"/>
                <a:gd name="T84" fmla="*/ 266 w 510"/>
                <a:gd name="T85" fmla="*/ 237 h 382"/>
                <a:gd name="T86" fmla="*/ 267 w 510"/>
                <a:gd name="T87" fmla="*/ 237 h 382"/>
                <a:gd name="T88" fmla="*/ 267 w 510"/>
                <a:gd name="T89" fmla="*/ 236 h 382"/>
                <a:gd name="T90" fmla="*/ 481 w 510"/>
                <a:gd name="T91" fmla="*/ 54 h 382"/>
                <a:gd name="T92" fmla="*/ 481 w 510"/>
                <a:gd name="T93" fmla="*/ 34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0" h="382">
                  <a:moveTo>
                    <a:pt x="471" y="0"/>
                  </a:moveTo>
                  <a:lnTo>
                    <a:pt x="39" y="0"/>
                  </a:lnTo>
                  <a:cubicBezTo>
                    <a:pt x="18" y="0"/>
                    <a:pt x="0" y="17"/>
                    <a:pt x="0" y="39"/>
                  </a:cubicBezTo>
                  <a:lnTo>
                    <a:pt x="0" y="343"/>
                  </a:lnTo>
                  <a:cubicBezTo>
                    <a:pt x="0" y="365"/>
                    <a:pt x="18" y="382"/>
                    <a:pt x="39" y="382"/>
                  </a:cubicBezTo>
                  <a:lnTo>
                    <a:pt x="471" y="382"/>
                  </a:lnTo>
                  <a:cubicBezTo>
                    <a:pt x="492" y="382"/>
                    <a:pt x="510" y="365"/>
                    <a:pt x="510" y="343"/>
                  </a:cubicBezTo>
                  <a:lnTo>
                    <a:pt x="510" y="39"/>
                  </a:lnTo>
                  <a:cubicBezTo>
                    <a:pt x="510" y="17"/>
                    <a:pt x="492" y="0"/>
                    <a:pt x="471" y="0"/>
                  </a:cubicBezTo>
                  <a:close/>
                  <a:moveTo>
                    <a:pt x="465" y="29"/>
                  </a:moveTo>
                  <a:lnTo>
                    <a:pt x="258" y="206"/>
                  </a:lnTo>
                  <a:lnTo>
                    <a:pt x="50" y="29"/>
                  </a:lnTo>
                  <a:lnTo>
                    <a:pt x="465" y="29"/>
                  </a:lnTo>
                  <a:close/>
                  <a:moveTo>
                    <a:pt x="481" y="343"/>
                  </a:moveTo>
                  <a:cubicBezTo>
                    <a:pt x="481" y="349"/>
                    <a:pt x="476" y="353"/>
                    <a:pt x="471" y="353"/>
                  </a:cubicBezTo>
                  <a:lnTo>
                    <a:pt x="39" y="353"/>
                  </a:lnTo>
                  <a:cubicBezTo>
                    <a:pt x="34" y="353"/>
                    <a:pt x="29" y="349"/>
                    <a:pt x="29" y="343"/>
                  </a:cubicBezTo>
                  <a:lnTo>
                    <a:pt x="29" y="49"/>
                  </a:lnTo>
                  <a:lnTo>
                    <a:pt x="248" y="236"/>
                  </a:lnTo>
                  <a:cubicBezTo>
                    <a:pt x="248" y="236"/>
                    <a:pt x="249" y="237"/>
                    <a:pt x="249" y="237"/>
                  </a:cubicBezTo>
                  <a:cubicBezTo>
                    <a:pt x="249" y="237"/>
                    <a:pt x="249" y="237"/>
                    <a:pt x="249" y="237"/>
                  </a:cubicBezTo>
                  <a:cubicBezTo>
                    <a:pt x="250" y="237"/>
                    <a:pt x="250" y="237"/>
                    <a:pt x="250" y="237"/>
                  </a:cubicBezTo>
                  <a:cubicBezTo>
                    <a:pt x="250" y="238"/>
                    <a:pt x="250" y="238"/>
                    <a:pt x="250" y="238"/>
                  </a:cubicBezTo>
                  <a:cubicBezTo>
                    <a:pt x="251" y="238"/>
                    <a:pt x="251" y="238"/>
                    <a:pt x="252" y="238"/>
                  </a:cubicBezTo>
                  <a:cubicBezTo>
                    <a:pt x="252" y="238"/>
                    <a:pt x="252" y="238"/>
                    <a:pt x="252" y="238"/>
                  </a:cubicBezTo>
                  <a:cubicBezTo>
                    <a:pt x="252" y="239"/>
                    <a:pt x="253" y="239"/>
                    <a:pt x="253" y="239"/>
                  </a:cubicBezTo>
                  <a:cubicBezTo>
                    <a:pt x="253" y="239"/>
                    <a:pt x="253" y="239"/>
                    <a:pt x="254" y="239"/>
                  </a:cubicBezTo>
                  <a:cubicBezTo>
                    <a:pt x="254" y="239"/>
                    <a:pt x="254" y="239"/>
                    <a:pt x="254" y="239"/>
                  </a:cubicBezTo>
                  <a:cubicBezTo>
                    <a:pt x="255" y="239"/>
                    <a:pt x="255" y="239"/>
                    <a:pt x="255" y="239"/>
                  </a:cubicBezTo>
                  <a:cubicBezTo>
                    <a:pt x="255" y="239"/>
                    <a:pt x="256" y="239"/>
                    <a:pt x="256" y="240"/>
                  </a:cubicBezTo>
                  <a:lnTo>
                    <a:pt x="256" y="240"/>
                  </a:lnTo>
                  <a:cubicBezTo>
                    <a:pt x="257" y="240"/>
                    <a:pt x="257" y="240"/>
                    <a:pt x="258" y="240"/>
                  </a:cubicBezTo>
                  <a:cubicBezTo>
                    <a:pt x="258" y="240"/>
                    <a:pt x="259" y="240"/>
                    <a:pt x="259" y="240"/>
                  </a:cubicBezTo>
                  <a:lnTo>
                    <a:pt x="259" y="240"/>
                  </a:lnTo>
                  <a:cubicBezTo>
                    <a:pt x="260" y="240"/>
                    <a:pt x="260" y="239"/>
                    <a:pt x="260" y="239"/>
                  </a:cubicBezTo>
                  <a:cubicBezTo>
                    <a:pt x="261" y="239"/>
                    <a:pt x="261" y="239"/>
                    <a:pt x="261" y="239"/>
                  </a:cubicBezTo>
                  <a:cubicBezTo>
                    <a:pt x="261" y="239"/>
                    <a:pt x="262" y="239"/>
                    <a:pt x="262" y="239"/>
                  </a:cubicBezTo>
                  <a:cubicBezTo>
                    <a:pt x="262" y="239"/>
                    <a:pt x="262" y="239"/>
                    <a:pt x="262" y="239"/>
                  </a:cubicBezTo>
                  <a:cubicBezTo>
                    <a:pt x="263" y="239"/>
                    <a:pt x="263" y="239"/>
                    <a:pt x="263" y="238"/>
                  </a:cubicBezTo>
                  <a:cubicBezTo>
                    <a:pt x="264" y="238"/>
                    <a:pt x="264" y="238"/>
                    <a:pt x="264" y="238"/>
                  </a:cubicBezTo>
                  <a:cubicBezTo>
                    <a:pt x="264" y="238"/>
                    <a:pt x="265" y="238"/>
                    <a:pt x="265" y="238"/>
                  </a:cubicBezTo>
                  <a:cubicBezTo>
                    <a:pt x="265" y="238"/>
                    <a:pt x="265" y="238"/>
                    <a:pt x="265" y="237"/>
                  </a:cubicBezTo>
                  <a:cubicBezTo>
                    <a:pt x="266" y="237"/>
                    <a:pt x="266" y="237"/>
                    <a:pt x="266" y="237"/>
                  </a:cubicBezTo>
                  <a:cubicBezTo>
                    <a:pt x="266" y="237"/>
                    <a:pt x="267" y="237"/>
                    <a:pt x="267" y="237"/>
                  </a:cubicBezTo>
                  <a:cubicBezTo>
                    <a:pt x="267" y="237"/>
                    <a:pt x="267" y="236"/>
                    <a:pt x="267" y="236"/>
                  </a:cubicBezTo>
                  <a:lnTo>
                    <a:pt x="481" y="54"/>
                  </a:lnTo>
                  <a:lnTo>
                    <a:pt x="481" y="34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p>
          </p:txBody>
        </p:sp>
        <p:sp>
          <p:nvSpPr>
            <p:cNvPr id="21" name="Freeform 6">
              <a:extLst>
                <a:ext uri="{FF2B5EF4-FFF2-40B4-BE49-F238E27FC236}">
                  <a16:creationId xmlns:a16="http://schemas.microsoft.com/office/drawing/2014/main" id="{AB6D7900-AB43-4ED6-BD00-E1C519614E81}"/>
                </a:ext>
              </a:extLst>
            </p:cNvPr>
            <p:cNvSpPr>
              <a:spLocks noEditPoints="1"/>
            </p:cNvSpPr>
            <p:nvPr userDrawn="1"/>
          </p:nvSpPr>
          <p:spPr bwMode="auto">
            <a:xfrm>
              <a:off x="408403" y="3128541"/>
              <a:ext cx="250199" cy="204163"/>
            </a:xfrm>
            <a:custGeom>
              <a:avLst/>
              <a:gdLst>
                <a:gd name="T0" fmla="*/ 132 w 510"/>
                <a:gd name="T1" fmla="*/ 180 h 444"/>
                <a:gd name="T2" fmla="*/ 284 w 510"/>
                <a:gd name="T3" fmla="*/ 180 h 444"/>
                <a:gd name="T4" fmla="*/ 284 w 510"/>
                <a:gd name="T5" fmla="*/ 151 h 444"/>
                <a:gd name="T6" fmla="*/ 132 w 510"/>
                <a:gd name="T7" fmla="*/ 151 h 444"/>
                <a:gd name="T8" fmla="*/ 132 w 510"/>
                <a:gd name="T9" fmla="*/ 180 h 444"/>
                <a:gd name="T10" fmla="*/ 91 w 510"/>
                <a:gd name="T11" fmla="*/ 444 h 444"/>
                <a:gd name="T12" fmla="*/ 76 w 510"/>
                <a:gd name="T13" fmla="*/ 429 h 444"/>
                <a:gd name="T14" fmla="*/ 76 w 510"/>
                <a:gd name="T15" fmla="*/ 268 h 444"/>
                <a:gd name="T16" fmla="*/ 52 w 510"/>
                <a:gd name="T17" fmla="*/ 273 h 444"/>
                <a:gd name="T18" fmla="*/ 0 w 510"/>
                <a:gd name="T19" fmla="*/ 221 h 444"/>
                <a:gd name="T20" fmla="*/ 0 w 510"/>
                <a:gd name="T21" fmla="*/ 52 h 444"/>
                <a:gd name="T22" fmla="*/ 54 w 510"/>
                <a:gd name="T23" fmla="*/ 0 h 444"/>
                <a:gd name="T24" fmla="*/ 459 w 510"/>
                <a:gd name="T25" fmla="*/ 0 h 444"/>
                <a:gd name="T26" fmla="*/ 510 w 510"/>
                <a:gd name="T27" fmla="*/ 52 h 444"/>
                <a:gd name="T28" fmla="*/ 510 w 510"/>
                <a:gd name="T29" fmla="*/ 221 h 444"/>
                <a:gd name="T30" fmla="*/ 458 w 510"/>
                <a:gd name="T31" fmla="*/ 273 h 444"/>
                <a:gd name="T32" fmla="*/ 435 w 510"/>
                <a:gd name="T33" fmla="*/ 267 h 444"/>
                <a:gd name="T34" fmla="*/ 435 w 510"/>
                <a:gd name="T35" fmla="*/ 429 h 444"/>
                <a:gd name="T36" fmla="*/ 422 w 510"/>
                <a:gd name="T37" fmla="*/ 444 h 444"/>
                <a:gd name="T38" fmla="*/ 91 w 510"/>
                <a:gd name="T39" fmla="*/ 444 h 444"/>
                <a:gd name="T40" fmla="*/ 406 w 510"/>
                <a:gd name="T41" fmla="*/ 416 h 444"/>
                <a:gd name="T42" fmla="*/ 406 w 510"/>
                <a:gd name="T43" fmla="*/ 124 h 444"/>
                <a:gd name="T44" fmla="*/ 110 w 510"/>
                <a:gd name="T45" fmla="*/ 124 h 444"/>
                <a:gd name="T46" fmla="*/ 105 w 510"/>
                <a:gd name="T47" fmla="*/ 127 h 444"/>
                <a:gd name="T48" fmla="*/ 105 w 510"/>
                <a:gd name="T49" fmla="*/ 416 h 444"/>
                <a:gd name="T50" fmla="*/ 406 w 510"/>
                <a:gd name="T51" fmla="*/ 416 h 444"/>
                <a:gd name="T52" fmla="*/ 435 w 510"/>
                <a:gd name="T53" fmla="*/ 221 h 444"/>
                <a:gd name="T54" fmla="*/ 458 w 510"/>
                <a:gd name="T55" fmla="*/ 245 h 444"/>
                <a:gd name="T56" fmla="*/ 481 w 510"/>
                <a:gd name="T57" fmla="*/ 221 h 444"/>
                <a:gd name="T58" fmla="*/ 481 w 510"/>
                <a:gd name="T59" fmla="*/ 52 h 444"/>
                <a:gd name="T60" fmla="*/ 459 w 510"/>
                <a:gd name="T61" fmla="*/ 29 h 444"/>
                <a:gd name="T62" fmla="*/ 54 w 510"/>
                <a:gd name="T63" fmla="*/ 29 h 444"/>
                <a:gd name="T64" fmla="*/ 29 w 510"/>
                <a:gd name="T65" fmla="*/ 52 h 444"/>
                <a:gd name="T66" fmla="*/ 29 w 510"/>
                <a:gd name="T67" fmla="*/ 221 h 444"/>
                <a:gd name="T68" fmla="*/ 52 w 510"/>
                <a:gd name="T69" fmla="*/ 245 h 444"/>
                <a:gd name="T70" fmla="*/ 76 w 510"/>
                <a:gd name="T71" fmla="*/ 221 h 444"/>
                <a:gd name="T72" fmla="*/ 76 w 510"/>
                <a:gd name="T73" fmla="*/ 124 h 444"/>
                <a:gd name="T74" fmla="*/ 57 w 510"/>
                <a:gd name="T75" fmla="*/ 124 h 444"/>
                <a:gd name="T76" fmla="*/ 57 w 510"/>
                <a:gd name="T77" fmla="*/ 95 h 444"/>
                <a:gd name="T78" fmla="*/ 454 w 510"/>
                <a:gd name="T79" fmla="*/ 95 h 444"/>
                <a:gd name="T80" fmla="*/ 454 w 510"/>
                <a:gd name="T81" fmla="*/ 124 h 444"/>
                <a:gd name="T82" fmla="*/ 435 w 510"/>
                <a:gd name="T83" fmla="*/ 124 h 444"/>
                <a:gd name="T84" fmla="*/ 435 w 510"/>
                <a:gd name="T85" fmla="*/ 221 h 444"/>
                <a:gd name="T86" fmla="*/ 132 w 510"/>
                <a:gd name="T87" fmla="*/ 312 h 444"/>
                <a:gd name="T88" fmla="*/ 331 w 510"/>
                <a:gd name="T89" fmla="*/ 312 h 444"/>
                <a:gd name="T90" fmla="*/ 331 w 510"/>
                <a:gd name="T91" fmla="*/ 284 h 444"/>
                <a:gd name="T92" fmla="*/ 132 w 510"/>
                <a:gd name="T93" fmla="*/ 284 h 444"/>
                <a:gd name="T94" fmla="*/ 132 w 510"/>
                <a:gd name="T95" fmla="*/ 312 h 444"/>
                <a:gd name="T96" fmla="*/ 132 w 510"/>
                <a:gd name="T97" fmla="*/ 246 h 444"/>
                <a:gd name="T98" fmla="*/ 331 w 510"/>
                <a:gd name="T99" fmla="*/ 246 h 444"/>
                <a:gd name="T100" fmla="*/ 331 w 510"/>
                <a:gd name="T101" fmla="*/ 217 h 444"/>
                <a:gd name="T102" fmla="*/ 132 w 510"/>
                <a:gd name="T103" fmla="*/ 217 h 444"/>
                <a:gd name="T104" fmla="*/ 132 w 510"/>
                <a:gd name="T105" fmla="*/ 246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0" h="444">
                  <a:moveTo>
                    <a:pt x="132" y="180"/>
                  </a:moveTo>
                  <a:lnTo>
                    <a:pt x="284" y="180"/>
                  </a:lnTo>
                  <a:lnTo>
                    <a:pt x="284" y="151"/>
                  </a:lnTo>
                  <a:lnTo>
                    <a:pt x="132" y="151"/>
                  </a:lnTo>
                  <a:lnTo>
                    <a:pt x="132" y="180"/>
                  </a:lnTo>
                  <a:close/>
                  <a:moveTo>
                    <a:pt x="91" y="444"/>
                  </a:moveTo>
                  <a:cubicBezTo>
                    <a:pt x="83" y="444"/>
                    <a:pt x="76" y="437"/>
                    <a:pt x="76" y="429"/>
                  </a:cubicBezTo>
                  <a:lnTo>
                    <a:pt x="76" y="268"/>
                  </a:lnTo>
                  <a:cubicBezTo>
                    <a:pt x="69" y="271"/>
                    <a:pt x="61" y="273"/>
                    <a:pt x="52" y="273"/>
                  </a:cubicBezTo>
                  <a:cubicBezTo>
                    <a:pt x="24" y="273"/>
                    <a:pt x="0" y="250"/>
                    <a:pt x="0" y="221"/>
                  </a:cubicBezTo>
                  <a:lnTo>
                    <a:pt x="0" y="52"/>
                  </a:lnTo>
                  <a:cubicBezTo>
                    <a:pt x="0" y="23"/>
                    <a:pt x="24" y="0"/>
                    <a:pt x="54" y="0"/>
                  </a:cubicBezTo>
                  <a:lnTo>
                    <a:pt x="459" y="0"/>
                  </a:lnTo>
                  <a:cubicBezTo>
                    <a:pt x="488" y="0"/>
                    <a:pt x="510" y="23"/>
                    <a:pt x="510" y="52"/>
                  </a:cubicBezTo>
                  <a:lnTo>
                    <a:pt x="510" y="221"/>
                  </a:lnTo>
                  <a:cubicBezTo>
                    <a:pt x="510" y="250"/>
                    <a:pt x="487" y="273"/>
                    <a:pt x="458" y="273"/>
                  </a:cubicBezTo>
                  <a:cubicBezTo>
                    <a:pt x="449" y="273"/>
                    <a:pt x="442" y="271"/>
                    <a:pt x="435" y="267"/>
                  </a:cubicBezTo>
                  <a:lnTo>
                    <a:pt x="435" y="429"/>
                  </a:lnTo>
                  <a:cubicBezTo>
                    <a:pt x="435" y="437"/>
                    <a:pt x="430" y="444"/>
                    <a:pt x="422" y="444"/>
                  </a:cubicBezTo>
                  <a:lnTo>
                    <a:pt x="91" y="444"/>
                  </a:lnTo>
                  <a:close/>
                  <a:moveTo>
                    <a:pt x="406" y="416"/>
                  </a:moveTo>
                  <a:lnTo>
                    <a:pt x="406" y="124"/>
                  </a:lnTo>
                  <a:lnTo>
                    <a:pt x="110" y="124"/>
                  </a:lnTo>
                  <a:cubicBezTo>
                    <a:pt x="108" y="124"/>
                    <a:pt x="105" y="125"/>
                    <a:pt x="105" y="127"/>
                  </a:cubicBezTo>
                  <a:lnTo>
                    <a:pt x="105" y="416"/>
                  </a:lnTo>
                  <a:lnTo>
                    <a:pt x="406" y="416"/>
                  </a:lnTo>
                  <a:close/>
                  <a:moveTo>
                    <a:pt x="435" y="221"/>
                  </a:moveTo>
                  <a:cubicBezTo>
                    <a:pt x="435" y="234"/>
                    <a:pt x="445" y="245"/>
                    <a:pt x="458" y="245"/>
                  </a:cubicBezTo>
                  <a:cubicBezTo>
                    <a:pt x="471" y="245"/>
                    <a:pt x="481" y="234"/>
                    <a:pt x="481" y="221"/>
                  </a:cubicBezTo>
                  <a:lnTo>
                    <a:pt x="481" y="52"/>
                  </a:lnTo>
                  <a:cubicBezTo>
                    <a:pt x="481" y="39"/>
                    <a:pt x="472" y="29"/>
                    <a:pt x="459" y="29"/>
                  </a:cubicBezTo>
                  <a:lnTo>
                    <a:pt x="54" y="29"/>
                  </a:lnTo>
                  <a:cubicBezTo>
                    <a:pt x="40" y="29"/>
                    <a:pt x="29" y="39"/>
                    <a:pt x="29" y="52"/>
                  </a:cubicBezTo>
                  <a:lnTo>
                    <a:pt x="29" y="221"/>
                  </a:lnTo>
                  <a:cubicBezTo>
                    <a:pt x="29" y="234"/>
                    <a:pt x="40" y="245"/>
                    <a:pt x="52" y="245"/>
                  </a:cubicBezTo>
                  <a:cubicBezTo>
                    <a:pt x="65" y="245"/>
                    <a:pt x="76" y="234"/>
                    <a:pt x="76" y="221"/>
                  </a:cubicBezTo>
                  <a:lnTo>
                    <a:pt x="76" y="124"/>
                  </a:lnTo>
                  <a:lnTo>
                    <a:pt x="57" y="124"/>
                  </a:lnTo>
                  <a:lnTo>
                    <a:pt x="57" y="95"/>
                  </a:lnTo>
                  <a:lnTo>
                    <a:pt x="454" y="95"/>
                  </a:lnTo>
                  <a:lnTo>
                    <a:pt x="454" y="124"/>
                  </a:lnTo>
                  <a:lnTo>
                    <a:pt x="435" y="124"/>
                  </a:lnTo>
                  <a:lnTo>
                    <a:pt x="435" y="221"/>
                  </a:lnTo>
                  <a:close/>
                  <a:moveTo>
                    <a:pt x="132" y="312"/>
                  </a:moveTo>
                  <a:lnTo>
                    <a:pt x="331" y="312"/>
                  </a:lnTo>
                  <a:lnTo>
                    <a:pt x="331" y="284"/>
                  </a:lnTo>
                  <a:lnTo>
                    <a:pt x="132" y="284"/>
                  </a:lnTo>
                  <a:lnTo>
                    <a:pt x="132" y="312"/>
                  </a:lnTo>
                  <a:close/>
                  <a:moveTo>
                    <a:pt x="132" y="246"/>
                  </a:moveTo>
                  <a:lnTo>
                    <a:pt x="331" y="246"/>
                  </a:lnTo>
                  <a:lnTo>
                    <a:pt x="331" y="217"/>
                  </a:lnTo>
                  <a:lnTo>
                    <a:pt x="132" y="217"/>
                  </a:lnTo>
                  <a:lnTo>
                    <a:pt x="132" y="24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p>
          </p:txBody>
        </p:sp>
        <p:sp>
          <p:nvSpPr>
            <p:cNvPr id="22" name="Freeform 7">
              <a:extLst>
                <a:ext uri="{FF2B5EF4-FFF2-40B4-BE49-F238E27FC236}">
                  <a16:creationId xmlns:a16="http://schemas.microsoft.com/office/drawing/2014/main" id="{6EF7D67B-8E72-40BC-B6D4-E1217D1005C1}"/>
                </a:ext>
              </a:extLst>
            </p:cNvPr>
            <p:cNvSpPr>
              <a:spLocks noEditPoints="1"/>
            </p:cNvSpPr>
            <p:nvPr userDrawn="1"/>
          </p:nvSpPr>
          <p:spPr bwMode="auto">
            <a:xfrm>
              <a:off x="406401" y="2788271"/>
              <a:ext cx="252201" cy="234186"/>
            </a:xfrm>
            <a:custGeom>
              <a:avLst/>
              <a:gdLst>
                <a:gd name="T0" fmla="*/ 412 w 517"/>
                <a:gd name="T1" fmla="*/ 510 h 510"/>
                <a:gd name="T2" fmla="*/ 337 w 517"/>
                <a:gd name="T3" fmla="*/ 494 h 510"/>
                <a:gd name="T4" fmla="*/ 150 w 517"/>
                <a:gd name="T5" fmla="*/ 366 h 510"/>
                <a:gd name="T6" fmla="*/ 22 w 517"/>
                <a:gd name="T7" fmla="*/ 180 h 510"/>
                <a:gd name="T8" fmla="*/ 23 w 517"/>
                <a:gd name="T9" fmla="*/ 52 h 510"/>
                <a:gd name="T10" fmla="*/ 30 w 517"/>
                <a:gd name="T11" fmla="*/ 45 h 510"/>
                <a:gd name="T12" fmla="*/ 103 w 517"/>
                <a:gd name="T13" fmla="*/ 0 h 510"/>
                <a:gd name="T14" fmla="*/ 168 w 517"/>
                <a:gd name="T15" fmla="*/ 39 h 510"/>
                <a:gd name="T16" fmla="*/ 169 w 517"/>
                <a:gd name="T17" fmla="*/ 173 h 510"/>
                <a:gd name="T18" fmla="*/ 164 w 517"/>
                <a:gd name="T19" fmla="*/ 178 h 510"/>
                <a:gd name="T20" fmla="*/ 235 w 517"/>
                <a:gd name="T21" fmla="*/ 281 h 510"/>
                <a:gd name="T22" fmla="*/ 304 w 517"/>
                <a:gd name="T23" fmla="*/ 341 h 510"/>
                <a:gd name="T24" fmla="*/ 334 w 517"/>
                <a:gd name="T25" fmla="*/ 354 h 510"/>
                <a:gd name="T26" fmla="*/ 343 w 517"/>
                <a:gd name="T27" fmla="*/ 347 h 510"/>
                <a:gd name="T28" fmla="*/ 402 w 517"/>
                <a:gd name="T29" fmla="*/ 313 h 510"/>
                <a:gd name="T30" fmla="*/ 477 w 517"/>
                <a:gd name="T31" fmla="*/ 349 h 510"/>
                <a:gd name="T32" fmla="*/ 516 w 517"/>
                <a:gd name="T33" fmla="*/ 411 h 510"/>
                <a:gd name="T34" fmla="*/ 473 w 517"/>
                <a:gd name="T35" fmla="*/ 484 h 510"/>
                <a:gd name="T36" fmla="*/ 464 w 517"/>
                <a:gd name="T37" fmla="*/ 493 h 510"/>
                <a:gd name="T38" fmla="*/ 412 w 517"/>
                <a:gd name="T39" fmla="*/ 510 h 510"/>
                <a:gd name="T40" fmla="*/ 103 w 517"/>
                <a:gd name="T41" fmla="*/ 30 h 510"/>
                <a:gd name="T42" fmla="*/ 54 w 517"/>
                <a:gd name="T43" fmla="*/ 64 h 510"/>
                <a:gd name="T44" fmla="*/ 45 w 517"/>
                <a:gd name="T45" fmla="*/ 74 h 510"/>
                <a:gd name="T46" fmla="*/ 50 w 517"/>
                <a:gd name="T47" fmla="*/ 169 h 510"/>
                <a:gd name="T48" fmla="*/ 171 w 517"/>
                <a:gd name="T49" fmla="*/ 345 h 510"/>
                <a:gd name="T50" fmla="*/ 347 w 517"/>
                <a:gd name="T51" fmla="*/ 466 h 510"/>
                <a:gd name="T52" fmla="*/ 412 w 517"/>
                <a:gd name="T53" fmla="*/ 480 h 510"/>
                <a:gd name="T54" fmla="*/ 443 w 517"/>
                <a:gd name="T55" fmla="*/ 472 h 510"/>
                <a:gd name="T56" fmla="*/ 452 w 517"/>
                <a:gd name="T57" fmla="*/ 462 h 510"/>
                <a:gd name="T58" fmla="*/ 486 w 517"/>
                <a:gd name="T59" fmla="*/ 412 h 510"/>
                <a:gd name="T60" fmla="*/ 458 w 517"/>
                <a:gd name="T61" fmla="*/ 372 h 510"/>
                <a:gd name="T62" fmla="*/ 403 w 517"/>
                <a:gd name="T63" fmla="*/ 343 h 510"/>
                <a:gd name="T64" fmla="*/ 365 w 517"/>
                <a:gd name="T65" fmla="*/ 368 h 510"/>
                <a:gd name="T66" fmla="*/ 359 w 517"/>
                <a:gd name="T67" fmla="*/ 374 h 510"/>
                <a:gd name="T68" fmla="*/ 334 w 517"/>
                <a:gd name="T69" fmla="*/ 384 h 510"/>
                <a:gd name="T70" fmla="*/ 288 w 517"/>
                <a:gd name="T71" fmla="*/ 366 h 510"/>
                <a:gd name="T72" fmla="*/ 214 w 517"/>
                <a:gd name="T73" fmla="*/ 303 h 510"/>
                <a:gd name="T74" fmla="*/ 142 w 517"/>
                <a:gd name="T75" fmla="*/ 157 h 510"/>
                <a:gd name="T76" fmla="*/ 148 w 517"/>
                <a:gd name="T77" fmla="*/ 152 h 510"/>
                <a:gd name="T78" fmla="*/ 144 w 517"/>
                <a:gd name="T79" fmla="*/ 58 h 510"/>
                <a:gd name="T80" fmla="*/ 104 w 517"/>
                <a:gd name="T81" fmla="*/ 30 h 510"/>
                <a:gd name="T82" fmla="*/ 103 w 517"/>
                <a:gd name="T83" fmla="*/ 23 h 510"/>
                <a:gd name="T84" fmla="*/ 103 w 517"/>
                <a:gd name="T85" fmla="*/ 3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7" h="510">
                  <a:moveTo>
                    <a:pt x="412" y="510"/>
                  </a:moveTo>
                  <a:cubicBezTo>
                    <a:pt x="390" y="510"/>
                    <a:pt x="364" y="505"/>
                    <a:pt x="337" y="494"/>
                  </a:cubicBezTo>
                  <a:cubicBezTo>
                    <a:pt x="276" y="471"/>
                    <a:pt x="209" y="426"/>
                    <a:pt x="150" y="366"/>
                  </a:cubicBezTo>
                  <a:cubicBezTo>
                    <a:pt x="90" y="307"/>
                    <a:pt x="45" y="241"/>
                    <a:pt x="22" y="180"/>
                  </a:cubicBezTo>
                  <a:cubicBezTo>
                    <a:pt x="0" y="122"/>
                    <a:pt x="1" y="75"/>
                    <a:pt x="23" y="52"/>
                  </a:cubicBezTo>
                  <a:lnTo>
                    <a:pt x="30" y="45"/>
                  </a:lnTo>
                  <a:cubicBezTo>
                    <a:pt x="52" y="23"/>
                    <a:pt x="73" y="0"/>
                    <a:pt x="103" y="0"/>
                  </a:cubicBezTo>
                  <a:cubicBezTo>
                    <a:pt x="127" y="1"/>
                    <a:pt x="147" y="14"/>
                    <a:pt x="168" y="39"/>
                  </a:cubicBezTo>
                  <a:cubicBezTo>
                    <a:pt x="228" y="115"/>
                    <a:pt x="199" y="143"/>
                    <a:pt x="169" y="173"/>
                  </a:cubicBezTo>
                  <a:lnTo>
                    <a:pt x="164" y="178"/>
                  </a:lnTo>
                  <a:cubicBezTo>
                    <a:pt x="163" y="178"/>
                    <a:pt x="150" y="197"/>
                    <a:pt x="235" y="281"/>
                  </a:cubicBezTo>
                  <a:cubicBezTo>
                    <a:pt x="262" y="309"/>
                    <a:pt x="286" y="329"/>
                    <a:pt x="304" y="341"/>
                  </a:cubicBezTo>
                  <a:cubicBezTo>
                    <a:pt x="317" y="349"/>
                    <a:pt x="328" y="354"/>
                    <a:pt x="334" y="354"/>
                  </a:cubicBezTo>
                  <a:lnTo>
                    <a:pt x="343" y="347"/>
                  </a:lnTo>
                  <a:cubicBezTo>
                    <a:pt x="360" y="331"/>
                    <a:pt x="377" y="313"/>
                    <a:pt x="402" y="313"/>
                  </a:cubicBezTo>
                  <a:cubicBezTo>
                    <a:pt x="423" y="313"/>
                    <a:pt x="447" y="324"/>
                    <a:pt x="477" y="349"/>
                  </a:cubicBezTo>
                  <a:cubicBezTo>
                    <a:pt x="502" y="369"/>
                    <a:pt x="515" y="389"/>
                    <a:pt x="516" y="411"/>
                  </a:cubicBezTo>
                  <a:cubicBezTo>
                    <a:pt x="517" y="442"/>
                    <a:pt x="494" y="464"/>
                    <a:pt x="473" y="484"/>
                  </a:cubicBezTo>
                  <a:lnTo>
                    <a:pt x="464" y="493"/>
                  </a:lnTo>
                  <a:cubicBezTo>
                    <a:pt x="453" y="504"/>
                    <a:pt x="435" y="510"/>
                    <a:pt x="412" y="510"/>
                  </a:cubicBezTo>
                  <a:close/>
                  <a:moveTo>
                    <a:pt x="103" y="30"/>
                  </a:moveTo>
                  <a:cubicBezTo>
                    <a:pt x="86" y="30"/>
                    <a:pt x="69" y="48"/>
                    <a:pt x="54" y="64"/>
                  </a:cubicBezTo>
                  <a:lnTo>
                    <a:pt x="45" y="74"/>
                  </a:lnTo>
                  <a:cubicBezTo>
                    <a:pt x="34" y="85"/>
                    <a:pt x="31" y="118"/>
                    <a:pt x="50" y="169"/>
                  </a:cubicBezTo>
                  <a:cubicBezTo>
                    <a:pt x="72" y="226"/>
                    <a:pt x="115" y="289"/>
                    <a:pt x="171" y="345"/>
                  </a:cubicBezTo>
                  <a:cubicBezTo>
                    <a:pt x="228" y="402"/>
                    <a:pt x="290" y="445"/>
                    <a:pt x="347" y="466"/>
                  </a:cubicBezTo>
                  <a:cubicBezTo>
                    <a:pt x="371" y="475"/>
                    <a:pt x="394" y="480"/>
                    <a:pt x="412" y="480"/>
                  </a:cubicBezTo>
                  <a:cubicBezTo>
                    <a:pt x="426" y="480"/>
                    <a:pt x="437" y="477"/>
                    <a:pt x="443" y="472"/>
                  </a:cubicBezTo>
                  <a:lnTo>
                    <a:pt x="452" y="462"/>
                  </a:lnTo>
                  <a:cubicBezTo>
                    <a:pt x="469" y="447"/>
                    <a:pt x="487" y="429"/>
                    <a:pt x="486" y="412"/>
                  </a:cubicBezTo>
                  <a:cubicBezTo>
                    <a:pt x="486" y="400"/>
                    <a:pt x="476" y="386"/>
                    <a:pt x="458" y="372"/>
                  </a:cubicBezTo>
                  <a:cubicBezTo>
                    <a:pt x="434" y="352"/>
                    <a:pt x="417" y="343"/>
                    <a:pt x="403" y="343"/>
                  </a:cubicBezTo>
                  <a:cubicBezTo>
                    <a:pt x="389" y="343"/>
                    <a:pt x="379" y="354"/>
                    <a:pt x="365" y="368"/>
                  </a:cubicBezTo>
                  <a:lnTo>
                    <a:pt x="359" y="374"/>
                  </a:lnTo>
                  <a:cubicBezTo>
                    <a:pt x="353" y="380"/>
                    <a:pt x="344" y="384"/>
                    <a:pt x="334" y="384"/>
                  </a:cubicBezTo>
                  <a:cubicBezTo>
                    <a:pt x="321" y="384"/>
                    <a:pt x="306" y="378"/>
                    <a:pt x="288" y="366"/>
                  </a:cubicBezTo>
                  <a:cubicBezTo>
                    <a:pt x="267" y="353"/>
                    <a:pt x="243" y="332"/>
                    <a:pt x="214" y="303"/>
                  </a:cubicBezTo>
                  <a:cubicBezTo>
                    <a:pt x="139" y="228"/>
                    <a:pt x="117" y="183"/>
                    <a:pt x="142" y="157"/>
                  </a:cubicBezTo>
                  <a:lnTo>
                    <a:pt x="148" y="152"/>
                  </a:lnTo>
                  <a:cubicBezTo>
                    <a:pt x="175" y="125"/>
                    <a:pt x="188" y="112"/>
                    <a:pt x="144" y="58"/>
                  </a:cubicBezTo>
                  <a:cubicBezTo>
                    <a:pt x="130" y="40"/>
                    <a:pt x="116" y="31"/>
                    <a:pt x="104" y="30"/>
                  </a:cubicBezTo>
                  <a:lnTo>
                    <a:pt x="103" y="23"/>
                  </a:lnTo>
                  <a:lnTo>
                    <a:pt x="103" y="3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p>
          </p:txBody>
        </p:sp>
        <p:sp>
          <p:nvSpPr>
            <p:cNvPr id="23" name="Freeform 8">
              <a:extLst>
                <a:ext uri="{FF2B5EF4-FFF2-40B4-BE49-F238E27FC236}">
                  <a16:creationId xmlns:a16="http://schemas.microsoft.com/office/drawing/2014/main" id="{83FF16C3-062C-48A2-8BF7-A4F26AB18380}"/>
                </a:ext>
              </a:extLst>
            </p:cNvPr>
            <p:cNvSpPr>
              <a:spLocks noEditPoints="1"/>
            </p:cNvSpPr>
            <p:nvPr userDrawn="1"/>
          </p:nvSpPr>
          <p:spPr bwMode="auto">
            <a:xfrm>
              <a:off x="408403" y="3769052"/>
              <a:ext cx="250199" cy="198158"/>
            </a:xfrm>
            <a:custGeom>
              <a:avLst/>
              <a:gdLst>
                <a:gd name="T0" fmla="*/ 504 w 510"/>
                <a:gd name="T1" fmla="*/ 0 h 430"/>
                <a:gd name="T2" fmla="*/ 6 w 510"/>
                <a:gd name="T3" fmla="*/ 0 h 430"/>
                <a:gd name="T4" fmla="*/ 0 w 510"/>
                <a:gd name="T5" fmla="*/ 6 h 430"/>
                <a:gd name="T6" fmla="*/ 0 w 510"/>
                <a:gd name="T7" fmla="*/ 350 h 430"/>
                <a:gd name="T8" fmla="*/ 6 w 510"/>
                <a:gd name="T9" fmla="*/ 356 h 430"/>
                <a:gd name="T10" fmla="*/ 239 w 510"/>
                <a:gd name="T11" fmla="*/ 356 h 430"/>
                <a:gd name="T12" fmla="*/ 239 w 510"/>
                <a:gd name="T13" fmla="*/ 398 h 430"/>
                <a:gd name="T14" fmla="*/ 179 w 510"/>
                <a:gd name="T15" fmla="*/ 398 h 430"/>
                <a:gd name="T16" fmla="*/ 173 w 510"/>
                <a:gd name="T17" fmla="*/ 404 h 430"/>
                <a:gd name="T18" fmla="*/ 173 w 510"/>
                <a:gd name="T19" fmla="*/ 423 h 430"/>
                <a:gd name="T20" fmla="*/ 179 w 510"/>
                <a:gd name="T21" fmla="*/ 430 h 430"/>
                <a:gd name="T22" fmla="*/ 331 w 510"/>
                <a:gd name="T23" fmla="*/ 430 h 430"/>
                <a:gd name="T24" fmla="*/ 338 w 510"/>
                <a:gd name="T25" fmla="*/ 423 h 430"/>
                <a:gd name="T26" fmla="*/ 338 w 510"/>
                <a:gd name="T27" fmla="*/ 404 h 430"/>
                <a:gd name="T28" fmla="*/ 331 w 510"/>
                <a:gd name="T29" fmla="*/ 398 h 430"/>
                <a:gd name="T30" fmla="*/ 272 w 510"/>
                <a:gd name="T31" fmla="*/ 398 h 430"/>
                <a:gd name="T32" fmla="*/ 272 w 510"/>
                <a:gd name="T33" fmla="*/ 356 h 430"/>
                <a:gd name="T34" fmla="*/ 504 w 510"/>
                <a:gd name="T35" fmla="*/ 356 h 430"/>
                <a:gd name="T36" fmla="*/ 510 w 510"/>
                <a:gd name="T37" fmla="*/ 350 h 430"/>
                <a:gd name="T38" fmla="*/ 510 w 510"/>
                <a:gd name="T39" fmla="*/ 6 h 430"/>
                <a:gd name="T40" fmla="*/ 504 w 510"/>
                <a:gd name="T41" fmla="*/ 0 h 430"/>
                <a:gd name="T42" fmla="*/ 477 w 510"/>
                <a:gd name="T43" fmla="*/ 325 h 430"/>
                <a:gd name="T44" fmla="*/ 33 w 510"/>
                <a:gd name="T45" fmla="*/ 325 h 430"/>
                <a:gd name="T46" fmla="*/ 33 w 510"/>
                <a:gd name="T47" fmla="*/ 32 h 430"/>
                <a:gd name="T48" fmla="*/ 477 w 510"/>
                <a:gd name="T49" fmla="*/ 32 h 430"/>
                <a:gd name="T50" fmla="*/ 477 w 510"/>
                <a:gd name="T51" fmla="*/ 32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0" h="430">
                  <a:moveTo>
                    <a:pt x="504" y="0"/>
                  </a:moveTo>
                  <a:lnTo>
                    <a:pt x="6" y="0"/>
                  </a:lnTo>
                  <a:cubicBezTo>
                    <a:pt x="3" y="0"/>
                    <a:pt x="0" y="2"/>
                    <a:pt x="0" y="6"/>
                  </a:cubicBezTo>
                  <a:lnTo>
                    <a:pt x="0" y="350"/>
                  </a:lnTo>
                  <a:cubicBezTo>
                    <a:pt x="0" y="353"/>
                    <a:pt x="3" y="356"/>
                    <a:pt x="6" y="356"/>
                  </a:cubicBezTo>
                  <a:lnTo>
                    <a:pt x="239" y="356"/>
                  </a:lnTo>
                  <a:lnTo>
                    <a:pt x="239" y="398"/>
                  </a:lnTo>
                  <a:lnTo>
                    <a:pt x="179" y="398"/>
                  </a:lnTo>
                  <a:cubicBezTo>
                    <a:pt x="175" y="398"/>
                    <a:pt x="173" y="401"/>
                    <a:pt x="173" y="404"/>
                  </a:cubicBezTo>
                  <a:lnTo>
                    <a:pt x="173" y="423"/>
                  </a:lnTo>
                  <a:cubicBezTo>
                    <a:pt x="173" y="427"/>
                    <a:pt x="175" y="430"/>
                    <a:pt x="179" y="430"/>
                  </a:cubicBezTo>
                  <a:lnTo>
                    <a:pt x="331" y="430"/>
                  </a:lnTo>
                  <a:cubicBezTo>
                    <a:pt x="335" y="430"/>
                    <a:pt x="338" y="427"/>
                    <a:pt x="338" y="423"/>
                  </a:cubicBezTo>
                  <a:lnTo>
                    <a:pt x="338" y="404"/>
                  </a:lnTo>
                  <a:cubicBezTo>
                    <a:pt x="338" y="401"/>
                    <a:pt x="335" y="398"/>
                    <a:pt x="331" y="398"/>
                  </a:cubicBezTo>
                  <a:lnTo>
                    <a:pt x="272" y="398"/>
                  </a:lnTo>
                  <a:lnTo>
                    <a:pt x="272" y="356"/>
                  </a:lnTo>
                  <a:lnTo>
                    <a:pt x="504" y="356"/>
                  </a:lnTo>
                  <a:cubicBezTo>
                    <a:pt x="507" y="356"/>
                    <a:pt x="510" y="353"/>
                    <a:pt x="510" y="350"/>
                  </a:cubicBezTo>
                  <a:lnTo>
                    <a:pt x="510" y="6"/>
                  </a:lnTo>
                  <a:cubicBezTo>
                    <a:pt x="510" y="2"/>
                    <a:pt x="507" y="0"/>
                    <a:pt x="504" y="0"/>
                  </a:cubicBezTo>
                  <a:close/>
                  <a:moveTo>
                    <a:pt x="477" y="325"/>
                  </a:moveTo>
                  <a:lnTo>
                    <a:pt x="33" y="325"/>
                  </a:lnTo>
                  <a:lnTo>
                    <a:pt x="33" y="32"/>
                  </a:lnTo>
                  <a:lnTo>
                    <a:pt x="477" y="32"/>
                  </a:lnTo>
                  <a:lnTo>
                    <a:pt x="477" y="32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p>
          </p:txBody>
        </p:sp>
      </p:grpSp>
    </p:spTree>
    <p:extLst>
      <p:ext uri="{BB962C8B-B14F-4D97-AF65-F5344CB8AC3E}">
        <p14:creationId xmlns:p14="http://schemas.microsoft.com/office/powerpoint/2010/main" val="3420261415"/>
      </p:ext>
    </p:extLst>
  </p:cSld>
  <p:clrMapOvr>
    <a:masterClrMapping/>
  </p:clrMapOvr>
  <p:transition spd="med">
    <p:fade/>
  </p:transition>
  <p:extLst>
    <p:ext uri="{DCECCB84-F9BA-43D5-87BE-67443E8EF086}">
      <p15:sldGuideLst xmlns:p15="http://schemas.microsoft.com/office/powerpoint/2012/main">
        <p15:guide id="1" orient="horz" pos="2478">
          <p15:clr>
            <a:srgbClr val="FBAE40"/>
          </p15:clr>
        </p15:guide>
        <p15:guide id="2" orient="horz" pos="2886">
          <p15:clr>
            <a:srgbClr val="FBAE40"/>
          </p15:clr>
        </p15:guide>
        <p15:guide id="3" orient="horz" pos="295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spaltig">
    <p:spTree>
      <p:nvGrpSpPr>
        <p:cNvPr id="1" name=""/>
        <p:cNvGrpSpPr/>
        <p:nvPr/>
      </p:nvGrpSpPr>
      <p:grpSpPr>
        <a:xfrm>
          <a:off x="0" y="0"/>
          <a:ext cx="0" cy="0"/>
          <a:chOff x="0" y="0"/>
          <a:chExt cx="0" cy="0"/>
        </a:xfrm>
      </p:grpSpPr>
      <p:sp>
        <p:nvSpPr>
          <p:cNvPr id="9" name="Textplatzhalter 11"/>
          <p:cNvSpPr>
            <a:spLocks noGrp="1"/>
          </p:cNvSpPr>
          <p:nvPr>
            <p:ph type="body" sz="quarter" idx="24"/>
          </p:nvPr>
        </p:nvSpPr>
        <p:spPr>
          <a:xfrm>
            <a:off x="767825" y="1711371"/>
            <a:ext cx="10653000" cy="3829005"/>
          </a:xfrm>
          <a:prstGeom prst="rect">
            <a:avLst/>
          </a:prstGeom>
        </p:spPr>
        <p:txBody>
          <a:bodyPr lIns="0" tIns="0" rIns="0" bIns="0"/>
          <a:lstStyle>
            <a:lvl1pPr marL="0" indent="0">
              <a:spcBef>
                <a:spcPts val="0"/>
              </a:spcBef>
              <a:spcAft>
                <a:spcPts val="500"/>
              </a:spcAft>
              <a:buFontTx/>
              <a:buNone/>
              <a:defRPr baseline="0">
                <a:solidFill>
                  <a:schemeClr val="tx1">
                    <a:lumMod val="90000"/>
                    <a:lumOff val="10000"/>
                  </a:schemeClr>
                </a:solidFill>
                <a:latin typeface="Arial" pitchFamily="34" charset="0"/>
                <a:ea typeface="Verdana" pitchFamily="34" charset="0"/>
                <a:cs typeface="Arial" pitchFamily="34" charset="0"/>
              </a:defRPr>
            </a:lvl1pPr>
            <a:lvl2pPr marL="177800" indent="-177800">
              <a:spcBef>
                <a:spcPts val="0"/>
              </a:spcBef>
              <a:spcAft>
                <a:spcPts val="500"/>
              </a:spcAft>
              <a:buClr>
                <a:schemeClr val="tx2"/>
              </a:buClr>
              <a:buFont typeface="Wingdings" panose="05000000000000000000" pitchFamily="2" charset="2"/>
              <a:buChar char="§"/>
              <a:tabLst/>
              <a:defRPr>
                <a:solidFill>
                  <a:schemeClr val="tx1">
                    <a:lumMod val="90000"/>
                    <a:lumOff val="10000"/>
                  </a:schemeClr>
                </a:solidFill>
                <a:latin typeface="Arial" pitchFamily="34" charset="0"/>
                <a:ea typeface="Verdana" pitchFamily="34" charset="0"/>
                <a:cs typeface="Arial" pitchFamily="34" charset="0"/>
              </a:defRPr>
            </a:lvl2pPr>
            <a:lvl3pPr marL="0" indent="0">
              <a:buFontTx/>
              <a:buNone/>
              <a:defRPr>
                <a:solidFill>
                  <a:schemeClr val="tx1">
                    <a:lumMod val="90000"/>
                    <a:lumOff val="10000"/>
                  </a:schemeClr>
                </a:solidFill>
                <a:latin typeface="Verdana" pitchFamily="34" charset="0"/>
                <a:ea typeface="Verdana" pitchFamily="34" charset="0"/>
                <a:cs typeface="Verdana" pitchFamily="34" charset="0"/>
              </a:defRPr>
            </a:lvl3pPr>
            <a:lvl4pPr marL="0" indent="0">
              <a:buFontTx/>
              <a:buNone/>
              <a:defRPr>
                <a:solidFill>
                  <a:schemeClr val="tx1">
                    <a:lumMod val="90000"/>
                    <a:lumOff val="10000"/>
                  </a:schemeClr>
                </a:solidFill>
                <a:latin typeface="Verdana" pitchFamily="34" charset="0"/>
                <a:ea typeface="Verdana" pitchFamily="34" charset="0"/>
                <a:cs typeface="Verdana" pitchFamily="34" charset="0"/>
              </a:defRPr>
            </a:lvl4pPr>
            <a:lvl5pPr marL="0" indent="0">
              <a:buFontTx/>
              <a:buNone/>
              <a:defRPr>
                <a:solidFill>
                  <a:schemeClr val="tx1">
                    <a:lumMod val="90000"/>
                    <a:lumOff val="10000"/>
                  </a:schemeClr>
                </a:solidFill>
                <a:latin typeface="Verdana" pitchFamily="34" charset="0"/>
                <a:ea typeface="Verdana" pitchFamily="34" charset="0"/>
                <a:cs typeface="Verdana" pitchFamily="34" charset="0"/>
              </a:defRPr>
            </a:lvl5pPr>
          </a:lstStyle>
          <a:p>
            <a:pPr lvl="0"/>
            <a:r>
              <a:rPr lang="en-US"/>
              <a:t>Edit Master text styles</a:t>
            </a:r>
          </a:p>
          <a:p>
            <a:pPr lvl="1"/>
            <a:r>
              <a:rPr lang="en-US"/>
              <a:t>Second level</a:t>
            </a:r>
          </a:p>
        </p:txBody>
      </p:sp>
      <p:sp>
        <p:nvSpPr>
          <p:cNvPr id="10" name="Textplatzhalter 50"/>
          <p:cNvSpPr>
            <a:spLocks noGrp="1"/>
          </p:cNvSpPr>
          <p:nvPr>
            <p:ph type="body" sz="quarter" idx="22" hasCustomPrompt="1"/>
          </p:nvPr>
        </p:nvSpPr>
        <p:spPr>
          <a:xfrm>
            <a:off x="780949" y="731146"/>
            <a:ext cx="10639876" cy="243807"/>
          </a:xfrm>
          <a:prstGeom prst="rect">
            <a:avLst/>
          </a:prstGeom>
        </p:spPr>
        <p:txBody>
          <a:bodyPr lIns="0" tIns="0" rIns="0" bIns="0"/>
          <a:lstStyle>
            <a:lvl1pPr algn="l">
              <a:buFontTx/>
              <a:buNone/>
              <a:defRPr>
                <a:solidFill>
                  <a:schemeClr val="tx1">
                    <a:lumMod val="90000"/>
                    <a:lumOff val="10000"/>
                  </a:schemeClr>
                </a:solidFill>
                <a:latin typeface="Arial" pitchFamily="34" charset="0"/>
                <a:cs typeface="Arial" pitchFamily="34" charset="0"/>
              </a:defRPr>
            </a:lvl1pPr>
            <a:lvl2pPr algn="l">
              <a:buFontTx/>
              <a:buNone/>
              <a:defRPr>
                <a:solidFill>
                  <a:schemeClr val="tx1">
                    <a:lumMod val="90000"/>
                    <a:lumOff val="10000"/>
                  </a:schemeClr>
                </a:solidFill>
              </a:defRPr>
            </a:lvl2pPr>
            <a:lvl3pPr algn="l">
              <a:buFontTx/>
              <a:buNone/>
              <a:defRPr>
                <a:solidFill>
                  <a:schemeClr val="tx1">
                    <a:lumMod val="90000"/>
                    <a:lumOff val="10000"/>
                  </a:schemeClr>
                </a:solidFill>
              </a:defRPr>
            </a:lvl3pPr>
            <a:lvl4pPr algn="l">
              <a:buFontTx/>
              <a:buNone/>
              <a:defRPr>
                <a:solidFill>
                  <a:schemeClr val="tx1">
                    <a:lumMod val="90000"/>
                    <a:lumOff val="10000"/>
                  </a:schemeClr>
                </a:solidFill>
              </a:defRPr>
            </a:lvl4pPr>
            <a:lvl5pPr algn="l">
              <a:buFontTx/>
              <a:buNone/>
              <a:defRPr>
                <a:solidFill>
                  <a:schemeClr val="tx1">
                    <a:lumMod val="90000"/>
                    <a:lumOff val="10000"/>
                  </a:schemeClr>
                </a:solidFill>
              </a:defRPr>
            </a:lvl5pPr>
          </a:lstStyle>
          <a:p>
            <a:pPr lvl="0"/>
            <a:r>
              <a:rPr lang="de-DE" dirty="0" err="1"/>
              <a:t>Topline</a:t>
            </a:r>
            <a:endParaRPr lang="de-DE" dirty="0"/>
          </a:p>
        </p:txBody>
      </p:sp>
      <p:sp>
        <p:nvSpPr>
          <p:cNvPr id="11" name="Textplatzhalter 64"/>
          <p:cNvSpPr>
            <a:spLocks noGrp="1"/>
          </p:cNvSpPr>
          <p:nvPr>
            <p:ph type="body" sz="quarter" idx="33" hasCustomPrompt="1"/>
          </p:nvPr>
        </p:nvSpPr>
        <p:spPr>
          <a:xfrm>
            <a:off x="776009" y="983419"/>
            <a:ext cx="10633528" cy="558800"/>
          </a:xfrm>
          <a:prstGeom prst="rect">
            <a:avLst/>
          </a:prstGeom>
        </p:spPr>
        <p:txBody>
          <a:bodyPr lIns="0" tIns="0" rIns="0" bIns="0"/>
          <a:lstStyle>
            <a:lvl1pPr marL="0" indent="0">
              <a:buFontTx/>
              <a:buNone/>
              <a:defRPr sz="2000">
                <a:solidFill>
                  <a:srgbClr val="004C8B"/>
                </a:solidFill>
                <a:latin typeface="Arial" pitchFamily="34" charset="0"/>
                <a:cs typeface="Arial" pitchFamily="34" charset="0"/>
              </a:defRPr>
            </a:lvl1pPr>
            <a:lvl2pPr>
              <a:buFontTx/>
              <a:buNone/>
              <a:defRPr sz="3000">
                <a:latin typeface="Arial" pitchFamily="34" charset="0"/>
                <a:cs typeface="Arial" pitchFamily="34" charset="0"/>
              </a:defRPr>
            </a:lvl2pPr>
            <a:lvl3pPr>
              <a:buFontTx/>
              <a:buNone/>
              <a:defRPr sz="3000">
                <a:latin typeface="Arial" pitchFamily="34" charset="0"/>
                <a:cs typeface="Arial" pitchFamily="34" charset="0"/>
              </a:defRPr>
            </a:lvl3pPr>
            <a:lvl4pPr>
              <a:buFontTx/>
              <a:buNone/>
              <a:defRPr sz="3000">
                <a:latin typeface="Arial" pitchFamily="34" charset="0"/>
                <a:cs typeface="Arial" pitchFamily="34" charset="0"/>
              </a:defRPr>
            </a:lvl4pPr>
            <a:lvl5pPr>
              <a:buFontTx/>
              <a:buNone/>
              <a:defRPr sz="3000">
                <a:latin typeface="Arial" pitchFamily="34" charset="0"/>
                <a:cs typeface="Arial" pitchFamily="34" charset="0"/>
              </a:defRPr>
            </a:lvl5pPr>
          </a:lstStyle>
          <a:p>
            <a:pPr lvl="0"/>
            <a:r>
              <a:rPr lang="de-DE" dirty="0"/>
              <a:t>Headline einzeilig</a:t>
            </a:r>
            <a:br>
              <a:rPr lang="de-DE" dirty="0"/>
            </a:br>
            <a:endParaRPr lang="de-DE" dirty="0"/>
          </a:p>
        </p:txBody>
      </p:sp>
      <p:sp>
        <p:nvSpPr>
          <p:cNvPr id="15" name="Foliennummernplatzhalter 38"/>
          <p:cNvSpPr>
            <a:spLocks noGrp="1"/>
          </p:cNvSpPr>
          <p:nvPr>
            <p:ph type="sldNum" sz="quarter" idx="35"/>
          </p:nvPr>
        </p:nvSpPr>
        <p:spPr>
          <a:xfrm>
            <a:off x="10963704" y="323024"/>
            <a:ext cx="457384" cy="180000"/>
          </a:xfrm>
          <a:prstGeom prst="rect">
            <a:avLst/>
          </a:prstGeom>
        </p:spPr>
        <p:txBody>
          <a:bodyPr lIns="0" tIns="0" rIns="0" bIns="0" anchor="t"/>
          <a:lstStyle>
            <a:lvl1pPr algn="r">
              <a:defRPr sz="1000">
                <a:solidFill>
                  <a:schemeClr val="tx1">
                    <a:lumMod val="75000"/>
                    <a:lumOff val="25000"/>
                  </a:schemeClr>
                </a:solidFill>
                <a:latin typeface="Arial" pitchFamily="34" charset="0"/>
                <a:cs typeface="Arial" pitchFamily="34" charset="0"/>
              </a:defRPr>
            </a:lvl1pPr>
          </a:lstStyle>
          <a:p>
            <a:r>
              <a:rPr lang="de-DE"/>
              <a:t>| </a:t>
            </a:r>
            <a:fld id="{D9B4299E-9FBB-7F47-A255-6A999A734B94}" type="slidenum">
              <a:rPr lang="de-DE" smtClean="0"/>
              <a:pPr/>
              <a:t>‹#›</a:t>
            </a:fld>
            <a:endParaRPr lang="de-DE" dirty="0"/>
          </a:p>
        </p:txBody>
      </p:sp>
      <p:sp>
        <p:nvSpPr>
          <p:cNvPr id="12" name="Fußzeilenplatzhalter 39"/>
          <p:cNvSpPr>
            <a:spLocks noGrp="1"/>
          </p:cNvSpPr>
          <p:nvPr>
            <p:ph type="ftr" sz="quarter" idx="36"/>
          </p:nvPr>
        </p:nvSpPr>
        <p:spPr>
          <a:xfrm>
            <a:off x="6090974" y="320460"/>
            <a:ext cx="4945827" cy="182564"/>
          </a:xfrm>
          <a:prstGeom prst="rect">
            <a:avLst/>
          </a:prstGeom>
        </p:spPr>
        <p:txBody>
          <a:bodyPr lIns="0" tIns="0" rIns="0" bIns="0" anchor="t"/>
          <a:lstStyle>
            <a:lvl1pPr algn="r">
              <a:defRPr sz="1000">
                <a:solidFill>
                  <a:schemeClr val="tx1">
                    <a:lumMod val="75000"/>
                    <a:lumOff val="25000"/>
                  </a:schemeClr>
                </a:solidFill>
                <a:latin typeface="Arial" pitchFamily="34" charset="0"/>
                <a:cs typeface="Arial" pitchFamily="34" charset="0"/>
              </a:defRPr>
            </a:lvl1pPr>
          </a:lstStyle>
          <a:p>
            <a:r>
              <a:rPr lang="en-GB"/>
              <a:t>NZSUG Auckland Event + SAP Forum</a:t>
            </a:r>
            <a:endParaRPr lang="de-DE" dirty="0"/>
          </a:p>
        </p:txBody>
      </p:sp>
    </p:spTree>
    <p:extLst>
      <p:ext uri="{BB962C8B-B14F-4D97-AF65-F5344CB8AC3E}">
        <p14:creationId xmlns:p14="http://schemas.microsoft.com/office/powerpoint/2010/main" val="42520283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21915D-F099-8947-BBE9-D4847D18F7C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394EFF3-DFA7-BE4A-B551-C2D4FACEC30A}"/>
              </a:ext>
            </a:extLst>
          </p:cNvPr>
          <p:cNvSpPr>
            <a:spLocks noGrp="1"/>
          </p:cNvSpPr>
          <p:nvPr>
            <p:ph type="dt" sz="half" idx="10"/>
          </p:nvPr>
        </p:nvSpPr>
        <p:spPr/>
        <p:txBody>
          <a:bodyPr/>
          <a:lstStyle/>
          <a:p>
            <a:r>
              <a:rPr lang="en-US">
                <a:solidFill>
                  <a:srgbClr val="6F6F6F"/>
                </a:solidFill>
              </a:rPr>
              <a:t>21/08/2019</a:t>
            </a:r>
            <a:endParaRPr lang="de-DE" dirty="0">
              <a:solidFill>
                <a:srgbClr val="6F6F6F"/>
              </a:solidFill>
            </a:endParaRPr>
          </a:p>
        </p:txBody>
      </p:sp>
      <p:sp>
        <p:nvSpPr>
          <p:cNvPr id="4" name="Foliennummernplatzhalter 3">
            <a:extLst>
              <a:ext uri="{FF2B5EF4-FFF2-40B4-BE49-F238E27FC236}">
                <a16:creationId xmlns:a16="http://schemas.microsoft.com/office/drawing/2014/main" id="{D6584E7C-40EF-2243-A561-834A20F9DD3A}"/>
              </a:ext>
            </a:extLst>
          </p:cNvPr>
          <p:cNvSpPr>
            <a:spLocks noGrp="1"/>
          </p:cNvSpPr>
          <p:nvPr>
            <p:ph type="sldNum" sz="quarter" idx="11"/>
          </p:nvPr>
        </p:nvSpPr>
        <p:spPr/>
        <p:txBody>
          <a:bodyPr/>
          <a:lstStyle/>
          <a:p>
            <a:fld id="{221F1D72-F2AC-4B6E-A46C-E63D2CF40C7B}" type="slidenum">
              <a:rPr lang="de-DE" smtClean="0">
                <a:solidFill>
                  <a:srgbClr val="6F6F6F"/>
                </a:solidFill>
              </a:rPr>
              <a:pPr/>
              <a:t>‹#›</a:t>
            </a:fld>
            <a:endParaRPr lang="de-DE" dirty="0">
              <a:solidFill>
                <a:srgbClr val="6F6F6F"/>
              </a:solidFill>
            </a:endParaRPr>
          </a:p>
        </p:txBody>
      </p:sp>
      <p:sp>
        <p:nvSpPr>
          <p:cNvPr id="5" name="Fußzeilenplatzhalter 4">
            <a:extLst>
              <a:ext uri="{FF2B5EF4-FFF2-40B4-BE49-F238E27FC236}">
                <a16:creationId xmlns:a16="http://schemas.microsoft.com/office/drawing/2014/main" id="{89BCFAF2-B4CD-A34B-B63D-832F9BDE5BE7}"/>
              </a:ext>
            </a:extLst>
          </p:cNvPr>
          <p:cNvSpPr>
            <a:spLocks noGrp="1"/>
          </p:cNvSpPr>
          <p:nvPr>
            <p:ph type="ftr" sz="quarter" idx="12"/>
          </p:nvPr>
        </p:nvSpPr>
        <p:spPr/>
        <p:txBody>
          <a:bodyPr/>
          <a:lstStyle/>
          <a:p>
            <a:r>
              <a:rPr lang="en-GB">
                <a:solidFill>
                  <a:srgbClr val="6F6F6F"/>
                </a:solidFill>
              </a:rPr>
              <a:t>NZSUG Auckland Event + SAP Forum</a:t>
            </a:r>
            <a:endParaRPr lang="de-DE" dirty="0">
              <a:solidFill>
                <a:srgbClr val="6F6F6F"/>
              </a:solidFill>
            </a:endParaRPr>
          </a:p>
        </p:txBody>
      </p:sp>
    </p:spTree>
    <p:extLst>
      <p:ext uri="{BB962C8B-B14F-4D97-AF65-F5344CB8AC3E}">
        <p14:creationId xmlns:p14="http://schemas.microsoft.com/office/powerpoint/2010/main" val="3443343089"/>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Titelfolie">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748A89D4-38C9-4E5C-A079-94E7F84421DC}"/>
              </a:ext>
            </a:extLst>
          </p:cNvPr>
          <p:cNvSpPr>
            <a:spLocks noGrp="1"/>
          </p:cNvSpPr>
          <p:nvPr>
            <p:ph type="pic" sz="quarter" idx="12" hasCustomPrompt="1"/>
          </p:nvPr>
        </p:nvSpPr>
        <p:spPr>
          <a:xfrm>
            <a:off x="-1" y="0"/>
            <a:ext cx="12190413" cy="6858000"/>
          </a:xfrm>
          <a:solidFill>
            <a:schemeClr val="bg2"/>
          </a:solidFill>
        </p:spPr>
        <p:txBody>
          <a:bodyPr anchor="ctr" anchorCtr="0"/>
          <a:lstStyle>
            <a:lvl1pPr algn="ctr">
              <a:defRPr b="0">
                <a:solidFill>
                  <a:schemeClr val="bg1">
                    <a:lumMod val="75000"/>
                  </a:schemeClr>
                </a:solidFill>
              </a:defRPr>
            </a:lvl1pPr>
          </a:lstStyle>
          <a:p>
            <a:r>
              <a:rPr lang="en-US" dirty="0"/>
              <a:t>Add image by clicking on icon</a:t>
            </a:r>
          </a:p>
        </p:txBody>
      </p:sp>
      <p:sp>
        <p:nvSpPr>
          <p:cNvPr id="14" name="Bildplatzhalter 13">
            <a:extLst>
              <a:ext uri="{FF2B5EF4-FFF2-40B4-BE49-F238E27FC236}">
                <a16:creationId xmlns:a16="http://schemas.microsoft.com/office/drawing/2014/main" id="{82005671-BC18-4556-A92C-3A8D3CC8C06C}"/>
              </a:ext>
            </a:extLst>
          </p:cNvPr>
          <p:cNvSpPr>
            <a:spLocks noGrp="1"/>
          </p:cNvSpPr>
          <p:nvPr>
            <p:ph type="pic" sz="quarter" idx="16"/>
          </p:nvPr>
        </p:nvSpPr>
        <p:spPr>
          <a:xfrm>
            <a:off x="10769600" y="288925"/>
            <a:ext cx="1012825" cy="992188"/>
          </a:xfrm>
        </p:spPr>
        <p:txBody>
          <a:bodyPr/>
          <a:lstStyle>
            <a:lvl1pPr>
              <a:defRPr>
                <a:solidFill>
                  <a:schemeClr val="tx1"/>
                </a:solidFill>
              </a:defRPr>
            </a:lvl1pPr>
          </a:lstStyle>
          <a:p>
            <a:r>
              <a:rPr lang="de-DE"/>
              <a:t>Bild durch Klicken auf Symbol hinzufügen</a:t>
            </a:r>
            <a:endParaRPr lang="de-DE" dirty="0"/>
          </a:p>
        </p:txBody>
      </p:sp>
      <p:sp>
        <p:nvSpPr>
          <p:cNvPr id="3" name="Bildplatzhalter 2">
            <a:extLst>
              <a:ext uri="{FF2B5EF4-FFF2-40B4-BE49-F238E27FC236}">
                <a16:creationId xmlns:a16="http://schemas.microsoft.com/office/drawing/2014/main" id="{9EF0EC0B-65DF-4144-8EBC-1DB774BF7CB0}"/>
              </a:ext>
            </a:extLst>
          </p:cNvPr>
          <p:cNvSpPr>
            <a:spLocks noGrp="1"/>
          </p:cNvSpPr>
          <p:nvPr>
            <p:ph type="pic" sz="quarter" idx="13"/>
          </p:nvPr>
        </p:nvSpPr>
        <p:spPr>
          <a:xfrm>
            <a:off x="-1" y="3009900"/>
            <a:ext cx="3744912" cy="3860800"/>
          </a:xfrm>
        </p:spPr>
        <p:txBody>
          <a:bodyPr/>
          <a:lstStyle>
            <a:lvl1pPr>
              <a:defRPr>
                <a:solidFill>
                  <a:schemeClr val="tx1"/>
                </a:solidFill>
              </a:defRPr>
            </a:lvl1pPr>
          </a:lstStyle>
          <a:p>
            <a:r>
              <a:rPr lang="de-DE"/>
              <a:t>Bild durch Klicken auf Symbol hinzufügen</a:t>
            </a:r>
            <a:endParaRPr lang="de-DE" dirty="0"/>
          </a:p>
        </p:txBody>
      </p:sp>
      <p:sp>
        <p:nvSpPr>
          <p:cNvPr id="7" name="Titel 1"/>
          <p:cNvSpPr>
            <a:spLocks noGrp="1"/>
          </p:cNvSpPr>
          <p:nvPr>
            <p:ph type="ctrTitle" hasCustomPrompt="1"/>
          </p:nvPr>
        </p:nvSpPr>
        <p:spPr>
          <a:xfrm>
            <a:off x="406402" y="247647"/>
            <a:ext cx="8039100" cy="1007504"/>
          </a:xfrm>
          <a:prstGeom prst="rect">
            <a:avLst/>
          </a:prstGeom>
        </p:spPr>
        <p:txBody>
          <a:bodyPr anchor="b" anchorCtr="0"/>
          <a:lstStyle>
            <a:lvl1pPr algn="l">
              <a:defRPr sz="2400" cap="none" baseline="0">
                <a:solidFill>
                  <a:schemeClr val="bg1"/>
                </a:solidFill>
              </a:defRPr>
            </a:lvl1pPr>
          </a:lstStyle>
          <a:p>
            <a:r>
              <a:rPr lang="en-US" dirty="0"/>
              <a:t>Chapter page </a:t>
            </a:r>
            <a:r>
              <a:rPr lang="en-US" dirty="0" err="1"/>
              <a:t>Univers</a:t>
            </a:r>
            <a:r>
              <a:rPr lang="en-US" dirty="0"/>
              <a:t>, </a:t>
            </a:r>
            <a:br>
              <a:rPr lang="en-US" dirty="0"/>
            </a:br>
            <a:r>
              <a:rPr lang="en-US" dirty="0"/>
              <a:t>preferably on two lines, upper case</a:t>
            </a:r>
            <a:endParaRPr lang="de-DE" dirty="0"/>
          </a:p>
        </p:txBody>
      </p:sp>
      <p:sp>
        <p:nvSpPr>
          <p:cNvPr id="8" name="Untertitel 2"/>
          <p:cNvSpPr>
            <a:spLocks noGrp="1"/>
          </p:cNvSpPr>
          <p:nvPr>
            <p:ph type="subTitle" idx="1" hasCustomPrompt="1"/>
          </p:nvPr>
        </p:nvSpPr>
        <p:spPr>
          <a:xfrm>
            <a:off x="406400" y="1281532"/>
            <a:ext cx="8039101" cy="685346"/>
          </a:xfrm>
          <a:prstGeom prst="rect">
            <a:avLst/>
          </a:prstGeom>
        </p:spPr>
        <p:txBody>
          <a:bodyPr tIns="36000"/>
          <a:lstStyle>
            <a:lvl1pPr marL="0" indent="0" algn="l">
              <a:buNone/>
              <a:defRPr sz="1600" b="0">
                <a:solidFill>
                  <a:schemeClr val="bg1"/>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7" indent="0" algn="ctr">
              <a:buNone/>
              <a:defRPr>
                <a:solidFill>
                  <a:schemeClr val="tx1">
                    <a:tint val="75000"/>
                  </a:schemeClr>
                </a:solidFill>
              </a:defRPr>
            </a:lvl4pPr>
            <a:lvl5pPr marL="2438156" indent="0" algn="ctr">
              <a:buNone/>
              <a:defRPr>
                <a:solidFill>
                  <a:schemeClr val="tx1">
                    <a:tint val="75000"/>
                  </a:schemeClr>
                </a:solidFill>
              </a:defRPr>
            </a:lvl5pPr>
            <a:lvl6pPr marL="3047695"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2" indent="0" algn="ctr">
              <a:buNone/>
              <a:defRPr>
                <a:solidFill>
                  <a:schemeClr val="tx1">
                    <a:tint val="75000"/>
                  </a:schemeClr>
                </a:solidFill>
              </a:defRPr>
            </a:lvl9pPr>
          </a:lstStyle>
          <a:p>
            <a:r>
              <a:rPr lang="de-DE" dirty="0" err="1"/>
              <a:t>Presenter</a:t>
            </a:r>
            <a:r>
              <a:rPr lang="de-DE" dirty="0"/>
              <a:t>, Sales Unit</a:t>
            </a:r>
          </a:p>
        </p:txBody>
      </p:sp>
      <p:sp>
        <p:nvSpPr>
          <p:cNvPr id="9" name="Textplatzhalter 14">
            <a:extLst>
              <a:ext uri="{FF2B5EF4-FFF2-40B4-BE49-F238E27FC236}">
                <a16:creationId xmlns:a16="http://schemas.microsoft.com/office/drawing/2014/main" id="{A07AE9AE-3B35-7142-A810-143F199E4047}"/>
              </a:ext>
            </a:extLst>
          </p:cNvPr>
          <p:cNvSpPr txBox="1">
            <a:spLocks/>
          </p:cNvSpPr>
          <p:nvPr userDrawn="1"/>
        </p:nvSpPr>
        <p:spPr>
          <a:xfrm>
            <a:off x="227806" y="5305211"/>
            <a:ext cx="3359049" cy="409789"/>
          </a:xfrm>
          <a:prstGeom prst="rect">
            <a:avLst/>
          </a:prstGeom>
        </p:spPr>
        <p:txBody>
          <a:bodyPr vert="horz" lIns="0" tIns="0" rIns="0" bIns="0" rtlCol="0">
            <a:noAutofit/>
          </a:bodyPr>
          <a:lstStyle>
            <a:lvl1pPr marL="0" marR="0" indent="0" algn="r" defTabSz="1219078" rtl="0" eaLnBrk="1" fontAlgn="auto" latinLnBrk="0" hangingPunct="1">
              <a:lnSpc>
                <a:spcPct val="100000"/>
              </a:lnSpc>
              <a:spcBef>
                <a:spcPts val="0"/>
              </a:spcBef>
              <a:spcAft>
                <a:spcPts val="0"/>
              </a:spcAft>
              <a:buClr>
                <a:srgbClr val="DBDBDB">
                  <a:lumMod val="25000"/>
                </a:srgbClr>
              </a:buClr>
              <a:buSzTx/>
              <a:buFont typeface="Arial" panose="020B0604020202020204" pitchFamily="34" charset="0"/>
              <a:buNone/>
              <a:tabLst/>
              <a:defRPr sz="3600" b="0" kern="1200">
                <a:solidFill>
                  <a:schemeClr val="bg1"/>
                </a:solidFill>
                <a:latin typeface="Univers" panose="020B0503020202020204" pitchFamily="34" charset="0"/>
                <a:ea typeface="+mn-ea"/>
                <a:cs typeface="+mn-cs"/>
              </a:defRPr>
            </a:lvl1pPr>
            <a:lvl2pPr marL="0" marR="0" indent="0" algn="l" defTabSz="1219078" rtl="0" eaLnBrk="1" fontAlgn="auto" latinLnBrk="0" hangingPunct="1">
              <a:lnSpc>
                <a:spcPct val="100000"/>
              </a:lnSpc>
              <a:spcBef>
                <a:spcPts val="0"/>
              </a:spcBef>
              <a:spcAft>
                <a:spcPts val="0"/>
              </a:spcAft>
              <a:buClr>
                <a:srgbClr val="DBDBDB">
                  <a:lumMod val="25000"/>
                </a:srgbClr>
              </a:buClr>
              <a:buSzTx/>
              <a:buFont typeface="Arial" panose="020B0604020202020204" pitchFamily="34" charset="0"/>
              <a:buNone/>
              <a:tabLst/>
              <a:defRPr sz="2800" kern="1200">
                <a:solidFill>
                  <a:schemeClr val="bg1"/>
                </a:solidFill>
                <a:latin typeface="Univers" panose="020B0503020202020204" pitchFamily="34" charset="0"/>
                <a:ea typeface="+mn-ea"/>
                <a:cs typeface="+mn-cs"/>
              </a:defRPr>
            </a:lvl2pPr>
            <a:lvl3pPr marL="216000" marR="0" indent="-216000" algn="l" defTabSz="1219078" rtl="0" eaLnBrk="1" fontAlgn="auto" latinLnBrk="0" hangingPunct="1">
              <a:lnSpc>
                <a:spcPct val="100000"/>
              </a:lnSpc>
              <a:spcBef>
                <a:spcPts val="600"/>
              </a:spcBef>
              <a:spcAft>
                <a:spcPts val="0"/>
              </a:spcAft>
              <a:buClr>
                <a:srgbClr val="DBDBDB">
                  <a:lumMod val="25000"/>
                </a:srgbClr>
              </a:buClr>
              <a:buSzTx/>
              <a:buFont typeface="Wingdings 2" panose="05020102010507070707" pitchFamily="18" charset="2"/>
              <a:buChar char=""/>
              <a:tabLst/>
              <a:defRPr sz="2800" kern="1200">
                <a:solidFill>
                  <a:schemeClr val="bg1"/>
                </a:solidFill>
                <a:latin typeface="Univers" panose="020B0503020202020204" pitchFamily="34" charset="0"/>
                <a:ea typeface="+mn-ea"/>
                <a:cs typeface="+mn-cs"/>
              </a:defRPr>
            </a:lvl3pPr>
            <a:lvl4pPr marL="431800" marR="0" indent="-209550" algn="l" defTabSz="1219078" rtl="0" eaLnBrk="1" fontAlgn="auto" latinLnBrk="0" hangingPunct="1">
              <a:lnSpc>
                <a:spcPct val="100000"/>
              </a:lnSpc>
              <a:spcBef>
                <a:spcPts val="600"/>
              </a:spcBef>
              <a:spcAft>
                <a:spcPts val="0"/>
              </a:spcAft>
              <a:buClr>
                <a:srgbClr val="DBDBDB">
                  <a:lumMod val="25000"/>
                </a:srgbClr>
              </a:buClr>
              <a:buSzTx/>
              <a:buFont typeface="Symbol" panose="05050102010706020507" pitchFamily="18" charset="2"/>
              <a:buChar char="-"/>
              <a:tabLst/>
              <a:defRPr sz="2800" kern="1200">
                <a:solidFill>
                  <a:schemeClr val="bg1"/>
                </a:solidFill>
                <a:latin typeface="Univers" panose="020B0503020202020204" pitchFamily="34" charset="0"/>
                <a:ea typeface="+mn-ea"/>
                <a:cs typeface="+mn-cs"/>
              </a:defRPr>
            </a:lvl4pPr>
            <a:lvl5pPr marL="648000" marR="0" indent="-216000" algn="l" defTabSz="1219078" rtl="0" eaLnBrk="1" fontAlgn="auto" latinLnBrk="0" hangingPunct="1">
              <a:lnSpc>
                <a:spcPct val="100000"/>
              </a:lnSpc>
              <a:spcBef>
                <a:spcPts val="600"/>
              </a:spcBef>
              <a:spcAft>
                <a:spcPts val="0"/>
              </a:spcAft>
              <a:buClr>
                <a:srgbClr val="DBDBDB">
                  <a:lumMod val="25000"/>
                </a:srgbClr>
              </a:buClr>
              <a:buSzTx/>
              <a:buFont typeface="Wingdings 2" panose="05020102010507070707" pitchFamily="18" charset="2"/>
              <a:buChar char="¡"/>
              <a:tabLst/>
              <a:defRPr lang="de-DE" sz="2800" kern="1200">
                <a:solidFill>
                  <a:schemeClr val="bg1"/>
                </a:solidFill>
                <a:latin typeface="Univers" panose="020B0503020202020204" pitchFamily="34" charset="0"/>
                <a:ea typeface="+mn-ea"/>
                <a:cs typeface="+mn-cs"/>
              </a:defRPr>
            </a:lvl5pPr>
            <a:lvl6pPr marL="981075" marR="0" indent="-225425" algn="l" defTabSz="1219078" rtl="0" eaLnBrk="1" fontAlgn="auto" latinLnBrk="0" hangingPunct="1">
              <a:lnSpc>
                <a:spcPct val="100000"/>
              </a:lnSpc>
              <a:spcBef>
                <a:spcPts val="400"/>
              </a:spcBef>
              <a:spcAft>
                <a:spcPts val="0"/>
              </a:spcAft>
              <a:buClr>
                <a:srgbClr val="DBDBDB">
                  <a:lumMod val="25000"/>
                </a:srgbClr>
              </a:buClr>
              <a:buSzTx/>
              <a:buFont typeface="Symbol" panose="05050102010706020507" pitchFamily="18" charset="2"/>
              <a:buChar char="-"/>
              <a:tabLst/>
              <a:defRPr sz="2200" kern="1200">
                <a:solidFill>
                  <a:schemeClr val="bg2"/>
                </a:solidFill>
                <a:latin typeface="+mn-lt"/>
                <a:ea typeface="+mn-ea"/>
                <a:cs typeface="+mn-cs"/>
              </a:defRPr>
            </a:lvl6pPr>
            <a:lvl7pPr marL="1157288" marR="0" indent="-176213" algn="l" defTabSz="1219078" rtl="0" eaLnBrk="1" fontAlgn="auto" latinLnBrk="0" hangingPunct="1">
              <a:lnSpc>
                <a:spcPct val="100000"/>
              </a:lnSpc>
              <a:spcBef>
                <a:spcPct val="20000"/>
              </a:spcBef>
              <a:spcAft>
                <a:spcPts val="0"/>
              </a:spcAft>
              <a:buClrTx/>
              <a:buSzTx/>
              <a:buFont typeface="Wingdings" pitchFamily="2" charset="2"/>
              <a:buChar char="§"/>
              <a:tabLst/>
              <a:defRPr sz="2700" kern="1200">
                <a:solidFill>
                  <a:schemeClr val="tx1"/>
                </a:solidFill>
                <a:latin typeface="+mn-lt"/>
                <a:ea typeface="+mn-ea"/>
                <a:cs typeface="+mn-cs"/>
              </a:defRPr>
            </a:lvl7pPr>
            <a:lvl8pPr marL="1381125" marR="0" indent="-223838" algn="l" defTabSz="1219078" rtl="0" eaLnBrk="1" fontAlgn="auto" latinLnBrk="0" hangingPunct="1">
              <a:lnSpc>
                <a:spcPct val="100000"/>
              </a:lnSpc>
              <a:spcBef>
                <a:spcPct val="20000"/>
              </a:spcBef>
              <a:spcAft>
                <a:spcPts val="0"/>
              </a:spcAft>
              <a:buClrTx/>
              <a:buSzTx/>
              <a:buFont typeface="Symbol" pitchFamily="2" charset="2"/>
              <a:buChar char="-"/>
              <a:tabLst/>
              <a:defRPr sz="2700" kern="1200">
                <a:solidFill>
                  <a:schemeClr val="tx1"/>
                </a:solidFill>
                <a:latin typeface="+mn-lt"/>
                <a:ea typeface="+mn-ea"/>
                <a:cs typeface="+mn-cs"/>
              </a:defRPr>
            </a:lvl8pPr>
            <a:lvl9pPr marL="1557338" marR="0" indent="-176213" algn="l" defTabSz="1219078" rtl="0" eaLnBrk="1" fontAlgn="auto" latinLnBrk="0" hangingPunct="1">
              <a:lnSpc>
                <a:spcPct val="100000"/>
              </a:lnSpc>
              <a:spcBef>
                <a:spcPct val="20000"/>
              </a:spcBef>
              <a:spcAft>
                <a:spcPts val="0"/>
              </a:spcAft>
              <a:buClrTx/>
              <a:buSzTx/>
              <a:buFont typeface="Wingdings" pitchFamily="2" charset="2"/>
              <a:buChar char="§"/>
              <a:tabLst/>
              <a:defRPr sz="2700" kern="1200">
                <a:solidFill>
                  <a:schemeClr val="tx1"/>
                </a:solidFill>
                <a:latin typeface="+mn-lt"/>
                <a:ea typeface="+mn-ea"/>
                <a:cs typeface="+mn-cs"/>
              </a:defRPr>
            </a:lvl9pPr>
          </a:lstStyle>
          <a:p>
            <a:pPr algn="l"/>
            <a:r>
              <a:rPr lang="de-DE" dirty="0"/>
              <a:t>COMPANY</a:t>
            </a:r>
          </a:p>
        </p:txBody>
      </p:sp>
      <p:sp>
        <p:nvSpPr>
          <p:cNvPr id="11" name="Textplatzhalter 14">
            <a:extLst>
              <a:ext uri="{FF2B5EF4-FFF2-40B4-BE49-F238E27FC236}">
                <a16:creationId xmlns:a16="http://schemas.microsoft.com/office/drawing/2014/main" id="{0979FE0B-293C-5B45-A017-B3AC44FF64AD}"/>
              </a:ext>
            </a:extLst>
          </p:cNvPr>
          <p:cNvSpPr txBox="1">
            <a:spLocks/>
          </p:cNvSpPr>
          <p:nvPr userDrawn="1"/>
        </p:nvSpPr>
        <p:spPr>
          <a:xfrm>
            <a:off x="304006" y="4724400"/>
            <a:ext cx="3359049" cy="409789"/>
          </a:xfrm>
          <a:prstGeom prst="rect">
            <a:avLst/>
          </a:prstGeom>
        </p:spPr>
        <p:txBody>
          <a:bodyPr vert="horz" lIns="0" tIns="0" rIns="0" bIns="0" rtlCol="0">
            <a:noAutofit/>
          </a:bodyPr>
          <a:lstStyle/>
          <a:p>
            <a:pPr marL="0" marR="0" lvl="0" indent="0" algn="l" defTabSz="1219078" rtl="0" eaLnBrk="1" fontAlgn="auto" latinLnBrk="0" hangingPunct="1">
              <a:lnSpc>
                <a:spcPct val="100000"/>
              </a:lnSpc>
              <a:spcBef>
                <a:spcPts val="0"/>
              </a:spcBef>
              <a:spcAft>
                <a:spcPts val="0"/>
              </a:spcAft>
              <a:buClr>
                <a:srgbClr val="DBDBDB">
                  <a:lumMod val="25000"/>
                </a:srgbClr>
              </a:buClr>
              <a:buSzTx/>
              <a:buFont typeface="Arial" panose="020B0604020202020204" pitchFamily="34" charset="0"/>
              <a:buNone/>
              <a:tabLst/>
              <a:defRPr/>
            </a:pPr>
            <a:r>
              <a:rPr kumimoji="0" lang="de-DE" sz="2600" b="0"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Titel</a:t>
            </a:r>
          </a:p>
        </p:txBody>
      </p:sp>
    </p:spTree>
    <p:extLst>
      <p:ext uri="{BB962C8B-B14F-4D97-AF65-F5344CB8AC3E}">
        <p14:creationId xmlns:p14="http://schemas.microsoft.com/office/powerpoint/2010/main" val="169188144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Kapiteltrenner 1">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06400" y="4042334"/>
            <a:ext cx="11377613" cy="1007504"/>
          </a:xfrm>
          <a:prstGeom prst="rect">
            <a:avLst/>
          </a:prstGeom>
        </p:spPr>
        <p:txBody>
          <a:bodyPr anchor="b" anchorCtr="0"/>
          <a:lstStyle>
            <a:lvl1pPr algn="l">
              <a:defRPr sz="3600">
                <a:solidFill>
                  <a:schemeClr val="tx2"/>
                </a:solidFill>
              </a:defRPr>
            </a:lvl1pPr>
          </a:lstStyle>
          <a:p>
            <a:r>
              <a:rPr lang="de-DE" dirty="0"/>
              <a:t>CHAPTER PAGE ARIAL, </a:t>
            </a:r>
            <a:br>
              <a:rPr lang="de-DE" dirty="0"/>
            </a:br>
            <a:r>
              <a:rPr lang="de-DE" dirty="0"/>
              <a:t>PREFERABLY ON TWO LINES, UPPER CASE</a:t>
            </a:r>
          </a:p>
        </p:txBody>
      </p:sp>
      <p:sp>
        <p:nvSpPr>
          <p:cNvPr id="3" name="Untertitel 2"/>
          <p:cNvSpPr>
            <a:spLocks noGrp="1"/>
          </p:cNvSpPr>
          <p:nvPr>
            <p:ph type="subTitle" idx="1" hasCustomPrompt="1"/>
          </p:nvPr>
        </p:nvSpPr>
        <p:spPr>
          <a:xfrm>
            <a:off x="406400" y="5049837"/>
            <a:ext cx="11360328" cy="685346"/>
          </a:xfrm>
          <a:prstGeom prst="rect">
            <a:avLst/>
          </a:prstGeom>
        </p:spPr>
        <p:txBody>
          <a:bodyPr tIns="36000"/>
          <a:lstStyle>
            <a:lvl1pPr marL="0" indent="0" algn="l">
              <a:buNone/>
              <a:defRPr sz="2400" b="0">
                <a:solidFill>
                  <a:schemeClr val="accent3"/>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7" indent="0" algn="ctr">
              <a:buNone/>
              <a:defRPr>
                <a:solidFill>
                  <a:schemeClr val="tx1">
                    <a:tint val="75000"/>
                  </a:schemeClr>
                </a:solidFill>
              </a:defRPr>
            </a:lvl4pPr>
            <a:lvl5pPr marL="2438156" indent="0" algn="ctr">
              <a:buNone/>
              <a:defRPr>
                <a:solidFill>
                  <a:schemeClr val="tx1">
                    <a:tint val="75000"/>
                  </a:schemeClr>
                </a:solidFill>
              </a:defRPr>
            </a:lvl5pPr>
            <a:lvl6pPr marL="3047695"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2" indent="0" algn="ctr">
              <a:buNone/>
              <a:defRPr>
                <a:solidFill>
                  <a:schemeClr val="tx1">
                    <a:tint val="75000"/>
                  </a:schemeClr>
                </a:solidFill>
              </a:defRPr>
            </a:lvl9pPr>
          </a:lstStyle>
          <a:p>
            <a:r>
              <a:rPr lang="de-DE" dirty="0"/>
              <a:t>Optional: </a:t>
            </a:r>
            <a:r>
              <a:rPr lang="de-DE" dirty="0" err="1"/>
              <a:t>line</a:t>
            </a:r>
            <a:r>
              <a:rPr lang="de-DE" dirty="0"/>
              <a:t> </a:t>
            </a:r>
            <a:r>
              <a:rPr lang="de-DE" dirty="0" err="1"/>
              <a:t>below</a:t>
            </a:r>
            <a:endParaRPr lang="de-DE" dirty="0"/>
          </a:p>
        </p:txBody>
      </p:sp>
    </p:spTree>
    <p:extLst>
      <p:ext uri="{BB962C8B-B14F-4D97-AF65-F5344CB8AC3E}">
        <p14:creationId xmlns:p14="http://schemas.microsoft.com/office/powerpoint/2010/main" val="3439062099"/>
      </p:ext>
    </p:extLst>
  </p:cSld>
  <p:clrMapOvr>
    <a:masterClrMapping/>
  </p:clrMapOvr>
  <p:transition spd="med">
    <p:fade/>
  </p:transition>
  <p:extLst>
    <p:ext uri="{DCECCB84-F9BA-43D5-87BE-67443E8EF086}">
      <p15:sldGuideLst xmlns:p15="http://schemas.microsoft.com/office/powerpoint/2012/main">
        <p15:guide id="2" pos="256">
          <p15:clr>
            <a:srgbClr val="FBAE40"/>
          </p15:clr>
        </p15:guide>
        <p15:guide id="3" pos="7423">
          <p15:clr>
            <a:srgbClr val="FBAE40"/>
          </p15:clr>
        </p15:guide>
        <p15:guide id="4" orient="horz" pos="210">
          <p15:clr>
            <a:srgbClr val="FBAE40"/>
          </p15:clr>
        </p15:guide>
        <p15:guide id="5" orient="horz" pos="2364">
          <p15:clr>
            <a:srgbClr val="FBAE40"/>
          </p15:clr>
        </p15:guide>
        <p15:guide id="6" orient="horz" pos="2546">
          <p15:clr>
            <a:srgbClr val="FBAE40"/>
          </p15:clr>
        </p15:guide>
        <p15:guide id="7" orient="horz" pos="318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0 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19B3D4-B842-447E-9ACA-6E492135C453}"/>
              </a:ext>
            </a:extLst>
          </p:cNvPr>
          <p:cNvSpPr>
            <a:spLocks noGrp="1"/>
          </p:cNvSpPr>
          <p:nvPr>
            <p:ph type="title" hasCustomPrompt="1"/>
          </p:nvPr>
        </p:nvSpPr>
        <p:spPr>
          <a:xfrm>
            <a:off x="406401" y="342586"/>
            <a:ext cx="3096518" cy="936000"/>
          </a:xfrm>
        </p:spPr>
        <p:txBody>
          <a:bodyPr/>
          <a:lstStyle>
            <a:lvl1pPr>
              <a:defRPr/>
            </a:lvl1pPr>
          </a:lstStyle>
          <a:p>
            <a:r>
              <a:rPr lang="en-US" dirty="0"/>
              <a:t>Edit format templates of the text master</a:t>
            </a:r>
            <a:endParaRPr lang="de-DE" dirty="0"/>
          </a:p>
        </p:txBody>
      </p:sp>
      <p:sp>
        <p:nvSpPr>
          <p:cNvPr id="3" name="Datumsplatzhalter 2">
            <a:extLst>
              <a:ext uri="{FF2B5EF4-FFF2-40B4-BE49-F238E27FC236}">
                <a16:creationId xmlns:a16="http://schemas.microsoft.com/office/drawing/2014/main" id="{6FFF3A8A-4A23-4336-81D8-AADCD3588EF0}"/>
              </a:ext>
            </a:extLst>
          </p:cNvPr>
          <p:cNvSpPr>
            <a:spLocks noGrp="1"/>
          </p:cNvSpPr>
          <p:nvPr>
            <p:ph type="dt" sz="half" idx="10"/>
          </p:nvPr>
        </p:nvSpPr>
        <p:spPr/>
        <p:txBody>
          <a:bodyPr/>
          <a:lstStyle/>
          <a:p>
            <a:r>
              <a:rPr lang="en-US">
                <a:solidFill>
                  <a:srgbClr val="6F6F6F"/>
                </a:solidFill>
              </a:rPr>
              <a:t>21/08/2019</a:t>
            </a:r>
            <a:endParaRPr lang="de-DE" dirty="0">
              <a:solidFill>
                <a:srgbClr val="6F6F6F"/>
              </a:solidFill>
            </a:endParaRPr>
          </a:p>
        </p:txBody>
      </p:sp>
      <p:sp>
        <p:nvSpPr>
          <p:cNvPr id="4" name="Foliennummernplatzhalter 3">
            <a:extLst>
              <a:ext uri="{FF2B5EF4-FFF2-40B4-BE49-F238E27FC236}">
                <a16:creationId xmlns:a16="http://schemas.microsoft.com/office/drawing/2014/main" id="{CB9BCACE-1DB2-4469-9262-083C9CF6B23F}"/>
              </a:ext>
            </a:extLst>
          </p:cNvPr>
          <p:cNvSpPr>
            <a:spLocks noGrp="1"/>
          </p:cNvSpPr>
          <p:nvPr>
            <p:ph type="sldNum" sz="quarter" idx="11"/>
          </p:nvPr>
        </p:nvSpPr>
        <p:spPr/>
        <p:txBody>
          <a:bodyPr/>
          <a:lstStyle/>
          <a:p>
            <a:fld id="{221F1D72-F2AC-4B6E-A46C-E63D2CF40C7B}" type="slidenum">
              <a:rPr lang="de-DE" smtClean="0">
                <a:solidFill>
                  <a:srgbClr val="6F6F6F"/>
                </a:solidFill>
              </a:rPr>
              <a:pPr/>
              <a:t>‹#›</a:t>
            </a:fld>
            <a:endParaRPr lang="de-DE" dirty="0">
              <a:solidFill>
                <a:srgbClr val="6F6F6F"/>
              </a:solidFill>
            </a:endParaRPr>
          </a:p>
        </p:txBody>
      </p:sp>
      <p:sp>
        <p:nvSpPr>
          <p:cNvPr id="52" name="Fußzeilenplatzhalter 51">
            <a:extLst>
              <a:ext uri="{FF2B5EF4-FFF2-40B4-BE49-F238E27FC236}">
                <a16:creationId xmlns:a16="http://schemas.microsoft.com/office/drawing/2014/main" id="{B365B52A-322E-4489-8F65-959A57D451F5}"/>
              </a:ext>
            </a:extLst>
          </p:cNvPr>
          <p:cNvSpPr>
            <a:spLocks noGrp="1"/>
          </p:cNvSpPr>
          <p:nvPr>
            <p:ph type="ftr" sz="quarter" idx="12"/>
          </p:nvPr>
        </p:nvSpPr>
        <p:spPr/>
        <p:txBody>
          <a:bodyPr/>
          <a:lstStyle/>
          <a:p>
            <a:r>
              <a:rPr lang="de-DE">
                <a:solidFill>
                  <a:srgbClr val="6F6F6F"/>
                </a:solidFill>
              </a:rPr>
              <a:t>NZSUG Auckland Event + SAP Forum</a:t>
            </a:r>
            <a:endParaRPr lang="de-DE" dirty="0">
              <a:solidFill>
                <a:srgbClr val="6F6F6F"/>
              </a:solidFill>
            </a:endParaRPr>
          </a:p>
        </p:txBody>
      </p:sp>
      <p:sp>
        <p:nvSpPr>
          <p:cNvPr id="6" name="Freihandform 5">
            <a:extLst>
              <a:ext uri="{FF2B5EF4-FFF2-40B4-BE49-F238E27FC236}">
                <a16:creationId xmlns:a16="http://schemas.microsoft.com/office/drawing/2014/main" id="{A5CFAFD0-6109-AA4D-9EE9-B155A16CC378}"/>
              </a:ext>
            </a:extLst>
          </p:cNvPr>
          <p:cNvSpPr/>
          <p:nvPr userDrawn="1"/>
        </p:nvSpPr>
        <p:spPr>
          <a:xfrm>
            <a:off x="3770134" y="1"/>
            <a:ext cx="4939579" cy="1879600"/>
          </a:xfrm>
          <a:custGeom>
            <a:avLst/>
            <a:gdLst>
              <a:gd name="connsiteX0" fmla="*/ 0 w 4939579"/>
              <a:gd name="connsiteY0" fmla="*/ 0 h 1868189"/>
              <a:gd name="connsiteX1" fmla="*/ 4939579 w 4939579"/>
              <a:gd name="connsiteY1" fmla="*/ 0 h 1868189"/>
              <a:gd name="connsiteX2" fmla="*/ 4936221 w 4939579"/>
              <a:gd name="connsiteY2" fmla="*/ 5866 h 1868189"/>
              <a:gd name="connsiteX3" fmla="*/ 4018199 w 4939579"/>
              <a:gd name="connsiteY3" fmla="*/ 1609317 h 1868189"/>
              <a:gd name="connsiteX4" fmla="*/ 3585529 w 4939579"/>
              <a:gd name="connsiteY4" fmla="*/ 1868189 h 1868189"/>
              <a:gd name="connsiteX5" fmla="*/ 1354221 w 4939579"/>
              <a:gd name="connsiteY5" fmla="*/ 1868189 h 1868189"/>
              <a:gd name="connsiteX6" fmla="*/ 919286 w 4939579"/>
              <a:gd name="connsiteY6" fmla="*/ 1607046 h 1868189"/>
              <a:gd name="connsiteX7" fmla="*/ 948 w 4939579"/>
              <a:gd name="connsiteY7" fmla="*/ 1657 h 1868189"/>
              <a:gd name="connsiteX8" fmla="*/ 0 w 4939579"/>
              <a:gd name="connsiteY8" fmla="*/ 0 h 1868189"/>
              <a:gd name="connsiteX0" fmla="*/ 0 w 4939579"/>
              <a:gd name="connsiteY0" fmla="*/ 0 h 1879600"/>
              <a:gd name="connsiteX1" fmla="*/ 4939579 w 4939579"/>
              <a:gd name="connsiteY1" fmla="*/ 0 h 1879600"/>
              <a:gd name="connsiteX2" fmla="*/ 4936221 w 4939579"/>
              <a:gd name="connsiteY2" fmla="*/ 5866 h 1879600"/>
              <a:gd name="connsiteX3" fmla="*/ 4018199 w 4939579"/>
              <a:gd name="connsiteY3" fmla="*/ 1609317 h 1879600"/>
              <a:gd name="connsiteX4" fmla="*/ 3585529 w 4939579"/>
              <a:gd name="connsiteY4" fmla="*/ 1868189 h 1879600"/>
              <a:gd name="connsiteX5" fmla="*/ 1354221 w 4939579"/>
              <a:gd name="connsiteY5" fmla="*/ 1868189 h 1879600"/>
              <a:gd name="connsiteX6" fmla="*/ 919286 w 4939579"/>
              <a:gd name="connsiteY6" fmla="*/ 1607046 h 1879600"/>
              <a:gd name="connsiteX7" fmla="*/ 948 w 4939579"/>
              <a:gd name="connsiteY7" fmla="*/ 1657 h 1879600"/>
              <a:gd name="connsiteX8" fmla="*/ 0 w 4939579"/>
              <a:gd name="connsiteY8" fmla="*/ 0 h 1879600"/>
              <a:gd name="connsiteX0" fmla="*/ 0 w 4939579"/>
              <a:gd name="connsiteY0" fmla="*/ 0 h 1879600"/>
              <a:gd name="connsiteX1" fmla="*/ 4939579 w 4939579"/>
              <a:gd name="connsiteY1" fmla="*/ 0 h 1879600"/>
              <a:gd name="connsiteX2" fmla="*/ 4936221 w 4939579"/>
              <a:gd name="connsiteY2" fmla="*/ 5866 h 1879600"/>
              <a:gd name="connsiteX3" fmla="*/ 4018199 w 4939579"/>
              <a:gd name="connsiteY3" fmla="*/ 1609317 h 1879600"/>
              <a:gd name="connsiteX4" fmla="*/ 3585529 w 4939579"/>
              <a:gd name="connsiteY4" fmla="*/ 1868189 h 1879600"/>
              <a:gd name="connsiteX5" fmla="*/ 1354221 w 4939579"/>
              <a:gd name="connsiteY5" fmla="*/ 1868189 h 1879600"/>
              <a:gd name="connsiteX6" fmla="*/ 919286 w 4939579"/>
              <a:gd name="connsiteY6" fmla="*/ 1607046 h 1879600"/>
              <a:gd name="connsiteX7" fmla="*/ 948 w 4939579"/>
              <a:gd name="connsiteY7" fmla="*/ 1657 h 1879600"/>
              <a:gd name="connsiteX8" fmla="*/ 0 w 4939579"/>
              <a:gd name="connsiteY8" fmla="*/ 0 h 1879600"/>
              <a:gd name="connsiteX0" fmla="*/ 0 w 4939579"/>
              <a:gd name="connsiteY0" fmla="*/ 0 h 1879600"/>
              <a:gd name="connsiteX1" fmla="*/ 4939579 w 4939579"/>
              <a:gd name="connsiteY1" fmla="*/ 0 h 1879600"/>
              <a:gd name="connsiteX2" fmla="*/ 4936221 w 4939579"/>
              <a:gd name="connsiteY2" fmla="*/ 5866 h 1879600"/>
              <a:gd name="connsiteX3" fmla="*/ 4018199 w 4939579"/>
              <a:gd name="connsiteY3" fmla="*/ 1609317 h 1879600"/>
              <a:gd name="connsiteX4" fmla="*/ 3585529 w 4939579"/>
              <a:gd name="connsiteY4" fmla="*/ 1868189 h 1879600"/>
              <a:gd name="connsiteX5" fmla="*/ 1354221 w 4939579"/>
              <a:gd name="connsiteY5" fmla="*/ 1868189 h 1879600"/>
              <a:gd name="connsiteX6" fmla="*/ 919286 w 4939579"/>
              <a:gd name="connsiteY6" fmla="*/ 1607046 h 1879600"/>
              <a:gd name="connsiteX7" fmla="*/ 948 w 4939579"/>
              <a:gd name="connsiteY7" fmla="*/ 1657 h 1879600"/>
              <a:gd name="connsiteX8" fmla="*/ 0 w 4939579"/>
              <a:gd name="connsiteY8" fmla="*/ 0 h 1879600"/>
              <a:gd name="connsiteX0" fmla="*/ 0 w 4939579"/>
              <a:gd name="connsiteY0" fmla="*/ 0 h 1879600"/>
              <a:gd name="connsiteX1" fmla="*/ 4939579 w 4939579"/>
              <a:gd name="connsiteY1" fmla="*/ 0 h 1879600"/>
              <a:gd name="connsiteX2" fmla="*/ 4936221 w 4939579"/>
              <a:gd name="connsiteY2" fmla="*/ 5866 h 1879600"/>
              <a:gd name="connsiteX3" fmla="*/ 4018199 w 4939579"/>
              <a:gd name="connsiteY3" fmla="*/ 1609317 h 1879600"/>
              <a:gd name="connsiteX4" fmla="*/ 3585529 w 4939579"/>
              <a:gd name="connsiteY4" fmla="*/ 1868189 h 1879600"/>
              <a:gd name="connsiteX5" fmla="*/ 1354221 w 4939579"/>
              <a:gd name="connsiteY5" fmla="*/ 1868189 h 1879600"/>
              <a:gd name="connsiteX6" fmla="*/ 919286 w 4939579"/>
              <a:gd name="connsiteY6" fmla="*/ 1607046 h 1879600"/>
              <a:gd name="connsiteX7" fmla="*/ 948 w 4939579"/>
              <a:gd name="connsiteY7" fmla="*/ 1657 h 1879600"/>
              <a:gd name="connsiteX8" fmla="*/ 0 w 4939579"/>
              <a:gd name="connsiteY8" fmla="*/ 0 h 187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39579" h="1879600">
                <a:moveTo>
                  <a:pt x="0" y="0"/>
                </a:moveTo>
                <a:lnTo>
                  <a:pt x="4939579" y="0"/>
                </a:lnTo>
                <a:lnTo>
                  <a:pt x="4936221" y="5866"/>
                </a:lnTo>
                <a:lnTo>
                  <a:pt x="4018199" y="1609317"/>
                </a:lnTo>
                <a:cubicBezTo>
                  <a:pt x="3861242" y="1879378"/>
                  <a:pt x="3865395" y="1859721"/>
                  <a:pt x="3585529" y="1868189"/>
                </a:cubicBezTo>
                <a:cubicBezTo>
                  <a:pt x="3305663" y="1876657"/>
                  <a:pt x="2097990" y="1868189"/>
                  <a:pt x="1354221" y="1868189"/>
                </a:cubicBezTo>
                <a:cubicBezTo>
                  <a:pt x="1037843" y="1879600"/>
                  <a:pt x="1046228" y="1817840"/>
                  <a:pt x="919286" y="1607046"/>
                </a:cubicBezTo>
                <a:lnTo>
                  <a:pt x="948" y="1657"/>
                </a:lnTo>
                <a:lnTo>
                  <a:pt x="0" y="0"/>
                </a:lnTo>
                <a:close/>
              </a:path>
            </a:pathLst>
          </a:cu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Univers"/>
              <a:ea typeface="+mn-ea"/>
              <a:cs typeface="+mn-cs"/>
            </a:endParaRPr>
          </a:p>
        </p:txBody>
      </p:sp>
      <p:sp>
        <p:nvSpPr>
          <p:cNvPr id="8" name="Freihandform 7">
            <a:extLst>
              <a:ext uri="{FF2B5EF4-FFF2-40B4-BE49-F238E27FC236}">
                <a16:creationId xmlns:a16="http://schemas.microsoft.com/office/drawing/2014/main" id="{9A114AE2-CE22-FC45-97D6-BF9B6A4F3CB1}"/>
              </a:ext>
            </a:extLst>
          </p:cNvPr>
          <p:cNvSpPr/>
          <p:nvPr userDrawn="1"/>
        </p:nvSpPr>
        <p:spPr>
          <a:xfrm rot="10800000">
            <a:off x="4472094" y="6172200"/>
            <a:ext cx="3551818" cy="685802"/>
          </a:xfrm>
          <a:custGeom>
            <a:avLst/>
            <a:gdLst>
              <a:gd name="connsiteX0" fmla="*/ 0 w 4939579"/>
              <a:gd name="connsiteY0" fmla="*/ 0 h 1868189"/>
              <a:gd name="connsiteX1" fmla="*/ 4939579 w 4939579"/>
              <a:gd name="connsiteY1" fmla="*/ 0 h 1868189"/>
              <a:gd name="connsiteX2" fmla="*/ 4936221 w 4939579"/>
              <a:gd name="connsiteY2" fmla="*/ 5866 h 1868189"/>
              <a:gd name="connsiteX3" fmla="*/ 4018199 w 4939579"/>
              <a:gd name="connsiteY3" fmla="*/ 1609317 h 1868189"/>
              <a:gd name="connsiteX4" fmla="*/ 3585529 w 4939579"/>
              <a:gd name="connsiteY4" fmla="*/ 1868189 h 1868189"/>
              <a:gd name="connsiteX5" fmla="*/ 1354221 w 4939579"/>
              <a:gd name="connsiteY5" fmla="*/ 1868189 h 1868189"/>
              <a:gd name="connsiteX6" fmla="*/ 919286 w 4939579"/>
              <a:gd name="connsiteY6" fmla="*/ 1607046 h 1868189"/>
              <a:gd name="connsiteX7" fmla="*/ 948 w 4939579"/>
              <a:gd name="connsiteY7" fmla="*/ 1657 h 1868189"/>
              <a:gd name="connsiteX8" fmla="*/ 0 w 4939579"/>
              <a:gd name="connsiteY8" fmla="*/ 0 h 1868189"/>
              <a:gd name="connsiteX0" fmla="*/ 0 w 4939579"/>
              <a:gd name="connsiteY0" fmla="*/ 0 h 1879600"/>
              <a:gd name="connsiteX1" fmla="*/ 4939579 w 4939579"/>
              <a:gd name="connsiteY1" fmla="*/ 0 h 1879600"/>
              <a:gd name="connsiteX2" fmla="*/ 4936221 w 4939579"/>
              <a:gd name="connsiteY2" fmla="*/ 5866 h 1879600"/>
              <a:gd name="connsiteX3" fmla="*/ 4018199 w 4939579"/>
              <a:gd name="connsiteY3" fmla="*/ 1609317 h 1879600"/>
              <a:gd name="connsiteX4" fmla="*/ 3585529 w 4939579"/>
              <a:gd name="connsiteY4" fmla="*/ 1868189 h 1879600"/>
              <a:gd name="connsiteX5" fmla="*/ 1354221 w 4939579"/>
              <a:gd name="connsiteY5" fmla="*/ 1868189 h 1879600"/>
              <a:gd name="connsiteX6" fmla="*/ 919286 w 4939579"/>
              <a:gd name="connsiteY6" fmla="*/ 1607046 h 1879600"/>
              <a:gd name="connsiteX7" fmla="*/ 948 w 4939579"/>
              <a:gd name="connsiteY7" fmla="*/ 1657 h 1879600"/>
              <a:gd name="connsiteX8" fmla="*/ 0 w 4939579"/>
              <a:gd name="connsiteY8" fmla="*/ 0 h 1879600"/>
              <a:gd name="connsiteX0" fmla="*/ 0 w 4939579"/>
              <a:gd name="connsiteY0" fmla="*/ 0 h 1879600"/>
              <a:gd name="connsiteX1" fmla="*/ 4939579 w 4939579"/>
              <a:gd name="connsiteY1" fmla="*/ 0 h 1879600"/>
              <a:gd name="connsiteX2" fmla="*/ 4936221 w 4939579"/>
              <a:gd name="connsiteY2" fmla="*/ 5866 h 1879600"/>
              <a:gd name="connsiteX3" fmla="*/ 4018199 w 4939579"/>
              <a:gd name="connsiteY3" fmla="*/ 1609317 h 1879600"/>
              <a:gd name="connsiteX4" fmla="*/ 3585529 w 4939579"/>
              <a:gd name="connsiteY4" fmla="*/ 1868189 h 1879600"/>
              <a:gd name="connsiteX5" fmla="*/ 1354221 w 4939579"/>
              <a:gd name="connsiteY5" fmla="*/ 1868189 h 1879600"/>
              <a:gd name="connsiteX6" fmla="*/ 919286 w 4939579"/>
              <a:gd name="connsiteY6" fmla="*/ 1607046 h 1879600"/>
              <a:gd name="connsiteX7" fmla="*/ 948 w 4939579"/>
              <a:gd name="connsiteY7" fmla="*/ 1657 h 1879600"/>
              <a:gd name="connsiteX8" fmla="*/ 0 w 4939579"/>
              <a:gd name="connsiteY8" fmla="*/ 0 h 1879600"/>
              <a:gd name="connsiteX0" fmla="*/ 0 w 4939579"/>
              <a:gd name="connsiteY0" fmla="*/ 0 h 1879600"/>
              <a:gd name="connsiteX1" fmla="*/ 4939579 w 4939579"/>
              <a:gd name="connsiteY1" fmla="*/ 0 h 1879600"/>
              <a:gd name="connsiteX2" fmla="*/ 4936221 w 4939579"/>
              <a:gd name="connsiteY2" fmla="*/ 5866 h 1879600"/>
              <a:gd name="connsiteX3" fmla="*/ 4018199 w 4939579"/>
              <a:gd name="connsiteY3" fmla="*/ 1609317 h 1879600"/>
              <a:gd name="connsiteX4" fmla="*/ 3585529 w 4939579"/>
              <a:gd name="connsiteY4" fmla="*/ 1868189 h 1879600"/>
              <a:gd name="connsiteX5" fmla="*/ 1354221 w 4939579"/>
              <a:gd name="connsiteY5" fmla="*/ 1868189 h 1879600"/>
              <a:gd name="connsiteX6" fmla="*/ 919286 w 4939579"/>
              <a:gd name="connsiteY6" fmla="*/ 1607046 h 1879600"/>
              <a:gd name="connsiteX7" fmla="*/ 948 w 4939579"/>
              <a:gd name="connsiteY7" fmla="*/ 1657 h 1879600"/>
              <a:gd name="connsiteX8" fmla="*/ 0 w 4939579"/>
              <a:gd name="connsiteY8" fmla="*/ 0 h 1879600"/>
              <a:gd name="connsiteX0" fmla="*/ 0 w 4939579"/>
              <a:gd name="connsiteY0" fmla="*/ 0 h 1879600"/>
              <a:gd name="connsiteX1" fmla="*/ 4939579 w 4939579"/>
              <a:gd name="connsiteY1" fmla="*/ 0 h 1879600"/>
              <a:gd name="connsiteX2" fmla="*/ 4936221 w 4939579"/>
              <a:gd name="connsiteY2" fmla="*/ 5866 h 1879600"/>
              <a:gd name="connsiteX3" fmla="*/ 4018199 w 4939579"/>
              <a:gd name="connsiteY3" fmla="*/ 1609317 h 1879600"/>
              <a:gd name="connsiteX4" fmla="*/ 3585529 w 4939579"/>
              <a:gd name="connsiteY4" fmla="*/ 1868189 h 1879600"/>
              <a:gd name="connsiteX5" fmla="*/ 1354221 w 4939579"/>
              <a:gd name="connsiteY5" fmla="*/ 1868189 h 1879600"/>
              <a:gd name="connsiteX6" fmla="*/ 919286 w 4939579"/>
              <a:gd name="connsiteY6" fmla="*/ 1607046 h 1879600"/>
              <a:gd name="connsiteX7" fmla="*/ 948 w 4939579"/>
              <a:gd name="connsiteY7" fmla="*/ 1657 h 1879600"/>
              <a:gd name="connsiteX8" fmla="*/ 0 w 4939579"/>
              <a:gd name="connsiteY8" fmla="*/ 0 h 1879600"/>
              <a:gd name="connsiteX0" fmla="*/ 0 w 4939579"/>
              <a:gd name="connsiteY0" fmla="*/ 0 h 1879600"/>
              <a:gd name="connsiteX1" fmla="*/ 4939579 w 4939579"/>
              <a:gd name="connsiteY1" fmla="*/ 0 h 1879600"/>
              <a:gd name="connsiteX2" fmla="*/ 4234262 w 4939579"/>
              <a:gd name="connsiteY2" fmla="*/ 1199666 h 1879600"/>
              <a:gd name="connsiteX3" fmla="*/ 4018199 w 4939579"/>
              <a:gd name="connsiteY3" fmla="*/ 1609317 h 1879600"/>
              <a:gd name="connsiteX4" fmla="*/ 3585529 w 4939579"/>
              <a:gd name="connsiteY4" fmla="*/ 1868189 h 1879600"/>
              <a:gd name="connsiteX5" fmla="*/ 1354221 w 4939579"/>
              <a:gd name="connsiteY5" fmla="*/ 1868189 h 1879600"/>
              <a:gd name="connsiteX6" fmla="*/ 919286 w 4939579"/>
              <a:gd name="connsiteY6" fmla="*/ 1607046 h 1879600"/>
              <a:gd name="connsiteX7" fmla="*/ 948 w 4939579"/>
              <a:gd name="connsiteY7" fmla="*/ 1657 h 1879600"/>
              <a:gd name="connsiteX8" fmla="*/ 0 w 4939579"/>
              <a:gd name="connsiteY8" fmla="*/ 0 h 1879600"/>
              <a:gd name="connsiteX0" fmla="*/ 0 w 4237620"/>
              <a:gd name="connsiteY0" fmla="*/ 0 h 1879600"/>
              <a:gd name="connsiteX1" fmla="*/ 4237620 w 4237620"/>
              <a:gd name="connsiteY1" fmla="*/ 1193800 h 1879600"/>
              <a:gd name="connsiteX2" fmla="*/ 4234262 w 4237620"/>
              <a:gd name="connsiteY2" fmla="*/ 1199666 h 1879600"/>
              <a:gd name="connsiteX3" fmla="*/ 4018199 w 4237620"/>
              <a:gd name="connsiteY3" fmla="*/ 1609317 h 1879600"/>
              <a:gd name="connsiteX4" fmla="*/ 3585529 w 4237620"/>
              <a:gd name="connsiteY4" fmla="*/ 1868189 h 1879600"/>
              <a:gd name="connsiteX5" fmla="*/ 1354221 w 4237620"/>
              <a:gd name="connsiteY5" fmla="*/ 1868189 h 1879600"/>
              <a:gd name="connsiteX6" fmla="*/ 919286 w 4237620"/>
              <a:gd name="connsiteY6" fmla="*/ 1607046 h 1879600"/>
              <a:gd name="connsiteX7" fmla="*/ 948 w 4237620"/>
              <a:gd name="connsiteY7" fmla="*/ 1657 h 1879600"/>
              <a:gd name="connsiteX8" fmla="*/ 0 w 4237620"/>
              <a:gd name="connsiteY8" fmla="*/ 0 h 1879600"/>
              <a:gd name="connsiteX0" fmla="*/ 684854 w 4236672"/>
              <a:gd name="connsiteY0" fmla="*/ 1192143 h 1877943"/>
              <a:gd name="connsiteX1" fmla="*/ 4236672 w 4236672"/>
              <a:gd name="connsiteY1" fmla="*/ 1192143 h 1877943"/>
              <a:gd name="connsiteX2" fmla="*/ 4233314 w 4236672"/>
              <a:gd name="connsiteY2" fmla="*/ 1198009 h 1877943"/>
              <a:gd name="connsiteX3" fmla="*/ 4017251 w 4236672"/>
              <a:gd name="connsiteY3" fmla="*/ 1607660 h 1877943"/>
              <a:gd name="connsiteX4" fmla="*/ 3584581 w 4236672"/>
              <a:gd name="connsiteY4" fmla="*/ 1866532 h 1877943"/>
              <a:gd name="connsiteX5" fmla="*/ 1353273 w 4236672"/>
              <a:gd name="connsiteY5" fmla="*/ 1866532 h 1877943"/>
              <a:gd name="connsiteX6" fmla="*/ 918338 w 4236672"/>
              <a:gd name="connsiteY6" fmla="*/ 1605389 h 1877943"/>
              <a:gd name="connsiteX7" fmla="*/ 0 w 4236672"/>
              <a:gd name="connsiteY7" fmla="*/ 0 h 1877943"/>
              <a:gd name="connsiteX8" fmla="*/ 684854 w 4236672"/>
              <a:gd name="connsiteY8" fmla="*/ 1192143 h 1877943"/>
              <a:gd name="connsiteX0" fmla="*/ 0 w 3551818"/>
              <a:gd name="connsiteY0" fmla="*/ 2 h 685802"/>
              <a:gd name="connsiteX1" fmla="*/ 3551818 w 3551818"/>
              <a:gd name="connsiteY1" fmla="*/ 2 h 685802"/>
              <a:gd name="connsiteX2" fmla="*/ 3548460 w 3551818"/>
              <a:gd name="connsiteY2" fmla="*/ 5868 h 685802"/>
              <a:gd name="connsiteX3" fmla="*/ 3332397 w 3551818"/>
              <a:gd name="connsiteY3" fmla="*/ 415519 h 685802"/>
              <a:gd name="connsiteX4" fmla="*/ 2899727 w 3551818"/>
              <a:gd name="connsiteY4" fmla="*/ 674391 h 685802"/>
              <a:gd name="connsiteX5" fmla="*/ 668419 w 3551818"/>
              <a:gd name="connsiteY5" fmla="*/ 674391 h 685802"/>
              <a:gd name="connsiteX6" fmla="*/ 233484 w 3551818"/>
              <a:gd name="connsiteY6" fmla="*/ 413248 h 685802"/>
              <a:gd name="connsiteX7" fmla="*/ 0 w 3551818"/>
              <a:gd name="connsiteY7" fmla="*/ 0 h 685802"/>
              <a:gd name="connsiteX8" fmla="*/ 0 w 3551818"/>
              <a:gd name="connsiteY8" fmla="*/ 2 h 685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1818" h="685802">
                <a:moveTo>
                  <a:pt x="0" y="2"/>
                </a:moveTo>
                <a:lnTo>
                  <a:pt x="3551818" y="2"/>
                </a:lnTo>
                <a:lnTo>
                  <a:pt x="3548460" y="5868"/>
                </a:lnTo>
                <a:lnTo>
                  <a:pt x="3332397" y="415519"/>
                </a:lnTo>
                <a:cubicBezTo>
                  <a:pt x="3175440" y="685580"/>
                  <a:pt x="3179593" y="665923"/>
                  <a:pt x="2899727" y="674391"/>
                </a:cubicBezTo>
                <a:cubicBezTo>
                  <a:pt x="2619861" y="682859"/>
                  <a:pt x="1412188" y="674391"/>
                  <a:pt x="668419" y="674391"/>
                </a:cubicBezTo>
                <a:cubicBezTo>
                  <a:pt x="352041" y="685802"/>
                  <a:pt x="360426" y="624042"/>
                  <a:pt x="233484" y="413248"/>
                </a:cubicBezTo>
                <a:lnTo>
                  <a:pt x="0" y="0"/>
                </a:lnTo>
                <a:lnTo>
                  <a:pt x="0" y="2"/>
                </a:lnTo>
                <a:close/>
              </a:path>
            </a:pathLst>
          </a:cu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Univers"/>
              <a:ea typeface="+mn-ea"/>
              <a:cs typeface="+mn-cs"/>
            </a:endParaRPr>
          </a:p>
        </p:txBody>
      </p:sp>
    </p:spTree>
    <p:extLst>
      <p:ext uri="{BB962C8B-B14F-4D97-AF65-F5344CB8AC3E}">
        <p14:creationId xmlns:p14="http://schemas.microsoft.com/office/powerpoint/2010/main" val="3073911290"/>
      </p:ext>
    </p:extLst>
  </p:cSld>
  <p:clrMapOvr>
    <a:masterClrMapping/>
  </p:clrMapOvr>
  <p:transition spd="med">
    <p:fade/>
  </p:transition>
  <p:extLst>
    <p:ext uri="{DCECCB84-F9BA-43D5-87BE-67443E8EF086}">
      <p15:sldGuideLst xmlns:p15="http://schemas.microsoft.com/office/powerpoint/2012/main">
        <p15:guide id="1" pos="868">
          <p15:clr>
            <a:srgbClr val="FBAE40"/>
          </p15:clr>
        </p15:guide>
        <p15:guide id="2" pos="1299">
          <p15:clr>
            <a:srgbClr val="FBAE40"/>
          </p15:clr>
        </p15:guide>
        <p15:guide id="3" pos="1481">
          <p15:clr>
            <a:srgbClr val="FBAE40"/>
          </p15:clr>
        </p15:guide>
        <p15:guide id="4" pos="1912">
          <p15:clr>
            <a:srgbClr val="FBAE40"/>
          </p15:clr>
        </p15:guide>
        <p15:guide id="5" pos="2093">
          <p15:clr>
            <a:srgbClr val="FBAE40"/>
          </p15:clr>
        </p15:guide>
        <p15:guide id="6" pos="2524">
          <p15:clr>
            <a:srgbClr val="FBAE40"/>
          </p15:clr>
        </p15:guide>
        <p15:guide id="7" pos="2706">
          <p15:clr>
            <a:srgbClr val="FBAE40"/>
          </p15:clr>
        </p15:guide>
        <p15:guide id="8" pos="3136">
          <p15:clr>
            <a:srgbClr val="FBAE40"/>
          </p15:clr>
        </p15:guide>
        <p15:guide id="9" pos="3318">
          <p15:clr>
            <a:srgbClr val="FBAE40"/>
          </p15:clr>
        </p15:guide>
        <p15:guide id="10" pos="3749">
          <p15:clr>
            <a:srgbClr val="FBAE40"/>
          </p15:clr>
        </p15:guide>
        <p15:guide id="11" pos="3930">
          <p15:clr>
            <a:srgbClr val="FBAE40"/>
          </p15:clr>
        </p15:guide>
        <p15:guide id="12" pos="4361">
          <p15:clr>
            <a:srgbClr val="FBAE40"/>
          </p15:clr>
        </p15:guide>
        <p15:guide id="13" pos="4543">
          <p15:clr>
            <a:srgbClr val="FBAE40"/>
          </p15:clr>
        </p15:guide>
        <p15:guide id="14" pos="4973">
          <p15:clr>
            <a:srgbClr val="FBAE40"/>
          </p15:clr>
        </p15:guide>
        <p15:guide id="15" pos="5155">
          <p15:clr>
            <a:srgbClr val="FBAE40"/>
          </p15:clr>
        </p15:guide>
        <p15:guide id="16" pos="5586">
          <p15:clr>
            <a:srgbClr val="FBAE40"/>
          </p15:clr>
        </p15:guide>
        <p15:guide id="17" pos="5767">
          <p15:clr>
            <a:srgbClr val="FBAE40"/>
          </p15:clr>
        </p15:guide>
        <p15:guide id="18" pos="6198">
          <p15:clr>
            <a:srgbClr val="FBAE40"/>
          </p15:clr>
        </p15:guide>
        <p15:guide id="19" pos="6380">
          <p15:clr>
            <a:srgbClr val="FBAE40"/>
          </p15:clr>
        </p15:guide>
        <p15:guide id="20" pos="6811">
          <p15:clr>
            <a:srgbClr val="FBAE40"/>
          </p15:clr>
        </p15:guide>
        <p15:guide id="21" pos="6992">
          <p15:clr>
            <a:srgbClr val="FBAE40"/>
          </p15:clr>
        </p15:guide>
        <p15:guide id="22" orient="horz" pos="1548">
          <p15:clr>
            <a:srgbClr val="FBAE40"/>
          </p15:clr>
        </p15:guide>
        <p15:guide id="23" orient="horz" pos="1729">
          <p15:clr>
            <a:srgbClr val="FBAE40"/>
          </p15:clr>
        </p15:guide>
        <p15:guide id="24" orient="horz" pos="2364">
          <p15:clr>
            <a:srgbClr val="FBAE40"/>
          </p15:clr>
        </p15:guide>
        <p15:guide id="25" orient="horz" pos="2546">
          <p15:clr>
            <a:srgbClr val="FBAE40"/>
          </p15:clr>
        </p15:guide>
        <p15:guide id="26" orient="horz" pos="3181">
          <p15:clr>
            <a:srgbClr val="FBAE40"/>
          </p15:clr>
        </p15:guide>
        <p15:guide id="27" orient="horz" pos="336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Nur für Bil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7871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Ecke links gross">
    <p:spTree>
      <p:nvGrpSpPr>
        <p:cNvPr id="1" name=""/>
        <p:cNvGrpSpPr/>
        <p:nvPr/>
      </p:nvGrpSpPr>
      <p:grpSpPr>
        <a:xfrm>
          <a:off x="0" y="0"/>
          <a:ext cx="0" cy="0"/>
          <a:chOff x="0" y="0"/>
          <a:chExt cx="0" cy="0"/>
        </a:xfrm>
      </p:grpSpPr>
      <p:sp>
        <p:nvSpPr>
          <p:cNvPr id="12" name="Freihandform 67">
            <a:extLst>
              <a:ext uri="{FF2B5EF4-FFF2-40B4-BE49-F238E27FC236}">
                <a16:creationId xmlns:a16="http://schemas.microsoft.com/office/drawing/2014/main" id="{8F5BD8E4-C4B3-4DF2-BD8D-2721608522DA}"/>
              </a:ext>
            </a:extLst>
          </p:cNvPr>
          <p:cNvSpPr/>
          <p:nvPr userDrawn="1"/>
        </p:nvSpPr>
        <p:spPr>
          <a:xfrm>
            <a:off x="-10551" y="1449390"/>
            <a:ext cx="3777854" cy="4895850"/>
          </a:xfrm>
          <a:custGeom>
            <a:avLst/>
            <a:gdLst>
              <a:gd name="connsiteX0" fmla="*/ 0 w 3777854"/>
              <a:gd name="connsiteY0" fmla="*/ 0 h 4895850"/>
              <a:gd name="connsiteX1" fmla="*/ 6286 w 3777854"/>
              <a:gd name="connsiteY1" fmla="*/ 0 h 4895850"/>
              <a:gd name="connsiteX2" fmla="*/ 2169500 w 3777854"/>
              <a:gd name="connsiteY2" fmla="*/ 0 h 4895850"/>
              <a:gd name="connsiteX3" fmla="*/ 2602170 w 3777854"/>
              <a:gd name="connsiteY3" fmla="*/ 242976 h 4895850"/>
              <a:gd name="connsiteX4" fmla="*/ 3718956 w 3777854"/>
              <a:gd name="connsiteY4" fmla="*/ 2184512 h 4895850"/>
              <a:gd name="connsiteX5" fmla="*/ 3777854 w 3777854"/>
              <a:gd name="connsiteY5" fmla="*/ 2434300 h 4895850"/>
              <a:gd name="connsiteX6" fmla="*/ 3718956 w 3777854"/>
              <a:gd name="connsiteY6" fmla="*/ 2686359 h 4895850"/>
              <a:gd name="connsiteX7" fmla="*/ 2602170 w 3777854"/>
              <a:gd name="connsiteY7" fmla="*/ 4636978 h 4895850"/>
              <a:gd name="connsiteX8" fmla="*/ 2169500 w 3777854"/>
              <a:gd name="connsiteY8" fmla="*/ 4895850 h 4895850"/>
              <a:gd name="connsiteX9" fmla="*/ 140908 w 3777854"/>
              <a:gd name="connsiteY9" fmla="*/ 4895850 h 4895850"/>
              <a:gd name="connsiteX10" fmla="*/ 0 w 3777854"/>
              <a:gd name="connsiteY10" fmla="*/ 4895850 h 4895850"/>
              <a:gd name="connsiteX11" fmla="*/ 0 w 3777854"/>
              <a:gd name="connsiteY11"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7854" h="4895850">
                <a:moveTo>
                  <a:pt x="0" y="0"/>
                </a:moveTo>
                <a:lnTo>
                  <a:pt x="6286" y="0"/>
                </a:lnTo>
                <a:cubicBezTo>
                  <a:pt x="156093" y="0"/>
                  <a:pt x="635476" y="0"/>
                  <a:pt x="2169500" y="0"/>
                </a:cubicBezTo>
                <a:cubicBezTo>
                  <a:pt x="2332600" y="0"/>
                  <a:pt x="2525150" y="106727"/>
                  <a:pt x="2602170" y="242976"/>
                </a:cubicBezTo>
                <a:cubicBezTo>
                  <a:pt x="2602170" y="242976"/>
                  <a:pt x="2602170" y="242976"/>
                  <a:pt x="3718956" y="2184512"/>
                </a:cubicBezTo>
                <a:cubicBezTo>
                  <a:pt x="3757466" y="2250365"/>
                  <a:pt x="3777854" y="2338926"/>
                  <a:pt x="3777854" y="2434300"/>
                </a:cubicBezTo>
                <a:cubicBezTo>
                  <a:pt x="3777854" y="2529674"/>
                  <a:pt x="3757466" y="2618235"/>
                  <a:pt x="3718956" y="2686359"/>
                </a:cubicBezTo>
                <a:cubicBezTo>
                  <a:pt x="3718956" y="2686359"/>
                  <a:pt x="3718956" y="2686359"/>
                  <a:pt x="2602170" y="4636978"/>
                </a:cubicBezTo>
                <a:cubicBezTo>
                  <a:pt x="2520619" y="4780039"/>
                  <a:pt x="2325805" y="4895850"/>
                  <a:pt x="2169500" y="4895850"/>
                </a:cubicBezTo>
                <a:cubicBezTo>
                  <a:pt x="2169500" y="4895850"/>
                  <a:pt x="2169500" y="4895850"/>
                  <a:pt x="140908" y="4895850"/>
                </a:cubicBezTo>
                <a:lnTo>
                  <a:pt x="0" y="4895850"/>
                </a:lnTo>
                <a:lnTo>
                  <a:pt x="0" y="0"/>
                </a:lnTo>
                <a:close/>
              </a:path>
            </a:pathLst>
          </a:cu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dirty="0" err="1"/>
          </a:p>
        </p:txBody>
      </p:sp>
      <p:sp>
        <p:nvSpPr>
          <p:cNvPr id="2" name="Titel 1">
            <a:extLst>
              <a:ext uri="{FF2B5EF4-FFF2-40B4-BE49-F238E27FC236}">
                <a16:creationId xmlns:a16="http://schemas.microsoft.com/office/drawing/2014/main" id="{0019B3D4-B842-447E-9ACA-6E492135C453}"/>
              </a:ext>
            </a:extLst>
          </p:cNvPr>
          <p:cNvSpPr>
            <a:spLocks noGrp="1"/>
          </p:cNvSpPr>
          <p:nvPr>
            <p:ph type="title" hasCustomPrompt="1"/>
          </p:nvPr>
        </p:nvSpPr>
        <p:spPr/>
        <p:txBody>
          <a:bodyPr/>
          <a:lstStyle>
            <a:lvl1pPr>
              <a:defRPr/>
            </a:lvl1pPr>
          </a:lstStyle>
          <a:p>
            <a:r>
              <a:rPr lang="en-US" dirty="0"/>
              <a:t>Edit format templates of the text master</a:t>
            </a:r>
            <a:endParaRPr lang="de-DE" dirty="0"/>
          </a:p>
        </p:txBody>
      </p:sp>
      <p:sp>
        <p:nvSpPr>
          <p:cNvPr id="3" name="Datumsplatzhalter 2">
            <a:extLst>
              <a:ext uri="{FF2B5EF4-FFF2-40B4-BE49-F238E27FC236}">
                <a16:creationId xmlns:a16="http://schemas.microsoft.com/office/drawing/2014/main" id="{6FFF3A8A-4A23-4336-81D8-AADCD3588EF0}"/>
              </a:ext>
            </a:extLst>
          </p:cNvPr>
          <p:cNvSpPr>
            <a:spLocks noGrp="1"/>
          </p:cNvSpPr>
          <p:nvPr>
            <p:ph type="dt" sz="half" idx="10"/>
          </p:nvPr>
        </p:nvSpPr>
        <p:spPr/>
        <p:txBody>
          <a:bodyPr/>
          <a:lstStyle/>
          <a:p>
            <a:fld id="{F669201A-79BE-46A8-B4F1-5EB20E62BDFE}" type="datetime1">
              <a:rPr lang="de-DE" smtClean="0">
                <a:solidFill>
                  <a:srgbClr val="6F6F6F"/>
                </a:solidFill>
              </a:rPr>
              <a:t>19.08.2019</a:t>
            </a:fld>
            <a:endParaRPr lang="de-DE" dirty="0">
              <a:solidFill>
                <a:srgbClr val="6F6F6F"/>
              </a:solidFill>
            </a:endParaRPr>
          </a:p>
        </p:txBody>
      </p:sp>
      <p:sp>
        <p:nvSpPr>
          <p:cNvPr id="4" name="Foliennummernplatzhalter 3">
            <a:extLst>
              <a:ext uri="{FF2B5EF4-FFF2-40B4-BE49-F238E27FC236}">
                <a16:creationId xmlns:a16="http://schemas.microsoft.com/office/drawing/2014/main" id="{CB9BCACE-1DB2-4469-9262-083C9CF6B23F}"/>
              </a:ext>
            </a:extLst>
          </p:cNvPr>
          <p:cNvSpPr>
            <a:spLocks noGrp="1"/>
          </p:cNvSpPr>
          <p:nvPr>
            <p:ph type="sldNum" sz="quarter" idx="11"/>
          </p:nvPr>
        </p:nvSpPr>
        <p:spPr/>
        <p:txBody>
          <a:bodyPr/>
          <a:lstStyle/>
          <a:p>
            <a:fld id="{221F1D72-F2AC-4B6E-A46C-E63D2CF40C7B}" type="slidenum">
              <a:rPr lang="de-DE" smtClean="0">
                <a:solidFill>
                  <a:srgbClr val="6F6F6F"/>
                </a:solidFill>
              </a:rPr>
              <a:pPr/>
              <a:t>‹#›</a:t>
            </a:fld>
            <a:endParaRPr lang="de-DE" dirty="0">
              <a:solidFill>
                <a:srgbClr val="6F6F6F"/>
              </a:solidFill>
            </a:endParaRPr>
          </a:p>
        </p:txBody>
      </p:sp>
      <p:sp>
        <p:nvSpPr>
          <p:cNvPr id="52" name="Fußzeilenplatzhalter 51">
            <a:extLst>
              <a:ext uri="{FF2B5EF4-FFF2-40B4-BE49-F238E27FC236}">
                <a16:creationId xmlns:a16="http://schemas.microsoft.com/office/drawing/2014/main" id="{B365B52A-322E-4489-8F65-959A57D451F5}"/>
              </a:ext>
            </a:extLst>
          </p:cNvPr>
          <p:cNvSpPr>
            <a:spLocks noGrp="1"/>
          </p:cNvSpPr>
          <p:nvPr>
            <p:ph type="ftr" sz="quarter" idx="12"/>
          </p:nvPr>
        </p:nvSpPr>
        <p:spPr/>
        <p:txBody>
          <a:bodyPr/>
          <a:lstStyle/>
          <a:p>
            <a:r>
              <a:rPr lang="en-US">
                <a:solidFill>
                  <a:srgbClr val="6F6F6F"/>
                </a:solidFill>
              </a:rPr>
              <a:t>SNP I Company Presentation</a:t>
            </a:r>
            <a:endParaRPr lang="de-DE" dirty="0">
              <a:solidFill>
                <a:srgbClr val="6F6F6F"/>
              </a:solidFill>
            </a:endParaRPr>
          </a:p>
        </p:txBody>
      </p:sp>
      <p:sp>
        <p:nvSpPr>
          <p:cNvPr id="10" name="Textplatzhalter 9">
            <a:extLst>
              <a:ext uri="{FF2B5EF4-FFF2-40B4-BE49-F238E27FC236}">
                <a16:creationId xmlns:a16="http://schemas.microsoft.com/office/drawing/2014/main" id="{01748BC9-3EE6-407B-A0EF-150B36AA5D66}"/>
              </a:ext>
            </a:extLst>
          </p:cNvPr>
          <p:cNvSpPr>
            <a:spLocks noGrp="1"/>
          </p:cNvSpPr>
          <p:nvPr>
            <p:ph type="body" sz="quarter" idx="13"/>
          </p:nvPr>
        </p:nvSpPr>
        <p:spPr>
          <a:xfrm>
            <a:off x="406400" y="2097883"/>
            <a:ext cx="2304430" cy="3598863"/>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635145215"/>
      </p:ext>
    </p:extLst>
  </p:cSld>
  <p:clrMapOvr>
    <a:masterClrMapping/>
  </p:clrMapOvr>
  <p:transition spd="med">
    <p:fade/>
  </p:transition>
  <p:extLst>
    <p:ext uri="{DCECCB84-F9BA-43D5-87BE-67443E8EF086}">
      <p15:sldGuideLst xmlns:p15="http://schemas.microsoft.com/office/powerpoint/2012/main">
        <p15:guide id="1" pos="868">
          <p15:clr>
            <a:srgbClr val="FBAE40"/>
          </p15:clr>
        </p15:guide>
        <p15:guide id="2" pos="1299">
          <p15:clr>
            <a:srgbClr val="FBAE40"/>
          </p15:clr>
        </p15:guide>
        <p15:guide id="3" pos="1481">
          <p15:clr>
            <a:srgbClr val="FBAE40"/>
          </p15:clr>
        </p15:guide>
        <p15:guide id="4" pos="1912">
          <p15:clr>
            <a:srgbClr val="FBAE40"/>
          </p15:clr>
        </p15:guide>
        <p15:guide id="5" pos="2093">
          <p15:clr>
            <a:srgbClr val="FBAE40"/>
          </p15:clr>
        </p15:guide>
        <p15:guide id="6" pos="2524">
          <p15:clr>
            <a:srgbClr val="FBAE40"/>
          </p15:clr>
        </p15:guide>
        <p15:guide id="7" pos="2706">
          <p15:clr>
            <a:srgbClr val="FBAE40"/>
          </p15:clr>
        </p15:guide>
        <p15:guide id="8" pos="3136">
          <p15:clr>
            <a:srgbClr val="FBAE40"/>
          </p15:clr>
        </p15:guide>
        <p15:guide id="9" pos="3318">
          <p15:clr>
            <a:srgbClr val="FBAE40"/>
          </p15:clr>
        </p15:guide>
        <p15:guide id="10" pos="3749">
          <p15:clr>
            <a:srgbClr val="FBAE40"/>
          </p15:clr>
        </p15:guide>
        <p15:guide id="11" pos="3930">
          <p15:clr>
            <a:srgbClr val="FBAE40"/>
          </p15:clr>
        </p15:guide>
        <p15:guide id="12" pos="4361">
          <p15:clr>
            <a:srgbClr val="FBAE40"/>
          </p15:clr>
        </p15:guide>
        <p15:guide id="13" pos="4543">
          <p15:clr>
            <a:srgbClr val="FBAE40"/>
          </p15:clr>
        </p15:guide>
        <p15:guide id="14" pos="4973">
          <p15:clr>
            <a:srgbClr val="FBAE40"/>
          </p15:clr>
        </p15:guide>
        <p15:guide id="15" pos="5155">
          <p15:clr>
            <a:srgbClr val="FBAE40"/>
          </p15:clr>
        </p15:guide>
        <p15:guide id="16" pos="5586">
          <p15:clr>
            <a:srgbClr val="FBAE40"/>
          </p15:clr>
        </p15:guide>
        <p15:guide id="17" pos="5767">
          <p15:clr>
            <a:srgbClr val="FBAE40"/>
          </p15:clr>
        </p15:guide>
        <p15:guide id="18" pos="6198">
          <p15:clr>
            <a:srgbClr val="FBAE40"/>
          </p15:clr>
        </p15:guide>
        <p15:guide id="19" pos="6380">
          <p15:clr>
            <a:srgbClr val="FBAE40"/>
          </p15:clr>
        </p15:guide>
        <p15:guide id="20" pos="6811">
          <p15:clr>
            <a:srgbClr val="FBAE40"/>
          </p15:clr>
        </p15:guide>
        <p15:guide id="21" pos="6992">
          <p15:clr>
            <a:srgbClr val="FBAE40"/>
          </p15:clr>
        </p15:guide>
        <p15:guide id="22" orient="horz" pos="1548">
          <p15:clr>
            <a:srgbClr val="FBAE40"/>
          </p15:clr>
        </p15:guide>
        <p15:guide id="23" orient="horz" pos="1729">
          <p15:clr>
            <a:srgbClr val="FBAE40"/>
          </p15:clr>
        </p15:guide>
        <p15:guide id="24" orient="horz" pos="2364">
          <p15:clr>
            <a:srgbClr val="FBAE40"/>
          </p15:clr>
        </p15:guide>
        <p15:guide id="25" orient="horz" pos="2546">
          <p15:clr>
            <a:srgbClr val="FBAE40"/>
          </p15:clr>
        </p15:guide>
        <p15:guide id="26" orient="horz" pos="3181">
          <p15:clr>
            <a:srgbClr val="FBAE40"/>
          </p15:clr>
        </p15:guide>
        <p15:guide id="27" orient="horz" pos="336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01 Titelfolie">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748A89D4-38C9-4E5C-A079-94E7F84421DC}"/>
              </a:ext>
            </a:extLst>
          </p:cNvPr>
          <p:cNvSpPr>
            <a:spLocks noGrp="1"/>
          </p:cNvSpPr>
          <p:nvPr>
            <p:ph type="pic" sz="quarter" idx="12"/>
          </p:nvPr>
        </p:nvSpPr>
        <p:spPr>
          <a:xfrm>
            <a:off x="0" y="0"/>
            <a:ext cx="12180888" cy="3924000"/>
          </a:xfrm>
          <a:solidFill>
            <a:schemeClr val="bg1">
              <a:lumMod val="95000"/>
            </a:schemeClr>
          </a:solidFill>
        </p:spPr>
        <p:txBody>
          <a:bodyPr anchor="ctr" anchorCtr="0"/>
          <a:lstStyle>
            <a:lvl1pPr algn="ctr">
              <a:defRPr b="0">
                <a:solidFill>
                  <a:schemeClr val="bg1">
                    <a:lumMod val="75000"/>
                  </a:schemeClr>
                </a:solidFill>
              </a:defRPr>
            </a:lvl1pPr>
          </a:lstStyle>
          <a:p>
            <a:r>
              <a:rPr lang="en-US"/>
              <a:t>Click icon to add picture</a:t>
            </a:r>
            <a:endParaRPr lang="de-DE" dirty="0"/>
          </a:p>
        </p:txBody>
      </p:sp>
      <p:sp>
        <p:nvSpPr>
          <p:cNvPr id="2" name="Titel 1"/>
          <p:cNvSpPr>
            <a:spLocks noGrp="1"/>
          </p:cNvSpPr>
          <p:nvPr>
            <p:ph type="ctrTitle" hasCustomPrompt="1"/>
          </p:nvPr>
        </p:nvSpPr>
        <p:spPr>
          <a:xfrm>
            <a:off x="406400" y="4113076"/>
            <a:ext cx="11377613" cy="461912"/>
          </a:xfrm>
          <a:prstGeom prst="rect">
            <a:avLst/>
          </a:prstGeom>
        </p:spPr>
        <p:txBody>
          <a:bodyPr/>
          <a:lstStyle>
            <a:lvl1pPr>
              <a:defRPr sz="3600">
                <a:solidFill>
                  <a:schemeClr val="tx2"/>
                </a:solidFill>
              </a:defRPr>
            </a:lvl1pPr>
          </a:lstStyle>
          <a:p>
            <a:r>
              <a:rPr lang="de-DE" dirty="0"/>
              <a:t>CLICK TO EDIT TITLE</a:t>
            </a:r>
          </a:p>
        </p:txBody>
      </p:sp>
      <p:sp>
        <p:nvSpPr>
          <p:cNvPr id="3" name="Untertitel 2"/>
          <p:cNvSpPr>
            <a:spLocks noGrp="1"/>
          </p:cNvSpPr>
          <p:nvPr>
            <p:ph type="subTitle" idx="1" hasCustomPrompt="1"/>
          </p:nvPr>
        </p:nvSpPr>
        <p:spPr>
          <a:xfrm>
            <a:off x="406400" y="4689140"/>
            <a:ext cx="11377613" cy="504056"/>
          </a:xfrm>
          <a:prstGeom prst="rect">
            <a:avLst/>
          </a:prstGeom>
        </p:spPr>
        <p:txBody>
          <a:bodyPr/>
          <a:lstStyle>
            <a:lvl1pPr marL="0" marR="0" indent="0" algn="l" defTabSz="1219078" rtl="0" eaLnBrk="1" fontAlgn="auto" latinLnBrk="0" hangingPunct="1">
              <a:lnSpc>
                <a:spcPct val="100000"/>
              </a:lnSpc>
              <a:spcBef>
                <a:spcPts val="0"/>
              </a:spcBef>
              <a:spcAft>
                <a:spcPts val="0"/>
              </a:spcAft>
              <a:buClrTx/>
              <a:buSzTx/>
              <a:buFont typeface="Arial" panose="020B0604020202020204" pitchFamily="34" charset="0"/>
              <a:buNone/>
              <a:tabLst/>
              <a:defRPr lang="de-DE" sz="2400" b="0" smtClean="0">
                <a:effectLst/>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7" indent="0" algn="ctr">
              <a:buNone/>
              <a:defRPr>
                <a:solidFill>
                  <a:schemeClr val="tx1">
                    <a:tint val="75000"/>
                  </a:schemeClr>
                </a:solidFill>
              </a:defRPr>
            </a:lvl4pPr>
            <a:lvl5pPr marL="2438156" indent="0" algn="ctr">
              <a:buNone/>
              <a:defRPr>
                <a:solidFill>
                  <a:schemeClr val="tx1">
                    <a:tint val="75000"/>
                  </a:schemeClr>
                </a:solidFill>
              </a:defRPr>
            </a:lvl5pPr>
            <a:lvl6pPr marL="3047695"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2" indent="0" algn="ctr">
              <a:buNone/>
              <a:defRPr>
                <a:solidFill>
                  <a:schemeClr val="tx1">
                    <a:tint val="75000"/>
                  </a:schemeClr>
                </a:solidFill>
              </a:defRPr>
            </a:lvl9pPr>
          </a:lstStyle>
          <a:p>
            <a:r>
              <a:rPr lang="de-DE" dirty="0"/>
              <a:t>Click </a:t>
            </a:r>
            <a:r>
              <a:rPr lang="de-DE" dirty="0" err="1"/>
              <a:t>to</a:t>
            </a:r>
            <a:r>
              <a:rPr lang="de-DE" dirty="0"/>
              <a:t> </a:t>
            </a:r>
            <a:r>
              <a:rPr lang="de-DE" dirty="0" err="1"/>
              <a:t>edit</a:t>
            </a:r>
            <a:r>
              <a:rPr lang="de-DE" dirty="0"/>
              <a:t> </a:t>
            </a:r>
            <a:r>
              <a:rPr lang="de-DE" dirty="0" err="1"/>
              <a:t>format</a:t>
            </a:r>
            <a:r>
              <a:rPr lang="de-DE" dirty="0"/>
              <a:t> </a:t>
            </a:r>
            <a:r>
              <a:rPr lang="de-DE" dirty="0" err="1"/>
              <a:t>template</a:t>
            </a:r>
            <a:r>
              <a:rPr lang="de-DE" dirty="0"/>
              <a:t> </a:t>
            </a:r>
            <a:r>
              <a:rPr lang="de-DE" dirty="0" err="1"/>
              <a:t>of</a:t>
            </a:r>
            <a:r>
              <a:rPr lang="de-DE" dirty="0"/>
              <a:t> </a:t>
            </a:r>
            <a:r>
              <a:rPr lang="de-DE" dirty="0" err="1"/>
              <a:t>the</a:t>
            </a:r>
            <a:r>
              <a:rPr lang="de-DE" dirty="0"/>
              <a:t> </a:t>
            </a:r>
            <a:r>
              <a:rPr lang="de-DE" dirty="0" err="1"/>
              <a:t>subtitle</a:t>
            </a:r>
            <a:r>
              <a:rPr lang="de-DE" dirty="0"/>
              <a:t> </a:t>
            </a:r>
            <a:r>
              <a:rPr lang="de-DE" dirty="0" err="1"/>
              <a:t>master</a:t>
            </a:r>
            <a:endParaRPr lang="de-DE" dirty="0"/>
          </a:p>
        </p:txBody>
      </p:sp>
      <p:sp>
        <p:nvSpPr>
          <p:cNvPr id="15" name="Freeform 5">
            <a:extLst>
              <a:ext uri="{FF2B5EF4-FFF2-40B4-BE49-F238E27FC236}">
                <a16:creationId xmlns:a16="http://schemas.microsoft.com/office/drawing/2014/main" id="{D53E5686-1934-4371-9D3D-E55515BC6535}"/>
              </a:ext>
            </a:extLst>
          </p:cNvPr>
          <p:cNvSpPr>
            <a:spLocks noEditPoints="1"/>
          </p:cNvSpPr>
          <p:nvPr userDrawn="1"/>
        </p:nvSpPr>
        <p:spPr bwMode="auto">
          <a:xfrm>
            <a:off x="10915026" y="5359239"/>
            <a:ext cx="1012828" cy="981503"/>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p>
        </p:txBody>
      </p:sp>
      <p:sp>
        <p:nvSpPr>
          <p:cNvPr id="19" name="Freeform 9">
            <a:extLst>
              <a:ext uri="{FF2B5EF4-FFF2-40B4-BE49-F238E27FC236}">
                <a16:creationId xmlns:a16="http://schemas.microsoft.com/office/drawing/2014/main" id="{863CB0B5-E563-4CF2-827D-11680E4E165D}"/>
              </a:ext>
            </a:extLst>
          </p:cNvPr>
          <p:cNvSpPr>
            <a:spLocks noChangeAspect="1" noEditPoints="1"/>
          </p:cNvSpPr>
          <p:nvPr userDrawn="1"/>
        </p:nvSpPr>
        <p:spPr bwMode="auto">
          <a:xfrm>
            <a:off x="406400" y="6119011"/>
            <a:ext cx="4608000" cy="285339"/>
          </a:xfrm>
          <a:custGeom>
            <a:avLst/>
            <a:gdLst>
              <a:gd name="T0" fmla="*/ 252 w 9512"/>
              <a:gd name="T1" fmla="*/ 133 h 557"/>
              <a:gd name="T2" fmla="*/ 174 w 9512"/>
              <a:gd name="T3" fmla="*/ 386 h 557"/>
              <a:gd name="T4" fmla="*/ 806 w 9512"/>
              <a:gd name="T5" fmla="*/ 442 h 557"/>
              <a:gd name="T6" fmla="*/ 885 w 9512"/>
              <a:gd name="T7" fmla="*/ 442 h 557"/>
              <a:gd name="T8" fmla="*/ 1019 w 9512"/>
              <a:gd name="T9" fmla="*/ 10 h 557"/>
              <a:gd name="T10" fmla="*/ 977 w 9512"/>
              <a:gd name="T11" fmla="*/ 205 h 557"/>
              <a:gd name="T12" fmla="*/ 1828 w 9512"/>
              <a:gd name="T13" fmla="*/ 442 h 557"/>
              <a:gd name="T14" fmla="*/ 1827 w 9512"/>
              <a:gd name="T15" fmla="*/ 45 h 557"/>
              <a:gd name="T16" fmla="*/ 2183 w 9512"/>
              <a:gd name="T17" fmla="*/ 165 h 557"/>
              <a:gd name="T18" fmla="*/ 2096 w 9512"/>
              <a:gd name="T19" fmla="*/ 187 h 557"/>
              <a:gd name="T20" fmla="*/ 2606 w 9512"/>
              <a:gd name="T21" fmla="*/ 346 h 557"/>
              <a:gd name="T22" fmla="*/ 2416 w 9512"/>
              <a:gd name="T23" fmla="*/ 267 h 557"/>
              <a:gd name="T24" fmla="*/ 2854 w 9512"/>
              <a:gd name="T25" fmla="*/ 45 h 557"/>
              <a:gd name="T26" fmla="*/ 3277 w 9512"/>
              <a:gd name="T27" fmla="*/ 132 h 557"/>
              <a:gd name="T28" fmla="*/ 3208 w 9512"/>
              <a:gd name="T29" fmla="*/ 442 h 557"/>
              <a:gd name="T30" fmla="*/ 3406 w 9512"/>
              <a:gd name="T31" fmla="*/ 271 h 557"/>
              <a:gd name="T32" fmla="*/ 3581 w 9512"/>
              <a:gd name="T33" fmla="*/ 442 h 557"/>
              <a:gd name="T34" fmla="*/ 3542 w 9512"/>
              <a:gd name="T35" fmla="*/ 230 h 557"/>
              <a:gd name="T36" fmla="*/ 3909 w 9512"/>
              <a:gd name="T37" fmla="*/ 254 h 557"/>
              <a:gd name="T38" fmla="*/ 3672 w 9512"/>
              <a:gd name="T39" fmla="*/ 442 h 557"/>
              <a:gd name="T40" fmla="*/ 4024 w 9512"/>
              <a:gd name="T41" fmla="*/ 360 h 557"/>
              <a:gd name="T42" fmla="*/ 4176 w 9512"/>
              <a:gd name="T43" fmla="*/ 215 h 557"/>
              <a:gd name="T44" fmla="*/ 4435 w 9512"/>
              <a:gd name="T45" fmla="*/ 141 h 557"/>
              <a:gd name="T46" fmla="*/ 4331 w 9512"/>
              <a:gd name="T47" fmla="*/ 77 h 557"/>
              <a:gd name="T48" fmla="*/ 4725 w 9512"/>
              <a:gd name="T49" fmla="*/ 292 h 557"/>
              <a:gd name="T50" fmla="*/ 4623 w 9512"/>
              <a:gd name="T51" fmla="*/ 451 h 557"/>
              <a:gd name="T52" fmla="*/ 4943 w 9512"/>
              <a:gd name="T53" fmla="*/ 132 h 557"/>
              <a:gd name="T54" fmla="*/ 4874 w 9512"/>
              <a:gd name="T55" fmla="*/ 442 h 557"/>
              <a:gd name="T56" fmla="*/ 5073 w 9512"/>
              <a:gd name="T57" fmla="*/ 269 h 557"/>
              <a:gd name="T58" fmla="*/ 5440 w 9512"/>
              <a:gd name="T59" fmla="*/ 248 h 557"/>
              <a:gd name="T60" fmla="*/ 5074 w 9512"/>
              <a:gd name="T61" fmla="*/ 187 h 557"/>
              <a:gd name="T62" fmla="*/ 5741 w 9512"/>
              <a:gd name="T63" fmla="*/ 257 h 557"/>
              <a:gd name="T64" fmla="*/ 5743 w 9512"/>
              <a:gd name="T65" fmla="*/ 442 h 557"/>
              <a:gd name="T66" fmla="*/ 5670 w 9512"/>
              <a:gd name="T67" fmla="*/ 165 h 557"/>
              <a:gd name="T68" fmla="*/ 5974 w 9512"/>
              <a:gd name="T69" fmla="*/ 418 h 557"/>
              <a:gd name="T70" fmla="*/ 5897 w 9512"/>
              <a:gd name="T71" fmla="*/ 77 h 557"/>
              <a:gd name="T72" fmla="*/ 6071 w 9512"/>
              <a:gd name="T73" fmla="*/ 442 h 557"/>
              <a:gd name="T74" fmla="*/ 6110 w 9512"/>
              <a:gd name="T75" fmla="*/ 54 h 557"/>
              <a:gd name="T76" fmla="*/ 6322 w 9512"/>
              <a:gd name="T77" fmla="*/ 132 h 557"/>
              <a:gd name="T78" fmla="*/ 6739 w 9512"/>
              <a:gd name="T79" fmla="*/ 248 h 557"/>
              <a:gd name="T80" fmla="*/ 6571 w 9512"/>
              <a:gd name="T81" fmla="*/ 141 h 557"/>
              <a:gd name="T82" fmla="*/ 7212 w 9512"/>
              <a:gd name="T83" fmla="*/ 0 h 557"/>
              <a:gd name="T84" fmla="*/ 7212 w 9512"/>
              <a:gd name="T85" fmla="*/ 36 h 557"/>
              <a:gd name="T86" fmla="*/ 7657 w 9512"/>
              <a:gd name="T87" fmla="*/ 292 h 557"/>
              <a:gd name="T88" fmla="*/ 7767 w 9512"/>
              <a:gd name="T89" fmla="*/ 141 h 557"/>
              <a:gd name="T90" fmla="*/ 7971 w 9512"/>
              <a:gd name="T91" fmla="*/ 442 h 557"/>
              <a:gd name="T92" fmla="*/ 8209 w 9512"/>
              <a:gd name="T93" fmla="*/ 254 h 557"/>
              <a:gd name="T94" fmla="*/ 8334 w 9512"/>
              <a:gd name="T95" fmla="*/ 284 h 557"/>
              <a:gd name="T96" fmla="*/ 8440 w 9512"/>
              <a:gd name="T97" fmla="*/ 451 h 557"/>
              <a:gd name="T98" fmla="*/ 8298 w 9512"/>
              <a:gd name="T99" fmla="*/ 209 h 557"/>
              <a:gd name="T100" fmla="*/ 8650 w 9512"/>
              <a:gd name="T101" fmla="*/ 358 h 557"/>
              <a:gd name="T102" fmla="*/ 8808 w 9512"/>
              <a:gd name="T103" fmla="*/ 398 h 557"/>
              <a:gd name="T104" fmla="*/ 8662 w 9512"/>
              <a:gd name="T105" fmla="*/ 217 h 557"/>
              <a:gd name="T106" fmla="*/ 9138 w 9512"/>
              <a:gd name="T107" fmla="*/ 442 h 557"/>
              <a:gd name="T108" fmla="*/ 8934 w 9512"/>
              <a:gd name="T109" fmla="*/ 141 h 557"/>
              <a:gd name="T110" fmla="*/ 9306 w 9512"/>
              <a:gd name="T111" fmla="*/ 557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512" h="557">
                <a:moveTo>
                  <a:pt x="0" y="304"/>
                </a:moveTo>
                <a:cubicBezTo>
                  <a:pt x="1" y="346"/>
                  <a:pt x="2" y="452"/>
                  <a:pt x="168" y="452"/>
                </a:cubicBezTo>
                <a:cubicBezTo>
                  <a:pt x="288" y="452"/>
                  <a:pt x="353" y="389"/>
                  <a:pt x="353" y="311"/>
                </a:cubicBezTo>
                <a:cubicBezTo>
                  <a:pt x="353" y="227"/>
                  <a:pt x="279" y="206"/>
                  <a:pt x="204" y="188"/>
                </a:cubicBezTo>
                <a:cubicBezTo>
                  <a:pt x="142" y="173"/>
                  <a:pt x="110" y="166"/>
                  <a:pt x="110" y="125"/>
                </a:cubicBezTo>
                <a:cubicBezTo>
                  <a:pt x="110" y="90"/>
                  <a:pt x="138" y="67"/>
                  <a:pt x="181" y="67"/>
                </a:cubicBezTo>
                <a:cubicBezTo>
                  <a:pt x="245" y="67"/>
                  <a:pt x="250" y="118"/>
                  <a:pt x="252" y="133"/>
                </a:cubicBezTo>
                <a:lnTo>
                  <a:pt x="341" y="133"/>
                </a:lnTo>
                <a:cubicBezTo>
                  <a:pt x="341" y="118"/>
                  <a:pt x="341" y="83"/>
                  <a:pt x="316" y="52"/>
                </a:cubicBezTo>
                <a:cubicBezTo>
                  <a:pt x="284" y="11"/>
                  <a:pt x="230" y="1"/>
                  <a:pt x="186" y="1"/>
                </a:cubicBezTo>
                <a:cubicBezTo>
                  <a:pt x="65" y="1"/>
                  <a:pt x="14" y="64"/>
                  <a:pt x="14" y="136"/>
                </a:cubicBezTo>
                <a:cubicBezTo>
                  <a:pt x="14" y="211"/>
                  <a:pt x="70" y="241"/>
                  <a:pt x="174" y="267"/>
                </a:cubicBezTo>
                <a:cubicBezTo>
                  <a:pt x="229" y="280"/>
                  <a:pt x="256" y="287"/>
                  <a:pt x="256" y="325"/>
                </a:cubicBezTo>
                <a:cubicBezTo>
                  <a:pt x="256" y="362"/>
                  <a:pt x="224" y="386"/>
                  <a:pt x="174" y="386"/>
                </a:cubicBezTo>
                <a:cubicBezTo>
                  <a:pt x="94" y="386"/>
                  <a:pt x="95" y="324"/>
                  <a:pt x="95" y="304"/>
                </a:cubicBezTo>
                <a:lnTo>
                  <a:pt x="0" y="304"/>
                </a:lnTo>
                <a:close/>
                <a:moveTo>
                  <a:pt x="422" y="442"/>
                </a:moveTo>
                <a:lnTo>
                  <a:pt x="510" y="442"/>
                </a:lnTo>
                <a:lnTo>
                  <a:pt x="510" y="82"/>
                </a:lnTo>
                <a:lnTo>
                  <a:pt x="678" y="442"/>
                </a:lnTo>
                <a:lnTo>
                  <a:pt x="806" y="442"/>
                </a:lnTo>
                <a:lnTo>
                  <a:pt x="806" y="8"/>
                </a:lnTo>
                <a:lnTo>
                  <a:pt x="719" y="8"/>
                </a:lnTo>
                <a:lnTo>
                  <a:pt x="719" y="350"/>
                </a:lnTo>
                <a:lnTo>
                  <a:pt x="557" y="8"/>
                </a:lnTo>
                <a:lnTo>
                  <a:pt x="422" y="8"/>
                </a:lnTo>
                <a:lnTo>
                  <a:pt x="422" y="442"/>
                </a:lnTo>
                <a:close/>
                <a:moveTo>
                  <a:pt x="885" y="442"/>
                </a:moveTo>
                <a:lnTo>
                  <a:pt x="979" y="442"/>
                </a:lnTo>
                <a:lnTo>
                  <a:pt x="979" y="274"/>
                </a:lnTo>
                <a:lnTo>
                  <a:pt x="1042" y="274"/>
                </a:lnTo>
                <a:cubicBezTo>
                  <a:pt x="1065" y="274"/>
                  <a:pt x="1109" y="274"/>
                  <a:pt x="1140" y="253"/>
                </a:cubicBezTo>
                <a:cubicBezTo>
                  <a:pt x="1174" y="231"/>
                  <a:pt x="1196" y="188"/>
                  <a:pt x="1196" y="138"/>
                </a:cubicBezTo>
                <a:cubicBezTo>
                  <a:pt x="1196" y="116"/>
                  <a:pt x="1192" y="85"/>
                  <a:pt x="1169" y="57"/>
                </a:cubicBezTo>
                <a:cubicBezTo>
                  <a:pt x="1133" y="14"/>
                  <a:pt x="1081" y="10"/>
                  <a:pt x="1019" y="10"/>
                </a:cubicBezTo>
                <a:lnTo>
                  <a:pt x="885" y="10"/>
                </a:lnTo>
                <a:lnTo>
                  <a:pt x="885" y="442"/>
                </a:lnTo>
                <a:close/>
                <a:moveTo>
                  <a:pt x="977" y="80"/>
                </a:moveTo>
                <a:lnTo>
                  <a:pt x="1023" y="80"/>
                </a:lnTo>
                <a:cubicBezTo>
                  <a:pt x="1050" y="80"/>
                  <a:pt x="1099" y="80"/>
                  <a:pt x="1099" y="139"/>
                </a:cubicBezTo>
                <a:cubicBezTo>
                  <a:pt x="1099" y="205"/>
                  <a:pt x="1044" y="205"/>
                  <a:pt x="1014" y="205"/>
                </a:cubicBezTo>
                <a:lnTo>
                  <a:pt x="977" y="205"/>
                </a:lnTo>
                <a:lnTo>
                  <a:pt x="977" y="80"/>
                </a:lnTo>
                <a:close/>
                <a:moveTo>
                  <a:pt x="1428" y="442"/>
                </a:moveTo>
                <a:lnTo>
                  <a:pt x="1463" y="442"/>
                </a:lnTo>
                <a:lnTo>
                  <a:pt x="1463" y="9"/>
                </a:lnTo>
                <a:lnTo>
                  <a:pt x="1428" y="9"/>
                </a:lnTo>
                <a:lnTo>
                  <a:pt x="1428" y="442"/>
                </a:lnTo>
                <a:close/>
                <a:moveTo>
                  <a:pt x="1828" y="442"/>
                </a:moveTo>
                <a:lnTo>
                  <a:pt x="1866" y="442"/>
                </a:lnTo>
                <a:lnTo>
                  <a:pt x="1867" y="45"/>
                </a:lnTo>
                <a:lnTo>
                  <a:pt x="2004" y="45"/>
                </a:lnTo>
                <a:lnTo>
                  <a:pt x="2004" y="9"/>
                </a:lnTo>
                <a:lnTo>
                  <a:pt x="1687" y="9"/>
                </a:lnTo>
                <a:lnTo>
                  <a:pt x="1687" y="45"/>
                </a:lnTo>
                <a:lnTo>
                  <a:pt x="1827" y="45"/>
                </a:lnTo>
                <a:lnTo>
                  <a:pt x="1828" y="442"/>
                </a:lnTo>
                <a:close/>
                <a:moveTo>
                  <a:pt x="2096" y="9"/>
                </a:moveTo>
                <a:lnTo>
                  <a:pt x="2060" y="9"/>
                </a:lnTo>
                <a:lnTo>
                  <a:pt x="2060" y="442"/>
                </a:lnTo>
                <a:lnTo>
                  <a:pt x="2096" y="442"/>
                </a:lnTo>
                <a:lnTo>
                  <a:pt x="2096" y="269"/>
                </a:lnTo>
                <a:cubicBezTo>
                  <a:pt x="2096" y="215"/>
                  <a:pt x="2123" y="165"/>
                  <a:pt x="2183" y="165"/>
                </a:cubicBezTo>
                <a:cubicBezTo>
                  <a:pt x="2232" y="165"/>
                  <a:pt x="2262" y="196"/>
                  <a:pt x="2262" y="248"/>
                </a:cubicBezTo>
                <a:lnTo>
                  <a:pt x="2262" y="442"/>
                </a:lnTo>
                <a:lnTo>
                  <a:pt x="2298" y="442"/>
                </a:lnTo>
                <a:lnTo>
                  <a:pt x="2298" y="254"/>
                </a:lnTo>
                <a:cubicBezTo>
                  <a:pt x="2298" y="219"/>
                  <a:pt x="2290" y="132"/>
                  <a:pt x="2192" y="132"/>
                </a:cubicBezTo>
                <a:cubicBezTo>
                  <a:pt x="2153" y="132"/>
                  <a:pt x="2118" y="149"/>
                  <a:pt x="2097" y="187"/>
                </a:cubicBezTo>
                <a:lnTo>
                  <a:pt x="2096" y="187"/>
                </a:lnTo>
                <a:lnTo>
                  <a:pt x="2096" y="9"/>
                </a:lnTo>
                <a:close/>
                <a:moveTo>
                  <a:pt x="2647" y="300"/>
                </a:moveTo>
                <a:cubicBezTo>
                  <a:pt x="2647" y="206"/>
                  <a:pt x="2611" y="132"/>
                  <a:pt x="2510" y="132"/>
                </a:cubicBezTo>
                <a:cubicBezTo>
                  <a:pt x="2421" y="132"/>
                  <a:pt x="2376" y="210"/>
                  <a:pt x="2376" y="292"/>
                </a:cubicBezTo>
                <a:cubicBezTo>
                  <a:pt x="2376" y="374"/>
                  <a:pt x="2418" y="451"/>
                  <a:pt x="2508" y="451"/>
                </a:cubicBezTo>
                <a:cubicBezTo>
                  <a:pt x="2580" y="451"/>
                  <a:pt x="2625" y="418"/>
                  <a:pt x="2644" y="346"/>
                </a:cubicBezTo>
                <a:lnTo>
                  <a:pt x="2606" y="346"/>
                </a:lnTo>
                <a:cubicBezTo>
                  <a:pt x="2597" y="388"/>
                  <a:pt x="2561" y="418"/>
                  <a:pt x="2519" y="418"/>
                </a:cubicBezTo>
                <a:cubicBezTo>
                  <a:pt x="2445" y="418"/>
                  <a:pt x="2416" y="364"/>
                  <a:pt x="2415" y="300"/>
                </a:cubicBezTo>
                <a:lnTo>
                  <a:pt x="2647" y="300"/>
                </a:lnTo>
                <a:close/>
                <a:moveTo>
                  <a:pt x="2416" y="267"/>
                </a:moveTo>
                <a:cubicBezTo>
                  <a:pt x="2421" y="214"/>
                  <a:pt x="2452" y="165"/>
                  <a:pt x="2510" y="165"/>
                </a:cubicBezTo>
                <a:cubicBezTo>
                  <a:pt x="2573" y="165"/>
                  <a:pt x="2604" y="209"/>
                  <a:pt x="2608" y="267"/>
                </a:cubicBezTo>
                <a:lnTo>
                  <a:pt x="2416" y="267"/>
                </a:lnTo>
                <a:close/>
                <a:moveTo>
                  <a:pt x="2994" y="442"/>
                </a:moveTo>
                <a:lnTo>
                  <a:pt x="3033" y="442"/>
                </a:lnTo>
                <a:lnTo>
                  <a:pt x="3033" y="45"/>
                </a:lnTo>
                <a:lnTo>
                  <a:pt x="3171" y="45"/>
                </a:lnTo>
                <a:lnTo>
                  <a:pt x="3171" y="9"/>
                </a:lnTo>
                <a:lnTo>
                  <a:pt x="2854" y="9"/>
                </a:lnTo>
                <a:lnTo>
                  <a:pt x="2854" y="45"/>
                </a:lnTo>
                <a:lnTo>
                  <a:pt x="2994" y="45"/>
                </a:lnTo>
                <a:lnTo>
                  <a:pt x="2994" y="442"/>
                </a:lnTo>
                <a:close/>
                <a:moveTo>
                  <a:pt x="3208" y="261"/>
                </a:moveTo>
                <a:cubicBezTo>
                  <a:pt x="3209" y="203"/>
                  <a:pt x="3237" y="165"/>
                  <a:pt x="3291" y="165"/>
                </a:cubicBezTo>
                <a:cubicBezTo>
                  <a:pt x="3298" y="165"/>
                  <a:pt x="3306" y="167"/>
                  <a:pt x="3313" y="167"/>
                </a:cubicBezTo>
                <a:lnTo>
                  <a:pt x="3313" y="133"/>
                </a:lnTo>
                <a:cubicBezTo>
                  <a:pt x="3301" y="132"/>
                  <a:pt x="3289" y="132"/>
                  <a:pt x="3277" y="132"/>
                </a:cubicBezTo>
                <a:cubicBezTo>
                  <a:pt x="3247" y="133"/>
                  <a:pt x="3220" y="155"/>
                  <a:pt x="3209" y="185"/>
                </a:cubicBezTo>
                <a:lnTo>
                  <a:pt x="3208" y="185"/>
                </a:lnTo>
                <a:lnTo>
                  <a:pt x="3206" y="141"/>
                </a:lnTo>
                <a:lnTo>
                  <a:pt x="3169" y="141"/>
                </a:lnTo>
                <a:cubicBezTo>
                  <a:pt x="3170" y="161"/>
                  <a:pt x="3173" y="185"/>
                  <a:pt x="3172" y="209"/>
                </a:cubicBezTo>
                <a:lnTo>
                  <a:pt x="3172" y="442"/>
                </a:lnTo>
                <a:lnTo>
                  <a:pt x="3208" y="442"/>
                </a:lnTo>
                <a:lnTo>
                  <a:pt x="3208" y="261"/>
                </a:lnTo>
                <a:close/>
                <a:moveTo>
                  <a:pt x="3384" y="358"/>
                </a:moveTo>
                <a:cubicBezTo>
                  <a:pt x="3384" y="283"/>
                  <a:pt x="3491" y="292"/>
                  <a:pt x="3542" y="290"/>
                </a:cubicBezTo>
                <a:cubicBezTo>
                  <a:pt x="3546" y="353"/>
                  <a:pt x="3531" y="418"/>
                  <a:pt x="3452" y="418"/>
                </a:cubicBezTo>
                <a:cubicBezTo>
                  <a:pt x="3416" y="418"/>
                  <a:pt x="3384" y="399"/>
                  <a:pt x="3384" y="358"/>
                </a:cubicBezTo>
                <a:close/>
                <a:moveTo>
                  <a:pt x="3542" y="257"/>
                </a:moveTo>
                <a:cubicBezTo>
                  <a:pt x="3498" y="260"/>
                  <a:pt x="3446" y="254"/>
                  <a:pt x="3406" y="271"/>
                </a:cubicBezTo>
                <a:cubicBezTo>
                  <a:pt x="3370" y="286"/>
                  <a:pt x="3345" y="317"/>
                  <a:pt x="3345" y="358"/>
                </a:cubicBezTo>
                <a:cubicBezTo>
                  <a:pt x="3345" y="417"/>
                  <a:pt x="3390" y="451"/>
                  <a:pt x="3446" y="451"/>
                </a:cubicBezTo>
                <a:cubicBezTo>
                  <a:pt x="3486" y="451"/>
                  <a:pt x="3526" y="427"/>
                  <a:pt x="3540" y="402"/>
                </a:cubicBezTo>
                <a:lnTo>
                  <a:pt x="3542" y="398"/>
                </a:lnTo>
                <a:lnTo>
                  <a:pt x="3543" y="398"/>
                </a:lnTo>
                <a:lnTo>
                  <a:pt x="3544" y="442"/>
                </a:lnTo>
                <a:lnTo>
                  <a:pt x="3581" y="442"/>
                </a:lnTo>
                <a:cubicBezTo>
                  <a:pt x="3580" y="422"/>
                  <a:pt x="3577" y="398"/>
                  <a:pt x="3578" y="374"/>
                </a:cubicBezTo>
                <a:lnTo>
                  <a:pt x="3578" y="232"/>
                </a:lnTo>
                <a:cubicBezTo>
                  <a:pt x="3579" y="163"/>
                  <a:pt x="3538" y="132"/>
                  <a:pt x="3471" y="132"/>
                </a:cubicBezTo>
                <a:cubicBezTo>
                  <a:pt x="3414" y="132"/>
                  <a:pt x="3368" y="155"/>
                  <a:pt x="3359" y="217"/>
                </a:cubicBezTo>
                <a:lnTo>
                  <a:pt x="3397" y="217"/>
                </a:lnTo>
                <a:cubicBezTo>
                  <a:pt x="3402" y="176"/>
                  <a:pt x="3433" y="165"/>
                  <a:pt x="3471" y="165"/>
                </a:cubicBezTo>
                <a:cubicBezTo>
                  <a:pt x="3513" y="165"/>
                  <a:pt x="3539" y="181"/>
                  <a:pt x="3542" y="230"/>
                </a:cubicBezTo>
                <a:lnTo>
                  <a:pt x="3542" y="257"/>
                </a:lnTo>
                <a:close/>
                <a:moveTo>
                  <a:pt x="3708" y="269"/>
                </a:moveTo>
                <a:cubicBezTo>
                  <a:pt x="3708" y="215"/>
                  <a:pt x="3735" y="165"/>
                  <a:pt x="3794" y="165"/>
                </a:cubicBezTo>
                <a:cubicBezTo>
                  <a:pt x="3843" y="165"/>
                  <a:pt x="3873" y="196"/>
                  <a:pt x="3873" y="248"/>
                </a:cubicBezTo>
                <a:lnTo>
                  <a:pt x="3873" y="442"/>
                </a:lnTo>
                <a:lnTo>
                  <a:pt x="3909" y="442"/>
                </a:lnTo>
                <a:lnTo>
                  <a:pt x="3909" y="254"/>
                </a:lnTo>
                <a:cubicBezTo>
                  <a:pt x="3909" y="219"/>
                  <a:pt x="3901" y="132"/>
                  <a:pt x="3803" y="132"/>
                </a:cubicBezTo>
                <a:cubicBezTo>
                  <a:pt x="3764" y="132"/>
                  <a:pt x="3730" y="149"/>
                  <a:pt x="3709" y="187"/>
                </a:cubicBezTo>
                <a:lnTo>
                  <a:pt x="3708" y="185"/>
                </a:lnTo>
                <a:lnTo>
                  <a:pt x="3706" y="141"/>
                </a:lnTo>
                <a:lnTo>
                  <a:pt x="3669" y="141"/>
                </a:lnTo>
                <a:cubicBezTo>
                  <a:pt x="3670" y="161"/>
                  <a:pt x="3672" y="185"/>
                  <a:pt x="3672" y="209"/>
                </a:cubicBezTo>
                <a:lnTo>
                  <a:pt x="3672" y="442"/>
                </a:lnTo>
                <a:lnTo>
                  <a:pt x="3708" y="442"/>
                </a:lnTo>
                <a:lnTo>
                  <a:pt x="3708" y="269"/>
                </a:lnTo>
                <a:close/>
                <a:moveTo>
                  <a:pt x="3995" y="216"/>
                </a:moveTo>
                <a:cubicBezTo>
                  <a:pt x="3995" y="272"/>
                  <a:pt x="4043" y="286"/>
                  <a:pt x="4090" y="297"/>
                </a:cubicBezTo>
                <a:cubicBezTo>
                  <a:pt x="4138" y="308"/>
                  <a:pt x="4186" y="315"/>
                  <a:pt x="4186" y="358"/>
                </a:cubicBezTo>
                <a:cubicBezTo>
                  <a:pt x="4186" y="400"/>
                  <a:pt x="4145" y="418"/>
                  <a:pt x="4107" y="418"/>
                </a:cubicBezTo>
                <a:cubicBezTo>
                  <a:pt x="4066" y="418"/>
                  <a:pt x="4027" y="405"/>
                  <a:pt x="4024" y="360"/>
                </a:cubicBezTo>
                <a:lnTo>
                  <a:pt x="3985" y="360"/>
                </a:lnTo>
                <a:cubicBezTo>
                  <a:pt x="3986" y="426"/>
                  <a:pt x="4046" y="451"/>
                  <a:pt x="4098" y="451"/>
                </a:cubicBezTo>
                <a:cubicBezTo>
                  <a:pt x="4162" y="451"/>
                  <a:pt x="4224" y="421"/>
                  <a:pt x="4224" y="353"/>
                </a:cubicBezTo>
                <a:cubicBezTo>
                  <a:pt x="4224" y="320"/>
                  <a:pt x="4205" y="293"/>
                  <a:pt x="4174" y="283"/>
                </a:cubicBezTo>
                <a:cubicBezTo>
                  <a:pt x="4092" y="254"/>
                  <a:pt x="4034" y="258"/>
                  <a:pt x="4034" y="214"/>
                </a:cubicBezTo>
                <a:cubicBezTo>
                  <a:pt x="4034" y="178"/>
                  <a:pt x="4068" y="165"/>
                  <a:pt x="4102" y="165"/>
                </a:cubicBezTo>
                <a:cubicBezTo>
                  <a:pt x="4139" y="165"/>
                  <a:pt x="4172" y="178"/>
                  <a:pt x="4176" y="215"/>
                </a:cubicBezTo>
                <a:lnTo>
                  <a:pt x="4215" y="215"/>
                </a:lnTo>
                <a:cubicBezTo>
                  <a:pt x="4210" y="152"/>
                  <a:pt x="4162" y="132"/>
                  <a:pt x="4105" y="132"/>
                </a:cubicBezTo>
                <a:cubicBezTo>
                  <a:pt x="4052" y="132"/>
                  <a:pt x="3995" y="154"/>
                  <a:pt x="3995" y="216"/>
                </a:cubicBezTo>
                <a:close/>
                <a:moveTo>
                  <a:pt x="4367" y="442"/>
                </a:moveTo>
                <a:lnTo>
                  <a:pt x="4367" y="174"/>
                </a:lnTo>
                <a:lnTo>
                  <a:pt x="4435" y="174"/>
                </a:lnTo>
                <a:lnTo>
                  <a:pt x="4435" y="141"/>
                </a:lnTo>
                <a:lnTo>
                  <a:pt x="4367" y="141"/>
                </a:lnTo>
                <a:lnTo>
                  <a:pt x="4367" y="103"/>
                </a:lnTo>
                <a:cubicBezTo>
                  <a:pt x="4365" y="59"/>
                  <a:pt x="4366" y="35"/>
                  <a:pt x="4415" y="35"/>
                </a:cubicBezTo>
                <a:cubicBezTo>
                  <a:pt x="4423" y="35"/>
                  <a:pt x="4430" y="36"/>
                  <a:pt x="4437" y="37"/>
                </a:cubicBezTo>
                <a:lnTo>
                  <a:pt x="4437" y="8"/>
                </a:lnTo>
                <a:cubicBezTo>
                  <a:pt x="4427" y="6"/>
                  <a:pt x="4415" y="2"/>
                  <a:pt x="4403" y="2"/>
                </a:cubicBezTo>
                <a:cubicBezTo>
                  <a:pt x="4352" y="2"/>
                  <a:pt x="4331" y="25"/>
                  <a:pt x="4331" y="77"/>
                </a:cubicBezTo>
                <a:lnTo>
                  <a:pt x="4331" y="141"/>
                </a:lnTo>
                <a:lnTo>
                  <a:pt x="4270" y="141"/>
                </a:lnTo>
                <a:lnTo>
                  <a:pt x="4270" y="174"/>
                </a:lnTo>
                <a:lnTo>
                  <a:pt x="4331" y="174"/>
                </a:lnTo>
                <a:lnTo>
                  <a:pt x="4331" y="442"/>
                </a:lnTo>
                <a:lnTo>
                  <a:pt x="4367" y="442"/>
                </a:lnTo>
                <a:close/>
                <a:moveTo>
                  <a:pt x="4725" y="292"/>
                </a:moveTo>
                <a:cubicBezTo>
                  <a:pt x="4725" y="347"/>
                  <a:pt x="4696" y="418"/>
                  <a:pt x="4623" y="418"/>
                </a:cubicBezTo>
                <a:cubicBezTo>
                  <a:pt x="4551" y="418"/>
                  <a:pt x="4522" y="347"/>
                  <a:pt x="4522" y="292"/>
                </a:cubicBezTo>
                <a:cubicBezTo>
                  <a:pt x="4522" y="236"/>
                  <a:pt x="4551" y="165"/>
                  <a:pt x="4623" y="165"/>
                </a:cubicBezTo>
                <a:cubicBezTo>
                  <a:pt x="4696" y="165"/>
                  <a:pt x="4725" y="236"/>
                  <a:pt x="4725" y="292"/>
                </a:cubicBezTo>
                <a:close/>
                <a:moveTo>
                  <a:pt x="4623" y="132"/>
                </a:moveTo>
                <a:cubicBezTo>
                  <a:pt x="4527" y="132"/>
                  <a:pt x="4483" y="212"/>
                  <a:pt x="4483" y="292"/>
                </a:cubicBezTo>
                <a:cubicBezTo>
                  <a:pt x="4483" y="371"/>
                  <a:pt x="4527" y="451"/>
                  <a:pt x="4623" y="451"/>
                </a:cubicBezTo>
                <a:cubicBezTo>
                  <a:pt x="4719" y="451"/>
                  <a:pt x="4764" y="371"/>
                  <a:pt x="4764" y="292"/>
                </a:cubicBezTo>
                <a:cubicBezTo>
                  <a:pt x="4764" y="212"/>
                  <a:pt x="4719" y="132"/>
                  <a:pt x="4623" y="132"/>
                </a:cubicBezTo>
                <a:close/>
                <a:moveTo>
                  <a:pt x="4874" y="261"/>
                </a:moveTo>
                <a:cubicBezTo>
                  <a:pt x="4875" y="203"/>
                  <a:pt x="4903" y="165"/>
                  <a:pt x="4957" y="165"/>
                </a:cubicBezTo>
                <a:cubicBezTo>
                  <a:pt x="4964" y="165"/>
                  <a:pt x="4972" y="167"/>
                  <a:pt x="4979" y="167"/>
                </a:cubicBezTo>
                <a:lnTo>
                  <a:pt x="4979" y="133"/>
                </a:lnTo>
                <a:cubicBezTo>
                  <a:pt x="4967" y="132"/>
                  <a:pt x="4955" y="132"/>
                  <a:pt x="4943" y="132"/>
                </a:cubicBezTo>
                <a:cubicBezTo>
                  <a:pt x="4913" y="133"/>
                  <a:pt x="4886" y="155"/>
                  <a:pt x="4875" y="185"/>
                </a:cubicBezTo>
                <a:lnTo>
                  <a:pt x="4874" y="185"/>
                </a:lnTo>
                <a:lnTo>
                  <a:pt x="4872" y="141"/>
                </a:lnTo>
                <a:lnTo>
                  <a:pt x="4835" y="141"/>
                </a:lnTo>
                <a:cubicBezTo>
                  <a:pt x="4836" y="161"/>
                  <a:pt x="4839" y="185"/>
                  <a:pt x="4838" y="209"/>
                </a:cubicBezTo>
                <a:lnTo>
                  <a:pt x="4838" y="442"/>
                </a:lnTo>
                <a:lnTo>
                  <a:pt x="4874" y="442"/>
                </a:lnTo>
                <a:lnTo>
                  <a:pt x="4874" y="261"/>
                </a:lnTo>
                <a:close/>
                <a:moveTo>
                  <a:pt x="5071" y="141"/>
                </a:moveTo>
                <a:lnTo>
                  <a:pt x="5034" y="141"/>
                </a:lnTo>
                <a:cubicBezTo>
                  <a:pt x="5035" y="161"/>
                  <a:pt x="5037" y="185"/>
                  <a:pt x="5037" y="209"/>
                </a:cubicBezTo>
                <a:lnTo>
                  <a:pt x="5037" y="442"/>
                </a:lnTo>
                <a:lnTo>
                  <a:pt x="5073" y="442"/>
                </a:lnTo>
                <a:lnTo>
                  <a:pt x="5073" y="269"/>
                </a:lnTo>
                <a:cubicBezTo>
                  <a:pt x="5073" y="215"/>
                  <a:pt x="5100" y="165"/>
                  <a:pt x="5159" y="165"/>
                </a:cubicBezTo>
                <a:cubicBezTo>
                  <a:pt x="5209" y="165"/>
                  <a:pt x="5239" y="196"/>
                  <a:pt x="5239" y="248"/>
                </a:cubicBezTo>
                <a:lnTo>
                  <a:pt x="5239" y="442"/>
                </a:lnTo>
                <a:lnTo>
                  <a:pt x="5275" y="442"/>
                </a:lnTo>
                <a:lnTo>
                  <a:pt x="5275" y="269"/>
                </a:lnTo>
                <a:cubicBezTo>
                  <a:pt x="5275" y="215"/>
                  <a:pt x="5302" y="165"/>
                  <a:pt x="5361" y="165"/>
                </a:cubicBezTo>
                <a:cubicBezTo>
                  <a:pt x="5410" y="165"/>
                  <a:pt x="5440" y="196"/>
                  <a:pt x="5440" y="248"/>
                </a:cubicBezTo>
                <a:lnTo>
                  <a:pt x="5440" y="442"/>
                </a:lnTo>
                <a:lnTo>
                  <a:pt x="5476" y="442"/>
                </a:lnTo>
                <a:lnTo>
                  <a:pt x="5476" y="254"/>
                </a:lnTo>
                <a:cubicBezTo>
                  <a:pt x="5476" y="219"/>
                  <a:pt x="5468" y="132"/>
                  <a:pt x="5370" y="132"/>
                </a:cubicBezTo>
                <a:cubicBezTo>
                  <a:pt x="5323" y="132"/>
                  <a:pt x="5288" y="163"/>
                  <a:pt x="5266" y="198"/>
                </a:cubicBezTo>
                <a:cubicBezTo>
                  <a:pt x="5253" y="158"/>
                  <a:pt x="5216" y="132"/>
                  <a:pt x="5168" y="132"/>
                </a:cubicBezTo>
                <a:cubicBezTo>
                  <a:pt x="5130" y="132"/>
                  <a:pt x="5095" y="149"/>
                  <a:pt x="5074" y="187"/>
                </a:cubicBezTo>
                <a:lnTo>
                  <a:pt x="5073" y="185"/>
                </a:lnTo>
                <a:lnTo>
                  <a:pt x="5071" y="141"/>
                </a:lnTo>
                <a:close/>
                <a:moveTo>
                  <a:pt x="5583" y="358"/>
                </a:moveTo>
                <a:cubicBezTo>
                  <a:pt x="5583" y="283"/>
                  <a:pt x="5690" y="292"/>
                  <a:pt x="5741" y="290"/>
                </a:cubicBezTo>
                <a:cubicBezTo>
                  <a:pt x="5745" y="353"/>
                  <a:pt x="5730" y="418"/>
                  <a:pt x="5651" y="418"/>
                </a:cubicBezTo>
                <a:cubicBezTo>
                  <a:pt x="5615" y="418"/>
                  <a:pt x="5583" y="399"/>
                  <a:pt x="5583" y="358"/>
                </a:cubicBezTo>
                <a:close/>
                <a:moveTo>
                  <a:pt x="5741" y="257"/>
                </a:moveTo>
                <a:cubicBezTo>
                  <a:pt x="5698" y="260"/>
                  <a:pt x="5645" y="254"/>
                  <a:pt x="5605" y="271"/>
                </a:cubicBezTo>
                <a:cubicBezTo>
                  <a:pt x="5569" y="286"/>
                  <a:pt x="5545" y="317"/>
                  <a:pt x="5545" y="358"/>
                </a:cubicBezTo>
                <a:cubicBezTo>
                  <a:pt x="5545" y="417"/>
                  <a:pt x="5589" y="451"/>
                  <a:pt x="5645" y="451"/>
                </a:cubicBezTo>
                <a:cubicBezTo>
                  <a:pt x="5685" y="451"/>
                  <a:pt x="5726" y="427"/>
                  <a:pt x="5739" y="402"/>
                </a:cubicBezTo>
                <a:lnTo>
                  <a:pt x="5741" y="398"/>
                </a:lnTo>
                <a:lnTo>
                  <a:pt x="5742" y="398"/>
                </a:lnTo>
                <a:lnTo>
                  <a:pt x="5743" y="442"/>
                </a:lnTo>
                <a:lnTo>
                  <a:pt x="5780" y="442"/>
                </a:lnTo>
                <a:cubicBezTo>
                  <a:pt x="5779" y="422"/>
                  <a:pt x="5777" y="398"/>
                  <a:pt x="5777" y="374"/>
                </a:cubicBezTo>
                <a:lnTo>
                  <a:pt x="5777" y="232"/>
                </a:lnTo>
                <a:cubicBezTo>
                  <a:pt x="5778" y="163"/>
                  <a:pt x="5737" y="132"/>
                  <a:pt x="5670" y="132"/>
                </a:cubicBezTo>
                <a:cubicBezTo>
                  <a:pt x="5613" y="132"/>
                  <a:pt x="5567" y="155"/>
                  <a:pt x="5558" y="217"/>
                </a:cubicBezTo>
                <a:lnTo>
                  <a:pt x="5596" y="217"/>
                </a:lnTo>
                <a:cubicBezTo>
                  <a:pt x="5601" y="176"/>
                  <a:pt x="5632" y="165"/>
                  <a:pt x="5670" y="165"/>
                </a:cubicBezTo>
                <a:cubicBezTo>
                  <a:pt x="5712" y="165"/>
                  <a:pt x="5738" y="181"/>
                  <a:pt x="5741" y="230"/>
                </a:cubicBezTo>
                <a:lnTo>
                  <a:pt x="5741" y="257"/>
                </a:lnTo>
                <a:close/>
                <a:moveTo>
                  <a:pt x="5897" y="362"/>
                </a:moveTo>
                <a:cubicBezTo>
                  <a:pt x="5897" y="402"/>
                  <a:pt x="5892" y="451"/>
                  <a:pt x="5968" y="451"/>
                </a:cubicBezTo>
                <a:cubicBezTo>
                  <a:pt x="5981" y="451"/>
                  <a:pt x="5994" y="449"/>
                  <a:pt x="6005" y="446"/>
                </a:cubicBezTo>
                <a:lnTo>
                  <a:pt x="6005" y="415"/>
                </a:lnTo>
                <a:cubicBezTo>
                  <a:pt x="5996" y="417"/>
                  <a:pt x="5985" y="418"/>
                  <a:pt x="5974" y="418"/>
                </a:cubicBezTo>
                <a:cubicBezTo>
                  <a:pt x="5946" y="418"/>
                  <a:pt x="5932" y="403"/>
                  <a:pt x="5933" y="375"/>
                </a:cubicBezTo>
                <a:lnTo>
                  <a:pt x="5933" y="174"/>
                </a:lnTo>
                <a:lnTo>
                  <a:pt x="6001" y="174"/>
                </a:lnTo>
                <a:lnTo>
                  <a:pt x="6001" y="141"/>
                </a:lnTo>
                <a:lnTo>
                  <a:pt x="5933" y="141"/>
                </a:lnTo>
                <a:lnTo>
                  <a:pt x="5933" y="61"/>
                </a:lnTo>
                <a:lnTo>
                  <a:pt x="5897" y="77"/>
                </a:lnTo>
                <a:lnTo>
                  <a:pt x="5897" y="141"/>
                </a:lnTo>
                <a:lnTo>
                  <a:pt x="5837" y="141"/>
                </a:lnTo>
                <a:lnTo>
                  <a:pt x="5837" y="174"/>
                </a:lnTo>
                <a:lnTo>
                  <a:pt x="5897" y="174"/>
                </a:lnTo>
                <a:lnTo>
                  <a:pt x="5897" y="362"/>
                </a:lnTo>
                <a:close/>
                <a:moveTo>
                  <a:pt x="6071" y="141"/>
                </a:moveTo>
                <a:lnTo>
                  <a:pt x="6071" y="442"/>
                </a:lnTo>
                <a:lnTo>
                  <a:pt x="6107" y="442"/>
                </a:lnTo>
                <a:lnTo>
                  <a:pt x="6107" y="141"/>
                </a:lnTo>
                <a:lnTo>
                  <a:pt x="6071" y="141"/>
                </a:lnTo>
                <a:close/>
                <a:moveTo>
                  <a:pt x="6110" y="9"/>
                </a:moveTo>
                <a:lnTo>
                  <a:pt x="6068" y="9"/>
                </a:lnTo>
                <a:lnTo>
                  <a:pt x="6068" y="54"/>
                </a:lnTo>
                <a:lnTo>
                  <a:pt x="6110" y="54"/>
                </a:lnTo>
                <a:lnTo>
                  <a:pt x="6110" y="9"/>
                </a:lnTo>
                <a:close/>
                <a:moveTo>
                  <a:pt x="6424" y="292"/>
                </a:moveTo>
                <a:cubicBezTo>
                  <a:pt x="6424" y="347"/>
                  <a:pt x="6395" y="418"/>
                  <a:pt x="6322" y="418"/>
                </a:cubicBezTo>
                <a:cubicBezTo>
                  <a:pt x="6250" y="418"/>
                  <a:pt x="6221" y="347"/>
                  <a:pt x="6221" y="292"/>
                </a:cubicBezTo>
                <a:cubicBezTo>
                  <a:pt x="6221" y="236"/>
                  <a:pt x="6250" y="165"/>
                  <a:pt x="6322" y="165"/>
                </a:cubicBezTo>
                <a:cubicBezTo>
                  <a:pt x="6395" y="165"/>
                  <a:pt x="6424" y="236"/>
                  <a:pt x="6424" y="292"/>
                </a:cubicBezTo>
                <a:close/>
                <a:moveTo>
                  <a:pt x="6322" y="132"/>
                </a:moveTo>
                <a:cubicBezTo>
                  <a:pt x="6226" y="132"/>
                  <a:pt x="6182" y="212"/>
                  <a:pt x="6182" y="292"/>
                </a:cubicBezTo>
                <a:cubicBezTo>
                  <a:pt x="6182" y="371"/>
                  <a:pt x="6226" y="451"/>
                  <a:pt x="6322" y="451"/>
                </a:cubicBezTo>
                <a:cubicBezTo>
                  <a:pt x="6418" y="451"/>
                  <a:pt x="6463" y="371"/>
                  <a:pt x="6463" y="292"/>
                </a:cubicBezTo>
                <a:cubicBezTo>
                  <a:pt x="6463" y="212"/>
                  <a:pt x="6418" y="132"/>
                  <a:pt x="6322" y="132"/>
                </a:cubicBezTo>
                <a:close/>
                <a:moveTo>
                  <a:pt x="6573" y="269"/>
                </a:moveTo>
                <a:cubicBezTo>
                  <a:pt x="6573" y="215"/>
                  <a:pt x="6600" y="165"/>
                  <a:pt x="6659" y="165"/>
                </a:cubicBezTo>
                <a:cubicBezTo>
                  <a:pt x="6709" y="165"/>
                  <a:pt x="6739" y="196"/>
                  <a:pt x="6739" y="248"/>
                </a:cubicBezTo>
                <a:lnTo>
                  <a:pt x="6739" y="442"/>
                </a:lnTo>
                <a:lnTo>
                  <a:pt x="6774" y="442"/>
                </a:lnTo>
                <a:lnTo>
                  <a:pt x="6774" y="254"/>
                </a:lnTo>
                <a:cubicBezTo>
                  <a:pt x="6774" y="219"/>
                  <a:pt x="6767" y="132"/>
                  <a:pt x="6668" y="132"/>
                </a:cubicBezTo>
                <a:cubicBezTo>
                  <a:pt x="6629" y="132"/>
                  <a:pt x="6595" y="149"/>
                  <a:pt x="6574" y="187"/>
                </a:cubicBezTo>
                <a:lnTo>
                  <a:pt x="6573" y="185"/>
                </a:lnTo>
                <a:lnTo>
                  <a:pt x="6571" y="141"/>
                </a:lnTo>
                <a:lnTo>
                  <a:pt x="6534" y="141"/>
                </a:lnTo>
                <a:cubicBezTo>
                  <a:pt x="6535" y="161"/>
                  <a:pt x="6537" y="185"/>
                  <a:pt x="6537" y="209"/>
                </a:cubicBezTo>
                <a:lnTo>
                  <a:pt x="6537" y="442"/>
                </a:lnTo>
                <a:lnTo>
                  <a:pt x="6573" y="442"/>
                </a:lnTo>
                <a:lnTo>
                  <a:pt x="6573" y="269"/>
                </a:lnTo>
                <a:close/>
                <a:moveTo>
                  <a:pt x="7356" y="110"/>
                </a:moveTo>
                <a:cubicBezTo>
                  <a:pt x="7350" y="33"/>
                  <a:pt x="7283" y="0"/>
                  <a:pt x="7212" y="0"/>
                </a:cubicBezTo>
                <a:cubicBezTo>
                  <a:pt x="7081" y="0"/>
                  <a:pt x="7026" y="107"/>
                  <a:pt x="7026" y="226"/>
                </a:cubicBezTo>
                <a:cubicBezTo>
                  <a:pt x="7026" y="346"/>
                  <a:pt x="7081" y="451"/>
                  <a:pt x="7212" y="451"/>
                </a:cubicBezTo>
                <a:cubicBezTo>
                  <a:pt x="7282" y="451"/>
                  <a:pt x="7348" y="410"/>
                  <a:pt x="7361" y="337"/>
                </a:cubicBezTo>
                <a:lnTo>
                  <a:pt x="7319" y="337"/>
                </a:lnTo>
                <a:cubicBezTo>
                  <a:pt x="7308" y="391"/>
                  <a:pt x="7260" y="415"/>
                  <a:pt x="7212" y="415"/>
                </a:cubicBezTo>
                <a:cubicBezTo>
                  <a:pt x="7101" y="415"/>
                  <a:pt x="7068" y="314"/>
                  <a:pt x="7068" y="226"/>
                </a:cubicBezTo>
                <a:cubicBezTo>
                  <a:pt x="7068" y="137"/>
                  <a:pt x="7101" y="36"/>
                  <a:pt x="7212" y="36"/>
                </a:cubicBezTo>
                <a:cubicBezTo>
                  <a:pt x="7262" y="36"/>
                  <a:pt x="7307" y="58"/>
                  <a:pt x="7314" y="110"/>
                </a:cubicBezTo>
                <a:lnTo>
                  <a:pt x="7356" y="110"/>
                </a:lnTo>
                <a:close/>
                <a:moveTo>
                  <a:pt x="7657" y="292"/>
                </a:moveTo>
                <a:cubicBezTo>
                  <a:pt x="7657" y="347"/>
                  <a:pt x="7629" y="418"/>
                  <a:pt x="7556" y="418"/>
                </a:cubicBezTo>
                <a:cubicBezTo>
                  <a:pt x="7483" y="418"/>
                  <a:pt x="7455" y="347"/>
                  <a:pt x="7455" y="292"/>
                </a:cubicBezTo>
                <a:cubicBezTo>
                  <a:pt x="7455" y="236"/>
                  <a:pt x="7483" y="165"/>
                  <a:pt x="7556" y="165"/>
                </a:cubicBezTo>
                <a:cubicBezTo>
                  <a:pt x="7629" y="165"/>
                  <a:pt x="7657" y="236"/>
                  <a:pt x="7657" y="292"/>
                </a:cubicBezTo>
                <a:close/>
                <a:moveTo>
                  <a:pt x="7556" y="132"/>
                </a:moveTo>
                <a:cubicBezTo>
                  <a:pt x="7460" y="132"/>
                  <a:pt x="7416" y="212"/>
                  <a:pt x="7416" y="292"/>
                </a:cubicBezTo>
                <a:cubicBezTo>
                  <a:pt x="7416" y="371"/>
                  <a:pt x="7460" y="451"/>
                  <a:pt x="7556" y="451"/>
                </a:cubicBezTo>
                <a:cubicBezTo>
                  <a:pt x="7652" y="451"/>
                  <a:pt x="7696" y="371"/>
                  <a:pt x="7696" y="292"/>
                </a:cubicBezTo>
                <a:cubicBezTo>
                  <a:pt x="7696" y="212"/>
                  <a:pt x="7652" y="132"/>
                  <a:pt x="7556" y="132"/>
                </a:cubicBezTo>
                <a:close/>
                <a:moveTo>
                  <a:pt x="7804" y="141"/>
                </a:moveTo>
                <a:lnTo>
                  <a:pt x="7767" y="141"/>
                </a:lnTo>
                <a:cubicBezTo>
                  <a:pt x="7768" y="161"/>
                  <a:pt x="7770" y="185"/>
                  <a:pt x="7770" y="209"/>
                </a:cubicBezTo>
                <a:lnTo>
                  <a:pt x="7770" y="442"/>
                </a:lnTo>
                <a:lnTo>
                  <a:pt x="7806" y="442"/>
                </a:lnTo>
                <a:lnTo>
                  <a:pt x="7806" y="269"/>
                </a:lnTo>
                <a:cubicBezTo>
                  <a:pt x="7806" y="215"/>
                  <a:pt x="7833" y="165"/>
                  <a:pt x="7892" y="165"/>
                </a:cubicBezTo>
                <a:cubicBezTo>
                  <a:pt x="7942" y="165"/>
                  <a:pt x="7971" y="196"/>
                  <a:pt x="7971" y="248"/>
                </a:cubicBezTo>
                <a:lnTo>
                  <a:pt x="7971" y="442"/>
                </a:lnTo>
                <a:lnTo>
                  <a:pt x="8007" y="442"/>
                </a:lnTo>
                <a:lnTo>
                  <a:pt x="8007" y="269"/>
                </a:lnTo>
                <a:cubicBezTo>
                  <a:pt x="8007" y="215"/>
                  <a:pt x="8034" y="165"/>
                  <a:pt x="8094" y="165"/>
                </a:cubicBezTo>
                <a:cubicBezTo>
                  <a:pt x="8143" y="165"/>
                  <a:pt x="8173" y="196"/>
                  <a:pt x="8173" y="248"/>
                </a:cubicBezTo>
                <a:lnTo>
                  <a:pt x="8173" y="442"/>
                </a:lnTo>
                <a:lnTo>
                  <a:pt x="8209" y="442"/>
                </a:lnTo>
                <a:lnTo>
                  <a:pt x="8209" y="254"/>
                </a:lnTo>
                <a:cubicBezTo>
                  <a:pt x="8209" y="219"/>
                  <a:pt x="8201" y="132"/>
                  <a:pt x="8103" y="132"/>
                </a:cubicBezTo>
                <a:cubicBezTo>
                  <a:pt x="8056" y="132"/>
                  <a:pt x="8021" y="163"/>
                  <a:pt x="7999" y="198"/>
                </a:cubicBezTo>
                <a:cubicBezTo>
                  <a:pt x="7986" y="158"/>
                  <a:pt x="7949" y="132"/>
                  <a:pt x="7901" y="132"/>
                </a:cubicBezTo>
                <a:cubicBezTo>
                  <a:pt x="7862" y="132"/>
                  <a:pt x="7828" y="149"/>
                  <a:pt x="7807" y="187"/>
                </a:cubicBezTo>
                <a:lnTo>
                  <a:pt x="7806" y="185"/>
                </a:lnTo>
                <a:lnTo>
                  <a:pt x="7804" y="141"/>
                </a:lnTo>
                <a:close/>
                <a:moveTo>
                  <a:pt x="8334" y="284"/>
                </a:moveTo>
                <a:cubicBezTo>
                  <a:pt x="8334" y="223"/>
                  <a:pt x="8361" y="165"/>
                  <a:pt x="8431" y="165"/>
                </a:cubicBezTo>
                <a:cubicBezTo>
                  <a:pt x="8499" y="165"/>
                  <a:pt x="8523" y="229"/>
                  <a:pt x="8523" y="286"/>
                </a:cubicBezTo>
                <a:cubicBezTo>
                  <a:pt x="8523" y="342"/>
                  <a:pt x="8505" y="418"/>
                  <a:pt x="8436" y="418"/>
                </a:cubicBezTo>
                <a:cubicBezTo>
                  <a:pt x="8358" y="418"/>
                  <a:pt x="8334" y="353"/>
                  <a:pt x="8334" y="284"/>
                </a:cubicBezTo>
                <a:close/>
                <a:moveTo>
                  <a:pt x="8334" y="395"/>
                </a:moveTo>
                <a:lnTo>
                  <a:pt x="8335" y="395"/>
                </a:lnTo>
                <a:cubicBezTo>
                  <a:pt x="8359" y="431"/>
                  <a:pt x="8396" y="451"/>
                  <a:pt x="8440" y="451"/>
                </a:cubicBezTo>
                <a:cubicBezTo>
                  <a:pt x="8527" y="451"/>
                  <a:pt x="8562" y="366"/>
                  <a:pt x="8562" y="290"/>
                </a:cubicBezTo>
                <a:cubicBezTo>
                  <a:pt x="8562" y="212"/>
                  <a:pt x="8527" y="132"/>
                  <a:pt x="8438" y="132"/>
                </a:cubicBezTo>
                <a:cubicBezTo>
                  <a:pt x="8398" y="132"/>
                  <a:pt x="8356" y="151"/>
                  <a:pt x="8335" y="187"/>
                </a:cubicBezTo>
                <a:lnTo>
                  <a:pt x="8334" y="185"/>
                </a:lnTo>
                <a:lnTo>
                  <a:pt x="8332" y="141"/>
                </a:lnTo>
                <a:lnTo>
                  <a:pt x="8295" y="141"/>
                </a:lnTo>
                <a:cubicBezTo>
                  <a:pt x="8296" y="161"/>
                  <a:pt x="8298" y="185"/>
                  <a:pt x="8298" y="209"/>
                </a:cubicBezTo>
                <a:lnTo>
                  <a:pt x="8298" y="557"/>
                </a:lnTo>
                <a:lnTo>
                  <a:pt x="8334" y="557"/>
                </a:lnTo>
                <a:lnTo>
                  <a:pt x="8334" y="395"/>
                </a:lnTo>
                <a:close/>
                <a:moveTo>
                  <a:pt x="8650" y="358"/>
                </a:moveTo>
                <a:cubicBezTo>
                  <a:pt x="8650" y="283"/>
                  <a:pt x="8756" y="292"/>
                  <a:pt x="8807" y="290"/>
                </a:cubicBezTo>
                <a:cubicBezTo>
                  <a:pt x="8811" y="353"/>
                  <a:pt x="8796" y="418"/>
                  <a:pt x="8717" y="418"/>
                </a:cubicBezTo>
                <a:cubicBezTo>
                  <a:pt x="8681" y="418"/>
                  <a:pt x="8650" y="399"/>
                  <a:pt x="8650" y="358"/>
                </a:cubicBezTo>
                <a:close/>
                <a:moveTo>
                  <a:pt x="8807" y="257"/>
                </a:moveTo>
                <a:cubicBezTo>
                  <a:pt x="8764" y="260"/>
                  <a:pt x="8711" y="254"/>
                  <a:pt x="8671" y="271"/>
                </a:cubicBezTo>
                <a:cubicBezTo>
                  <a:pt x="8635" y="286"/>
                  <a:pt x="8611" y="317"/>
                  <a:pt x="8611" y="358"/>
                </a:cubicBezTo>
                <a:cubicBezTo>
                  <a:pt x="8611" y="417"/>
                  <a:pt x="8655" y="451"/>
                  <a:pt x="8711" y="451"/>
                </a:cubicBezTo>
                <a:cubicBezTo>
                  <a:pt x="8752" y="451"/>
                  <a:pt x="8792" y="427"/>
                  <a:pt x="8805" y="402"/>
                </a:cubicBezTo>
                <a:lnTo>
                  <a:pt x="8807" y="398"/>
                </a:lnTo>
                <a:lnTo>
                  <a:pt x="8808" y="398"/>
                </a:lnTo>
                <a:lnTo>
                  <a:pt x="8809" y="442"/>
                </a:lnTo>
                <a:lnTo>
                  <a:pt x="8846" y="442"/>
                </a:lnTo>
                <a:cubicBezTo>
                  <a:pt x="8845" y="422"/>
                  <a:pt x="8843" y="398"/>
                  <a:pt x="8843" y="374"/>
                </a:cubicBezTo>
                <a:lnTo>
                  <a:pt x="8843" y="232"/>
                </a:lnTo>
                <a:cubicBezTo>
                  <a:pt x="8845" y="163"/>
                  <a:pt x="8803" y="132"/>
                  <a:pt x="8737" y="132"/>
                </a:cubicBezTo>
                <a:cubicBezTo>
                  <a:pt x="8679" y="132"/>
                  <a:pt x="8633" y="155"/>
                  <a:pt x="8624" y="217"/>
                </a:cubicBezTo>
                <a:lnTo>
                  <a:pt x="8662" y="217"/>
                </a:lnTo>
                <a:cubicBezTo>
                  <a:pt x="8667" y="176"/>
                  <a:pt x="8698" y="165"/>
                  <a:pt x="8736" y="165"/>
                </a:cubicBezTo>
                <a:cubicBezTo>
                  <a:pt x="8779" y="165"/>
                  <a:pt x="8804" y="181"/>
                  <a:pt x="8807" y="230"/>
                </a:cubicBezTo>
                <a:lnTo>
                  <a:pt x="8807" y="257"/>
                </a:lnTo>
                <a:close/>
                <a:moveTo>
                  <a:pt x="8973" y="269"/>
                </a:moveTo>
                <a:cubicBezTo>
                  <a:pt x="8973" y="215"/>
                  <a:pt x="9000" y="165"/>
                  <a:pt x="9059" y="165"/>
                </a:cubicBezTo>
                <a:cubicBezTo>
                  <a:pt x="9108" y="165"/>
                  <a:pt x="9138" y="196"/>
                  <a:pt x="9138" y="248"/>
                </a:cubicBezTo>
                <a:lnTo>
                  <a:pt x="9138" y="442"/>
                </a:lnTo>
                <a:lnTo>
                  <a:pt x="9174" y="442"/>
                </a:lnTo>
                <a:lnTo>
                  <a:pt x="9174" y="254"/>
                </a:lnTo>
                <a:cubicBezTo>
                  <a:pt x="9174" y="219"/>
                  <a:pt x="9167" y="132"/>
                  <a:pt x="9068" y="132"/>
                </a:cubicBezTo>
                <a:cubicBezTo>
                  <a:pt x="9029" y="132"/>
                  <a:pt x="8995" y="149"/>
                  <a:pt x="8974" y="187"/>
                </a:cubicBezTo>
                <a:lnTo>
                  <a:pt x="8973" y="185"/>
                </a:lnTo>
                <a:lnTo>
                  <a:pt x="8971" y="141"/>
                </a:lnTo>
                <a:lnTo>
                  <a:pt x="8934" y="141"/>
                </a:lnTo>
                <a:cubicBezTo>
                  <a:pt x="8935" y="161"/>
                  <a:pt x="8937" y="185"/>
                  <a:pt x="8937" y="209"/>
                </a:cubicBezTo>
                <a:lnTo>
                  <a:pt x="8937" y="442"/>
                </a:lnTo>
                <a:lnTo>
                  <a:pt x="8973" y="442"/>
                </a:lnTo>
                <a:lnTo>
                  <a:pt x="8973" y="269"/>
                </a:lnTo>
                <a:close/>
                <a:moveTo>
                  <a:pt x="9227" y="141"/>
                </a:moveTo>
                <a:lnTo>
                  <a:pt x="9352" y="442"/>
                </a:lnTo>
                <a:lnTo>
                  <a:pt x="9306" y="557"/>
                </a:lnTo>
                <a:lnTo>
                  <a:pt x="9346" y="557"/>
                </a:lnTo>
                <a:lnTo>
                  <a:pt x="9512" y="141"/>
                </a:lnTo>
                <a:lnTo>
                  <a:pt x="9473" y="141"/>
                </a:lnTo>
                <a:lnTo>
                  <a:pt x="9372" y="393"/>
                </a:lnTo>
                <a:lnTo>
                  <a:pt x="9271" y="141"/>
                </a:lnTo>
                <a:lnTo>
                  <a:pt x="9227" y="14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p>
        </p:txBody>
      </p:sp>
    </p:spTree>
    <p:extLst>
      <p:ext uri="{BB962C8B-B14F-4D97-AF65-F5344CB8AC3E}">
        <p14:creationId xmlns:p14="http://schemas.microsoft.com/office/powerpoint/2010/main" val="3252110483"/>
      </p:ext>
    </p:extLst>
  </p:cSld>
  <p:clrMapOvr>
    <a:masterClrMapping/>
  </p:clrMapOvr>
  <p:transition spd="med">
    <p:fade/>
  </p:transition>
  <p:extLst>
    <p:ext uri="{DCECCB84-F9BA-43D5-87BE-67443E8EF086}">
      <p15:sldGuideLst xmlns:p15="http://schemas.microsoft.com/office/powerpoint/2012/main">
        <p15:guide id="1" orient="horz" pos="2478">
          <p15:clr>
            <a:srgbClr val="FBAE40"/>
          </p15:clr>
        </p15:guide>
        <p15:guide id="2" orient="horz" pos="2886">
          <p15:clr>
            <a:srgbClr val="FBAE40"/>
          </p15:clr>
        </p15:guide>
        <p15:guide id="3" orient="horz" pos="295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02 Kapiteltrenner 1">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06400" y="4042334"/>
            <a:ext cx="11377613" cy="1007504"/>
          </a:xfrm>
          <a:prstGeom prst="rect">
            <a:avLst/>
          </a:prstGeom>
        </p:spPr>
        <p:txBody>
          <a:bodyPr anchor="b" anchorCtr="0"/>
          <a:lstStyle>
            <a:lvl1pPr algn="l">
              <a:defRPr sz="3600">
                <a:solidFill>
                  <a:schemeClr val="tx2"/>
                </a:solidFill>
              </a:defRPr>
            </a:lvl1pPr>
          </a:lstStyle>
          <a:p>
            <a:r>
              <a:rPr lang="de-DE" dirty="0"/>
              <a:t>CHAPTER PAGE ARIAL, </a:t>
            </a:r>
            <a:br>
              <a:rPr lang="de-DE" dirty="0"/>
            </a:br>
            <a:r>
              <a:rPr lang="de-DE" dirty="0"/>
              <a:t>PREFERABLY ON TWO LINES, UPPER CASE</a:t>
            </a:r>
          </a:p>
        </p:txBody>
      </p:sp>
      <p:sp>
        <p:nvSpPr>
          <p:cNvPr id="3" name="Untertitel 2"/>
          <p:cNvSpPr>
            <a:spLocks noGrp="1"/>
          </p:cNvSpPr>
          <p:nvPr>
            <p:ph type="subTitle" idx="1" hasCustomPrompt="1"/>
          </p:nvPr>
        </p:nvSpPr>
        <p:spPr>
          <a:xfrm>
            <a:off x="406400" y="5049837"/>
            <a:ext cx="11360328" cy="685346"/>
          </a:xfrm>
          <a:prstGeom prst="rect">
            <a:avLst/>
          </a:prstGeom>
        </p:spPr>
        <p:txBody>
          <a:bodyPr tIns="36000"/>
          <a:lstStyle>
            <a:lvl1pPr marL="0" indent="0" algn="l">
              <a:buNone/>
              <a:defRPr sz="2400" b="0">
                <a:solidFill>
                  <a:schemeClr val="accent3"/>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7" indent="0" algn="ctr">
              <a:buNone/>
              <a:defRPr>
                <a:solidFill>
                  <a:schemeClr val="tx1">
                    <a:tint val="75000"/>
                  </a:schemeClr>
                </a:solidFill>
              </a:defRPr>
            </a:lvl4pPr>
            <a:lvl5pPr marL="2438156" indent="0" algn="ctr">
              <a:buNone/>
              <a:defRPr>
                <a:solidFill>
                  <a:schemeClr val="tx1">
                    <a:tint val="75000"/>
                  </a:schemeClr>
                </a:solidFill>
              </a:defRPr>
            </a:lvl5pPr>
            <a:lvl6pPr marL="3047695"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2" indent="0" algn="ctr">
              <a:buNone/>
              <a:defRPr>
                <a:solidFill>
                  <a:schemeClr val="tx1">
                    <a:tint val="75000"/>
                  </a:schemeClr>
                </a:solidFill>
              </a:defRPr>
            </a:lvl9pPr>
          </a:lstStyle>
          <a:p>
            <a:r>
              <a:rPr lang="de-DE" dirty="0"/>
              <a:t>Optional: </a:t>
            </a:r>
            <a:r>
              <a:rPr lang="de-DE" dirty="0" err="1"/>
              <a:t>line</a:t>
            </a:r>
            <a:r>
              <a:rPr lang="de-DE" dirty="0"/>
              <a:t> </a:t>
            </a:r>
            <a:r>
              <a:rPr lang="de-DE" dirty="0" err="1"/>
              <a:t>below</a:t>
            </a:r>
            <a:endParaRPr lang="de-DE" dirty="0"/>
          </a:p>
        </p:txBody>
      </p:sp>
      <p:sp>
        <p:nvSpPr>
          <p:cNvPr id="4" name="Freeform 5">
            <a:extLst>
              <a:ext uri="{FF2B5EF4-FFF2-40B4-BE49-F238E27FC236}">
                <a16:creationId xmlns:a16="http://schemas.microsoft.com/office/drawing/2014/main" id="{DFD73FEA-8C34-4E52-9F3B-E10D0E449D38}"/>
              </a:ext>
            </a:extLst>
          </p:cNvPr>
          <p:cNvSpPr>
            <a:spLocks noEditPoints="1"/>
          </p:cNvSpPr>
          <p:nvPr userDrawn="1"/>
        </p:nvSpPr>
        <p:spPr bwMode="auto">
          <a:xfrm>
            <a:off x="10915026" y="5359239"/>
            <a:ext cx="1012828" cy="981503"/>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p>
        </p:txBody>
      </p:sp>
    </p:spTree>
    <p:extLst>
      <p:ext uri="{BB962C8B-B14F-4D97-AF65-F5344CB8AC3E}">
        <p14:creationId xmlns:p14="http://schemas.microsoft.com/office/powerpoint/2010/main" val="2208470462"/>
      </p:ext>
    </p:extLst>
  </p:cSld>
  <p:clrMapOvr>
    <a:masterClrMapping/>
  </p:clrMapOvr>
  <p:transition spd="med">
    <p:fade/>
  </p:transition>
  <p:extLst>
    <p:ext uri="{DCECCB84-F9BA-43D5-87BE-67443E8EF086}">
      <p15:sldGuideLst xmlns:p15="http://schemas.microsoft.com/office/powerpoint/2012/main">
        <p15:guide id="2" pos="256">
          <p15:clr>
            <a:srgbClr val="FBAE40"/>
          </p15:clr>
        </p15:guide>
        <p15:guide id="3" pos="7423">
          <p15:clr>
            <a:srgbClr val="FBAE40"/>
          </p15:clr>
        </p15:guide>
        <p15:guide id="4" orient="horz" pos="210">
          <p15:clr>
            <a:srgbClr val="FBAE40"/>
          </p15:clr>
        </p15:guide>
        <p15:guide id="5" orient="horz" pos="2364">
          <p15:clr>
            <a:srgbClr val="FBAE40"/>
          </p15:clr>
        </p15:guide>
        <p15:guide id="6" orient="horz" pos="2546">
          <p15:clr>
            <a:srgbClr val="FBAE40"/>
          </p15:clr>
        </p15:guide>
        <p15:guide id="7" orient="horz" pos="318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03 Kapiteltrenner 2">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06401" y="4042334"/>
            <a:ext cx="11216355" cy="1007504"/>
          </a:xfrm>
          <a:prstGeom prst="rect">
            <a:avLst/>
          </a:prstGeom>
        </p:spPr>
        <p:txBody>
          <a:bodyPr anchor="b" anchorCtr="0"/>
          <a:lstStyle>
            <a:lvl1pPr algn="l">
              <a:defRPr sz="3600">
                <a:solidFill>
                  <a:schemeClr val="tx2"/>
                </a:solidFill>
              </a:defRPr>
            </a:lvl1pPr>
          </a:lstStyle>
          <a:p>
            <a:r>
              <a:rPr lang="de-DE" dirty="0"/>
              <a:t>CHAPTER PAGE ARIAL, </a:t>
            </a:r>
            <a:br>
              <a:rPr lang="de-DE" dirty="0"/>
            </a:br>
            <a:r>
              <a:rPr lang="de-DE" dirty="0"/>
              <a:t>PREFERABLY ON TWO LINES, UPPER CASE</a:t>
            </a:r>
          </a:p>
        </p:txBody>
      </p:sp>
      <p:sp>
        <p:nvSpPr>
          <p:cNvPr id="3" name="Untertitel 2"/>
          <p:cNvSpPr>
            <a:spLocks noGrp="1"/>
          </p:cNvSpPr>
          <p:nvPr>
            <p:ph type="subTitle" idx="1" hasCustomPrompt="1"/>
          </p:nvPr>
        </p:nvSpPr>
        <p:spPr>
          <a:xfrm>
            <a:off x="406400" y="5049837"/>
            <a:ext cx="11216356" cy="685346"/>
          </a:xfrm>
          <a:prstGeom prst="rect">
            <a:avLst/>
          </a:prstGeom>
        </p:spPr>
        <p:txBody>
          <a:bodyPr tIns="36000"/>
          <a:lstStyle>
            <a:lvl1pPr marL="0" indent="0" algn="l">
              <a:buNone/>
              <a:defRPr sz="2400" b="0">
                <a:solidFill>
                  <a:schemeClr val="accent3"/>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7" indent="0" algn="ctr">
              <a:buNone/>
              <a:defRPr>
                <a:solidFill>
                  <a:schemeClr val="tx1">
                    <a:tint val="75000"/>
                  </a:schemeClr>
                </a:solidFill>
              </a:defRPr>
            </a:lvl4pPr>
            <a:lvl5pPr marL="2438156" indent="0" algn="ctr">
              <a:buNone/>
              <a:defRPr>
                <a:solidFill>
                  <a:schemeClr val="tx1">
                    <a:tint val="75000"/>
                  </a:schemeClr>
                </a:solidFill>
              </a:defRPr>
            </a:lvl5pPr>
            <a:lvl6pPr marL="3047695"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2" indent="0" algn="ctr">
              <a:buNone/>
              <a:defRPr>
                <a:solidFill>
                  <a:schemeClr val="tx1">
                    <a:tint val="75000"/>
                  </a:schemeClr>
                </a:solidFill>
              </a:defRPr>
            </a:lvl9pPr>
          </a:lstStyle>
          <a:p>
            <a:r>
              <a:rPr lang="de-DE" dirty="0"/>
              <a:t>Optional: </a:t>
            </a:r>
            <a:r>
              <a:rPr lang="de-DE" dirty="0" err="1"/>
              <a:t>line</a:t>
            </a:r>
            <a:r>
              <a:rPr lang="de-DE" dirty="0"/>
              <a:t> </a:t>
            </a:r>
            <a:r>
              <a:rPr lang="de-DE" dirty="0" err="1"/>
              <a:t>below</a:t>
            </a:r>
            <a:endParaRPr lang="de-DE" dirty="0"/>
          </a:p>
        </p:txBody>
      </p:sp>
      <p:sp>
        <p:nvSpPr>
          <p:cNvPr id="5" name="Bildplatzhalter 4">
            <a:extLst>
              <a:ext uri="{FF2B5EF4-FFF2-40B4-BE49-F238E27FC236}">
                <a16:creationId xmlns:a16="http://schemas.microsoft.com/office/drawing/2014/main" id="{1AAB176B-8E7D-4C97-BC50-3F99AF388927}"/>
              </a:ext>
            </a:extLst>
          </p:cNvPr>
          <p:cNvSpPr>
            <a:spLocks noGrp="1"/>
          </p:cNvSpPr>
          <p:nvPr>
            <p:ph type="pic" sz="quarter" idx="10"/>
          </p:nvPr>
        </p:nvSpPr>
        <p:spPr>
          <a:xfrm>
            <a:off x="0" y="0"/>
            <a:ext cx="12190413" cy="3752850"/>
          </a:xfrm>
          <a:solidFill>
            <a:schemeClr val="bg1">
              <a:lumMod val="95000"/>
            </a:schemeClr>
          </a:solidFill>
        </p:spPr>
        <p:txBody>
          <a:bodyPr anchor="ctr" anchorCtr="0"/>
          <a:lstStyle>
            <a:lvl1pPr algn="ctr">
              <a:defRPr sz="1600" b="0">
                <a:solidFill>
                  <a:schemeClr val="bg1">
                    <a:lumMod val="75000"/>
                  </a:schemeClr>
                </a:solidFill>
              </a:defRPr>
            </a:lvl1pPr>
          </a:lstStyle>
          <a:p>
            <a:r>
              <a:rPr lang="en-US"/>
              <a:t>Click icon to add picture</a:t>
            </a:r>
            <a:endParaRPr lang="de-DE"/>
          </a:p>
        </p:txBody>
      </p:sp>
      <p:sp>
        <p:nvSpPr>
          <p:cNvPr id="6" name="Freeform 5">
            <a:extLst>
              <a:ext uri="{FF2B5EF4-FFF2-40B4-BE49-F238E27FC236}">
                <a16:creationId xmlns:a16="http://schemas.microsoft.com/office/drawing/2014/main" id="{FABFBC44-5CFD-493A-86E7-2958BDBFC0DC}"/>
              </a:ext>
            </a:extLst>
          </p:cNvPr>
          <p:cNvSpPr>
            <a:spLocks noEditPoints="1"/>
          </p:cNvSpPr>
          <p:nvPr userDrawn="1"/>
        </p:nvSpPr>
        <p:spPr bwMode="auto">
          <a:xfrm>
            <a:off x="10915026" y="5359239"/>
            <a:ext cx="1012828" cy="981503"/>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p>
        </p:txBody>
      </p:sp>
    </p:spTree>
    <p:extLst>
      <p:ext uri="{BB962C8B-B14F-4D97-AF65-F5344CB8AC3E}">
        <p14:creationId xmlns:p14="http://schemas.microsoft.com/office/powerpoint/2010/main" val="2293891645"/>
      </p:ext>
    </p:extLst>
  </p:cSld>
  <p:clrMapOvr>
    <a:masterClrMapping/>
  </p:clrMapOvr>
  <p:transition spd="med">
    <p:fade/>
  </p:transition>
  <p:extLst>
    <p:ext uri="{DCECCB84-F9BA-43D5-87BE-67443E8EF086}">
      <p15:sldGuideLst xmlns:p15="http://schemas.microsoft.com/office/powerpoint/2012/main">
        <p15:guide id="2" pos="256">
          <p15:clr>
            <a:srgbClr val="FBAE40"/>
          </p15:clr>
        </p15:guide>
        <p15:guide id="3" pos="7423">
          <p15:clr>
            <a:srgbClr val="FBAE40"/>
          </p15:clr>
        </p15:guide>
        <p15:guide id="4" orient="horz" pos="210">
          <p15:clr>
            <a:srgbClr val="FBAE40"/>
          </p15:clr>
        </p15:guide>
        <p15:guide id="5" orient="horz" pos="2364">
          <p15:clr>
            <a:srgbClr val="FBAE40"/>
          </p15:clr>
        </p15:guide>
        <p15:guide id="6" orient="horz" pos="2546">
          <p15:clr>
            <a:srgbClr val="FBAE40"/>
          </p15:clr>
        </p15:guide>
        <p15:guide id="7" orient="horz" pos="318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F26F08FC-2994-470C-85A6-8E80490883A9}"/>
              </a:ext>
            </a:extLst>
          </p:cNvPr>
          <p:cNvSpPr>
            <a:spLocks noGrp="1"/>
          </p:cNvSpPr>
          <p:nvPr>
            <p:ph type="body" sz="quarter" idx="12" hasCustomPrompt="1"/>
          </p:nvPr>
        </p:nvSpPr>
        <p:spPr/>
        <p:txBody>
          <a:bodyPr/>
          <a:lstStyle>
            <a:lvl1pPr marL="0" indent="0">
              <a:spcBef>
                <a:spcPts val="0"/>
              </a:spcBef>
              <a:buFont typeface="+mj-lt"/>
              <a:buNone/>
              <a:defRPr/>
            </a:lvl1pPr>
            <a:lvl2pPr>
              <a:spcBef>
                <a:spcPts val="0"/>
              </a:spcBef>
              <a:defRPr/>
            </a:lvl2pPr>
            <a:lvl3pPr>
              <a:spcBef>
                <a:spcPts val="400"/>
              </a:spcBef>
              <a:defRPr/>
            </a:lvl3pPr>
            <a:lvl4pPr>
              <a:spcBef>
                <a:spcPts val="400"/>
              </a:spcBef>
              <a:defRPr/>
            </a:lvl4pPr>
          </a:lstStyle>
          <a:p>
            <a:pPr lvl="0"/>
            <a:r>
              <a:rPr lang="de-DE"/>
              <a:t>1. Edit format templates of the text master</a:t>
            </a:r>
          </a:p>
          <a:p>
            <a:pPr lvl="1"/>
            <a:r>
              <a:rPr lang="de-DE"/>
              <a:t>Second level</a:t>
            </a:r>
          </a:p>
          <a:p>
            <a:endParaRPr lang="de-DE" dirty="0"/>
          </a:p>
        </p:txBody>
      </p:sp>
      <p:sp>
        <p:nvSpPr>
          <p:cNvPr id="7" name="Datumsplatzhalter 6">
            <a:extLst>
              <a:ext uri="{FF2B5EF4-FFF2-40B4-BE49-F238E27FC236}">
                <a16:creationId xmlns:a16="http://schemas.microsoft.com/office/drawing/2014/main" id="{111E680D-61B2-4F25-B0F8-6EC47A592A86}"/>
              </a:ext>
            </a:extLst>
          </p:cNvPr>
          <p:cNvSpPr>
            <a:spLocks noGrp="1"/>
          </p:cNvSpPr>
          <p:nvPr>
            <p:ph type="dt" sz="half" idx="13"/>
          </p:nvPr>
        </p:nvSpPr>
        <p:spPr/>
        <p:txBody>
          <a:bodyPr/>
          <a:lstStyle/>
          <a:p>
            <a:r>
              <a:rPr lang="en-US"/>
              <a:t>21/08/2019</a:t>
            </a:r>
            <a:endParaRPr lang="de-DE" dirty="0"/>
          </a:p>
        </p:txBody>
      </p:sp>
      <p:sp>
        <p:nvSpPr>
          <p:cNvPr id="8" name="Fußzeilenplatzhalter 7">
            <a:extLst>
              <a:ext uri="{FF2B5EF4-FFF2-40B4-BE49-F238E27FC236}">
                <a16:creationId xmlns:a16="http://schemas.microsoft.com/office/drawing/2014/main" id="{ECFD6BE5-A195-4B7F-A2BA-420A1ADE6757}"/>
              </a:ext>
            </a:extLst>
          </p:cNvPr>
          <p:cNvSpPr>
            <a:spLocks noGrp="1"/>
          </p:cNvSpPr>
          <p:nvPr>
            <p:ph type="ftr" sz="quarter" idx="14"/>
          </p:nvPr>
        </p:nvSpPr>
        <p:spPr/>
        <p:txBody>
          <a:bodyPr/>
          <a:lstStyle/>
          <a:p>
            <a:r>
              <a:rPr lang="en-GB"/>
              <a:t>NZSUG Auckland Event + SAP Forum</a:t>
            </a:r>
            <a:endParaRPr lang="de-DE" dirty="0"/>
          </a:p>
        </p:txBody>
      </p:sp>
      <p:sp>
        <p:nvSpPr>
          <p:cNvPr id="9" name="Foliennummernplatzhalter 8">
            <a:extLst>
              <a:ext uri="{FF2B5EF4-FFF2-40B4-BE49-F238E27FC236}">
                <a16:creationId xmlns:a16="http://schemas.microsoft.com/office/drawing/2014/main" id="{84B8E69F-ABFD-46F9-88B6-251507D35447}"/>
              </a:ext>
            </a:extLst>
          </p:cNvPr>
          <p:cNvSpPr>
            <a:spLocks noGrp="1"/>
          </p:cNvSpPr>
          <p:nvPr>
            <p:ph type="sldNum" sz="quarter" idx="15"/>
          </p:nvPr>
        </p:nvSpPr>
        <p:spPr/>
        <p:txBody>
          <a:bodyPr/>
          <a:lstStyle/>
          <a:p>
            <a:fld id="{221F1D72-F2AC-4B6E-A46C-E63D2CF40C7B}" type="slidenum">
              <a:rPr lang="de-DE" smtClean="0"/>
              <a:pPr/>
              <a:t>‹#›</a:t>
            </a:fld>
            <a:endParaRPr lang="de-DE" dirty="0"/>
          </a:p>
        </p:txBody>
      </p:sp>
      <p:sp>
        <p:nvSpPr>
          <p:cNvPr id="10" name="Titelplatzhalter 1">
            <a:extLst>
              <a:ext uri="{FF2B5EF4-FFF2-40B4-BE49-F238E27FC236}">
                <a16:creationId xmlns:a16="http://schemas.microsoft.com/office/drawing/2014/main" id="{55241778-AF4A-4BCE-9BDE-406C6263FB8C}"/>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799309035"/>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05 Titel +  1x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57"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10" name="Textplatzhalter 9">
            <a:extLst>
              <a:ext uri="{FF2B5EF4-FFF2-40B4-BE49-F238E27FC236}">
                <a16:creationId xmlns:a16="http://schemas.microsoft.com/office/drawing/2014/main" id="{0BE7FF8C-1F49-4ECD-9FEA-B62A5E2458A3}"/>
              </a:ext>
            </a:extLst>
          </p:cNvPr>
          <p:cNvSpPr>
            <a:spLocks noGrp="1"/>
          </p:cNvSpPr>
          <p:nvPr>
            <p:ph type="body" sz="quarter" idx="12" hasCustomPrompt="1"/>
          </p:nvPr>
        </p:nvSpPr>
        <p:spPr/>
        <p:txBody>
          <a:bodyPr/>
          <a:lstStyle>
            <a:lvl1pPr>
              <a:defRPr/>
            </a:lvl1pPr>
            <a:lvl2pPr>
              <a:defRPr/>
            </a:lvl2pPr>
            <a:lvl3pPr>
              <a:defRPr/>
            </a:lvl3pPr>
            <a:lvl4pPr>
              <a:defRPr/>
            </a:lvl4pPr>
            <a:lvl5pP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2" name="Fußzeilenplatzhalter 1">
            <a:extLst>
              <a:ext uri="{FF2B5EF4-FFF2-40B4-BE49-F238E27FC236}">
                <a16:creationId xmlns:a16="http://schemas.microsoft.com/office/drawing/2014/main" id="{7737D0C8-2340-4C4D-B0E0-2FF3A5A0A4A7}"/>
              </a:ext>
            </a:extLst>
          </p:cNvPr>
          <p:cNvSpPr>
            <a:spLocks noGrp="1"/>
          </p:cNvSpPr>
          <p:nvPr>
            <p:ph type="ftr" sz="quarter" idx="13"/>
          </p:nvPr>
        </p:nvSpPr>
        <p:spPr/>
        <p:txBody>
          <a:bodyPr/>
          <a:lstStyle/>
          <a:p>
            <a:r>
              <a:rPr lang="en-GB"/>
              <a:t>NZSUG Auckland Event + SAP Forum</a:t>
            </a:r>
            <a:endParaRPr lang="de-DE" dirty="0"/>
          </a:p>
        </p:txBody>
      </p:sp>
      <p:sp>
        <p:nvSpPr>
          <p:cNvPr id="13" name="Titelplatzhalter 1">
            <a:extLst>
              <a:ext uri="{FF2B5EF4-FFF2-40B4-BE49-F238E27FC236}">
                <a16:creationId xmlns:a16="http://schemas.microsoft.com/office/drawing/2014/main" id="{C9020EC7-2ED4-4B57-B837-B0187FEC43BA}"/>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330983564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6 2xTex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10" name="Textplatzhalter 9">
            <a:extLst>
              <a:ext uri="{FF2B5EF4-FFF2-40B4-BE49-F238E27FC236}">
                <a16:creationId xmlns:a16="http://schemas.microsoft.com/office/drawing/2014/main" id="{0BE7FF8C-1F49-4ECD-9FEA-B62A5E2458A3}"/>
              </a:ext>
            </a:extLst>
          </p:cNvPr>
          <p:cNvSpPr>
            <a:spLocks noGrp="1"/>
          </p:cNvSpPr>
          <p:nvPr>
            <p:ph type="body" sz="quarter" idx="12" hasCustomPrompt="1"/>
          </p:nvPr>
        </p:nvSpPr>
        <p:spPr>
          <a:xfrm>
            <a:off x="406401" y="1449388"/>
            <a:ext cx="5545138" cy="4895850"/>
          </a:xfrm>
        </p:spPr>
        <p:txBody>
          <a:bodyPr/>
          <a:lstStyle>
            <a:lvl1pPr>
              <a:defRPr/>
            </a:lvl1pPr>
            <a:lvl2pPr>
              <a:defRPr/>
            </a:lvl2pPr>
            <a:lvl3pPr>
              <a:defRPr/>
            </a:lvl3pPr>
            <a:lvl4pPr>
              <a:defRPr/>
            </a:lvl4pPr>
            <a:lvl5pP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Textplatzhalter 9">
            <a:extLst>
              <a:ext uri="{FF2B5EF4-FFF2-40B4-BE49-F238E27FC236}">
                <a16:creationId xmlns:a16="http://schemas.microsoft.com/office/drawing/2014/main" id="{777B26E0-F556-41D0-92BA-AB5BF488CC3A}"/>
              </a:ext>
            </a:extLst>
          </p:cNvPr>
          <p:cNvSpPr>
            <a:spLocks noGrp="1"/>
          </p:cNvSpPr>
          <p:nvPr>
            <p:ph type="body" sz="quarter" idx="13" hasCustomPrompt="1"/>
          </p:nvPr>
        </p:nvSpPr>
        <p:spPr>
          <a:xfrm>
            <a:off x="6234457" y="1449388"/>
            <a:ext cx="5545138" cy="4895850"/>
          </a:xfrm>
        </p:spPr>
        <p:txBody>
          <a:bodyPr/>
          <a:lstStyle>
            <a:lvl1pPr>
              <a:defRPr/>
            </a:lvl1pPr>
            <a:lvl2pPr>
              <a:defRPr/>
            </a:lvl2pPr>
            <a:lvl3pPr>
              <a:defRPr/>
            </a:lvl3pPr>
            <a:lvl4pPr>
              <a:defRPr/>
            </a:lvl4pPr>
            <a:lvl5pP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2" name="Fußzeilenplatzhalter 1">
            <a:extLst>
              <a:ext uri="{FF2B5EF4-FFF2-40B4-BE49-F238E27FC236}">
                <a16:creationId xmlns:a16="http://schemas.microsoft.com/office/drawing/2014/main" id="{EA4A6E89-3FE5-4B1D-BDA0-CE7E7F069FCF}"/>
              </a:ext>
            </a:extLst>
          </p:cNvPr>
          <p:cNvSpPr>
            <a:spLocks noGrp="1"/>
          </p:cNvSpPr>
          <p:nvPr>
            <p:ph type="ftr" sz="quarter" idx="14"/>
          </p:nvPr>
        </p:nvSpPr>
        <p:spPr/>
        <p:txBody>
          <a:bodyPr/>
          <a:lstStyle/>
          <a:p>
            <a:r>
              <a:rPr lang="en-GB"/>
              <a:t>NZSUG Auckland Event + SAP Forum</a:t>
            </a:r>
            <a:endParaRPr lang="de-DE" dirty="0"/>
          </a:p>
        </p:txBody>
      </p:sp>
      <p:sp>
        <p:nvSpPr>
          <p:cNvPr id="13" name="Titelplatzhalter 1">
            <a:extLst>
              <a:ext uri="{FF2B5EF4-FFF2-40B4-BE49-F238E27FC236}">
                <a16:creationId xmlns:a16="http://schemas.microsoft.com/office/drawing/2014/main" id="{AA404F7E-C093-4614-A997-8A079AB37B6E}"/>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3058462772"/>
      </p:ext>
    </p:extLst>
  </p:cSld>
  <p:clrMapOvr>
    <a:masterClrMapping/>
  </p:clrMapOvr>
  <p:transition spd="med">
    <p:fade/>
  </p:transition>
  <p:extLst>
    <p:ext uri="{DCECCB84-F9BA-43D5-87BE-67443E8EF086}">
      <p15:sldGuideLst xmlns:p15="http://schemas.microsoft.com/office/powerpoint/2012/main">
        <p15:guide id="1" pos="3749">
          <p15:clr>
            <a:srgbClr val="FBAE40"/>
          </p15:clr>
        </p15:guide>
        <p15:guide id="2" pos="393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07 Nur Titel">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FF3A8A-4A23-4336-81D8-AADCD3588EF0}"/>
              </a:ext>
            </a:extLst>
          </p:cNvPr>
          <p:cNvSpPr>
            <a:spLocks noGrp="1"/>
          </p:cNvSpPr>
          <p:nvPr>
            <p:ph type="dt" sz="half" idx="10"/>
          </p:nvPr>
        </p:nvSpPr>
        <p:spPr/>
        <p:txBody>
          <a:bodyPr/>
          <a:lstStyle/>
          <a:p>
            <a:r>
              <a:rPr lang="en-US"/>
              <a:t>21/08/2019</a:t>
            </a:r>
            <a:endParaRPr lang="de-DE" dirty="0"/>
          </a:p>
        </p:txBody>
      </p:sp>
      <p:sp>
        <p:nvSpPr>
          <p:cNvPr id="4" name="Foliennummernplatzhalter 3">
            <a:extLst>
              <a:ext uri="{FF2B5EF4-FFF2-40B4-BE49-F238E27FC236}">
                <a16:creationId xmlns:a16="http://schemas.microsoft.com/office/drawing/2014/main" id="{CB9BCACE-1DB2-4469-9262-083C9CF6B23F}"/>
              </a:ext>
            </a:extLst>
          </p:cNvPr>
          <p:cNvSpPr>
            <a:spLocks noGrp="1"/>
          </p:cNvSpPr>
          <p:nvPr>
            <p:ph type="sldNum" sz="quarter" idx="11"/>
          </p:nvPr>
        </p:nvSpPr>
        <p:spPr/>
        <p:txBody>
          <a:bodyPr/>
          <a:lstStyle/>
          <a:p>
            <a:fld id="{221F1D72-F2AC-4B6E-A46C-E63D2CF40C7B}" type="slidenum">
              <a:rPr lang="de-DE" smtClean="0"/>
              <a:pPr/>
              <a:t>‹#›</a:t>
            </a:fld>
            <a:endParaRPr lang="de-DE" dirty="0"/>
          </a:p>
        </p:txBody>
      </p:sp>
      <p:sp>
        <p:nvSpPr>
          <p:cNvPr id="52" name="Fußzeilenplatzhalter 51">
            <a:extLst>
              <a:ext uri="{FF2B5EF4-FFF2-40B4-BE49-F238E27FC236}">
                <a16:creationId xmlns:a16="http://schemas.microsoft.com/office/drawing/2014/main" id="{B365B52A-322E-4489-8F65-959A57D451F5}"/>
              </a:ext>
            </a:extLst>
          </p:cNvPr>
          <p:cNvSpPr>
            <a:spLocks noGrp="1"/>
          </p:cNvSpPr>
          <p:nvPr>
            <p:ph type="ftr" sz="quarter" idx="12"/>
          </p:nvPr>
        </p:nvSpPr>
        <p:spPr/>
        <p:txBody>
          <a:bodyPr/>
          <a:lstStyle/>
          <a:p>
            <a:r>
              <a:rPr lang="en-GB"/>
              <a:t>NZSUG Auckland Event + SAP Forum</a:t>
            </a:r>
            <a:endParaRPr lang="de-DE" dirty="0"/>
          </a:p>
        </p:txBody>
      </p:sp>
      <p:sp>
        <p:nvSpPr>
          <p:cNvPr id="9" name="Titelplatzhalter 1">
            <a:extLst>
              <a:ext uri="{FF2B5EF4-FFF2-40B4-BE49-F238E27FC236}">
                <a16:creationId xmlns:a16="http://schemas.microsoft.com/office/drawing/2014/main" id="{AA33B54D-5181-40E3-85CA-A7019CD4745D}"/>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2048618273"/>
      </p:ext>
    </p:extLst>
  </p:cSld>
  <p:clrMapOvr>
    <a:masterClrMapping/>
  </p:clrMapOvr>
  <p:transition spd="med">
    <p:fade/>
  </p:transition>
  <p:extLst>
    <p:ext uri="{DCECCB84-F9BA-43D5-87BE-67443E8EF086}">
      <p15:sldGuideLst xmlns:p15="http://schemas.microsoft.com/office/powerpoint/2012/main">
        <p15:guide id="1" pos="687">
          <p15:clr>
            <a:srgbClr val="FBAE40"/>
          </p15:clr>
        </p15:guide>
        <p15:guide id="2" pos="868">
          <p15:clr>
            <a:srgbClr val="FBAE40"/>
          </p15:clr>
        </p15:guide>
        <p15:guide id="3" pos="1299">
          <p15:clr>
            <a:srgbClr val="FBAE40"/>
          </p15:clr>
        </p15:guide>
        <p15:guide id="4" pos="1481">
          <p15:clr>
            <a:srgbClr val="FBAE40"/>
          </p15:clr>
        </p15:guide>
        <p15:guide id="5" pos="1912">
          <p15:clr>
            <a:srgbClr val="FBAE40"/>
          </p15:clr>
        </p15:guide>
        <p15:guide id="6" pos="2093">
          <p15:clr>
            <a:srgbClr val="FBAE40"/>
          </p15:clr>
        </p15:guide>
        <p15:guide id="7" pos="2524">
          <p15:clr>
            <a:srgbClr val="FBAE40"/>
          </p15:clr>
        </p15:guide>
        <p15:guide id="8" pos="2706">
          <p15:clr>
            <a:srgbClr val="FBAE40"/>
          </p15:clr>
        </p15:guide>
        <p15:guide id="9" pos="3136">
          <p15:clr>
            <a:srgbClr val="FBAE40"/>
          </p15:clr>
        </p15:guide>
        <p15:guide id="10" pos="3318">
          <p15:clr>
            <a:srgbClr val="FBAE40"/>
          </p15:clr>
        </p15:guide>
        <p15:guide id="11" pos="3749">
          <p15:clr>
            <a:srgbClr val="FBAE40"/>
          </p15:clr>
        </p15:guide>
        <p15:guide id="12" pos="3930">
          <p15:clr>
            <a:srgbClr val="FBAE40"/>
          </p15:clr>
        </p15:guide>
        <p15:guide id="13" pos="4361">
          <p15:clr>
            <a:srgbClr val="FBAE40"/>
          </p15:clr>
        </p15:guide>
        <p15:guide id="14" pos="4543">
          <p15:clr>
            <a:srgbClr val="FBAE40"/>
          </p15:clr>
        </p15:guide>
        <p15:guide id="15" pos="4973">
          <p15:clr>
            <a:srgbClr val="FBAE40"/>
          </p15:clr>
        </p15:guide>
        <p15:guide id="16" pos="5155">
          <p15:clr>
            <a:srgbClr val="FBAE40"/>
          </p15:clr>
        </p15:guide>
        <p15:guide id="17" pos="5586">
          <p15:clr>
            <a:srgbClr val="FBAE40"/>
          </p15:clr>
        </p15:guide>
        <p15:guide id="18" pos="5767">
          <p15:clr>
            <a:srgbClr val="FBAE40"/>
          </p15:clr>
        </p15:guide>
        <p15:guide id="19" pos="6198">
          <p15:clr>
            <a:srgbClr val="FBAE40"/>
          </p15:clr>
        </p15:guide>
        <p15:guide id="20" pos="6380">
          <p15:clr>
            <a:srgbClr val="FBAE40"/>
          </p15:clr>
        </p15:guide>
        <p15:guide id="21" pos="6811">
          <p15:clr>
            <a:srgbClr val="FBAE40"/>
          </p15:clr>
        </p15:guide>
        <p15:guide id="22" pos="6992">
          <p15:clr>
            <a:srgbClr val="FBAE40"/>
          </p15:clr>
        </p15:guide>
        <p15:guide id="23" orient="horz" pos="1548">
          <p15:clr>
            <a:srgbClr val="FBAE40"/>
          </p15:clr>
        </p15:guide>
        <p15:guide id="24" orient="horz" pos="1729">
          <p15:clr>
            <a:srgbClr val="FBAE40"/>
          </p15:clr>
        </p15:guide>
        <p15:guide id="25" orient="horz" pos="2364">
          <p15:clr>
            <a:srgbClr val="FBAE40"/>
          </p15:clr>
        </p15:guide>
        <p15:guide id="26" orient="horz" pos="2546">
          <p15:clr>
            <a:srgbClr val="FBAE40"/>
          </p15:clr>
        </p15:guide>
        <p15:guide id="27" orient="horz" pos="3181">
          <p15:clr>
            <a:srgbClr val="FBAE40"/>
          </p15:clr>
        </p15:guide>
        <p15:guide id="28" orient="horz" pos="336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 Kapiteltrenner 2">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06401" y="4042334"/>
            <a:ext cx="11216355" cy="1007504"/>
          </a:xfrm>
          <a:prstGeom prst="rect">
            <a:avLst/>
          </a:prstGeom>
        </p:spPr>
        <p:txBody>
          <a:bodyPr anchor="b" anchorCtr="0"/>
          <a:lstStyle>
            <a:lvl1pPr algn="l">
              <a:defRPr sz="3600">
                <a:solidFill>
                  <a:schemeClr val="tx2"/>
                </a:solidFill>
              </a:defRPr>
            </a:lvl1pPr>
          </a:lstStyle>
          <a:p>
            <a:r>
              <a:rPr lang="de-DE" dirty="0"/>
              <a:t>CHAPTER PAGE ARIAL, </a:t>
            </a:r>
            <a:br>
              <a:rPr lang="de-DE" dirty="0"/>
            </a:br>
            <a:r>
              <a:rPr lang="de-DE" dirty="0"/>
              <a:t>PREFERABLY ON TWO LINES, UPPER CASE</a:t>
            </a:r>
          </a:p>
        </p:txBody>
      </p:sp>
      <p:sp>
        <p:nvSpPr>
          <p:cNvPr id="3" name="Untertitel 2"/>
          <p:cNvSpPr>
            <a:spLocks noGrp="1"/>
          </p:cNvSpPr>
          <p:nvPr>
            <p:ph type="subTitle" idx="1" hasCustomPrompt="1"/>
          </p:nvPr>
        </p:nvSpPr>
        <p:spPr>
          <a:xfrm>
            <a:off x="406400" y="5049837"/>
            <a:ext cx="11216356" cy="685346"/>
          </a:xfrm>
          <a:prstGeom prst="rect">
            <a:avLst/>
          </a:prstGeom>
        </p:spPr>
        <p:txBody>
          <a:bodyPr tIns="36000"/>
          <a:lstStyle>
            <a:lvl1pPr marL="0" indent="0" algn="l">
              <a:buNone/>
              <a:defRPr sz="2400" b="0">
                <a:solidFill>
                  <a:schemeClr val="accent3"/>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7" indent="0" algn="ctr">
              <a:buNone/>
              <a:defRPr>
                <a:solidFill>
                  <a:schemeClr val="tx1">
                    <a:tint val="75000"/>
                  </a:schemeClr>
                </a:solidFill>
              </a:defRPr>
            </a:lvl4pPr>
            <a:lvl5pPr marL="2438156" indent="0" algn="ctr">
              <a:buNone/>
              <a:defRPr>
                <a:solidFill>
                  <a:schemeClr val="tx1">
                    <a:tint val="75000"/>
                  </a:schemeClr>
                </a:solidFill>
              </a:defRPr>
            </a:lvl5pPr>
            <a:lvl6pPr marL="3047695"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2" indent="0" algn="ctr">
              <a:buNone/>
              <a:defRPr>
                <a:solidFill>
                  <a:schemeClr val="tx1">
                    <a:tint val="75000"/>
                  </a:schemeClr>
                </a:solidFill>
              </a:defRPr>
            </a:lvl9pPr>
          </a:lstStyle>
          <a:p>
            <a:r>
              <a:rPr lang="de-DE" dirty="0"/>
              <a:t>Optional: </a:t>
            </a:r>
            <a:r>
              <a:rPr lang="de-DE" dirty="0" err="1"/>
              <a:t>line</a:t>
            </a:r>
            <a:r>
              <a:rPr lang="de-DE" dirty="0"/>
              <a:t> </a:t>
            </a:r>
            <a:r>
              <a:rPr lang="de-DE" dirty="0" err="1"/>
              <a:t>below</a:t>
            </a:r>
            <a:endParaRPr lang="de-DE" dirty="0"/>
          </a:p>
        </p:txBody>
      </p:sp>
      <p:sp>
        <p:nvSpPr>
          <p:cNvPr id="5" name="Bildplatzhalter 4">
            <a:extLst>
              <a:ext uri="{FF2B5EF4-FFF2-40B4-BE49-F238E27FC236}">
                <a16:creationId xmlns:a16="http://schemas.microsoft.com/office/drawing/2014/main" id="{1AAB176B-8E7D-4C97-BC50-3F99AF388927}"/>
              </a:ext>
            </a:extLst>
          </p:cNvPr>
          <p:cNvSpPr>
            <a:spLocks noGrp="1"/>
          </p:cNvSpPr>
          <p:nvPr>
            <p:ph type="pic" sz="quarter" idx="10"/>
          </p:nvPr>
        </p:nvSpPr>
        <p:spPr>
          <a:xfrm>
            <a:off x="0" y="0"/>
            <a:ext cx="12190413" cy="3752850"/>
          </a:xfrm>
          <a:solidFill>
            <a:schemeClr val="bg1">
              <a:lumMod val="95000"/>
            </a:schemeClr>
          </a:solidFill>
        </p:spPr>
        <p:txBody>
          <a:bodyPr anchor="ctr" anchorCtr="0"/>
          <a:lstStyle>
            <a:lvl1pPr algn="ctr">
              <a:defRPr sz="1600" b="0">
                <a:solidFill>
                  <a:schemeClr val="bg1">
                    <a:lumMod val="75000"/>
                  </a:schemeClr>
                </a:solidFill>
              </a:defRPr>
            </a:lvl1pPr>
          </a:lstStyle>
          <a:p>
            <a:r>
              <a:rPr lang="en-US"/>
              <a:t>Click icon to add picture</a:t>
            </a:r>
            <a:endParaRPr lang="de-DE"/>
          </a:p>
        </p:txBody>
      </p:sp>
      <p:sp>
        <p:nvSpPr>
          <p:cNvPr id="6" name="Freeform 5">
            <a:extLst>
              <a:ext uri="{FF2B5EF4-FFF2-40B4-BE49-F238E27FC236}">
                <a16:creationId xmlns:a16="http://schemas.microsoft.com/office/drawing/2014/main" id="{FABFBC44-5CFD-493A-86E7-2958BDBFC0DC}"/>
              </a:ext>
            </a:extLst>
          </p:cNvPr>
          <p:cNvSpPr>
            <a:spLocks noEditPoints="1"/>
          </p:cNvSpPr>
          <p:nvPr userDrawn="1"/>
        </p:nvSpPr>
        <p:spPr bwMode="auto">
          <a:xfrm>
            <a:off x="10915026" y="5359239"/>
            <a:ext cx="1012828" cy="981503"/>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p>
        </p:txBody>
      </p:sp>
    </p:spTree>
    <p:extLst>
      <p:ext uri="{BB962C8B-B14F-4D97-AF65-F5344CB8AC3E}">
        <p14:creationId xmlns:p14="http://schemas.microsoft.com/office/powerpoint/2010/main" val="4138884580"/>
      </p:ext>
    </p:extLst>
  </p:cSld>
  <p:clrMapOvr>
    <a:masterClrMapping/>
  </p:clrMapOvr>
  <p:transition spd="med">
    <p:fade/>
  </p:transition>
  <p:extLst>
    <p:ext uri="{DCECCB84-F9BA-43D5-87BE-67443E8EF086}">
      <p15:sldGuideLst xmlns:p15="http://schemas.microsoft.com/office/powerpoint/2012/main">
        <p15:guide id="2" pos="256">
          <p15:clr>
            <a:srgbClr val="FBAE40"/>
          </p15:clr>
        </p15:guide>
        <p15:guide id="3" pos="7423">
          <p15:clr>
            <a:srgbClr val="FBAE40"/>
          </p15:clr>
        </p15:guide>
        <p15:guide id="4" orient="horz" pos="210">
          <p15:clr>
            <a:srgbClr val="FBAE40"/>
          </p15:clr>
        </p15:guide>
        <p15:guide id="5" orient="horz" pos="2364" userDrawn="1">
          <p15:clr>
            <a:srgbClr val="FBAE40"/>
          </p15:clr>
        </p15:guide>
        <p15:guide id="6" orient="horz" pos="2546" userDrawn="1">
          <p15:clr>
            <a:srgbClr val="FBAE40"/>
          </p15:clr>
        </p15:guide>
        <p15:guide id="7" orient="horz" pos="318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08 Le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FF3A8A-4A23-4336-81D8-AADCD3588EF0}"/>
              </a:ext>
            </a:extLst>
          </p:cNvPr>
          <p:cNvSpPr>
            <a:spLocks noGrp="1"/>
          </p:cNvSpPr>
          <p:nvPr>
            <p:ph type="dt" sz="half" idx="10"/>
          </p:nvPr>
        </p:nvSpPr>
        <p:spPr/>
        <p:txBody>
          <a:bodyPr/>
          <a:lstStyle/>
          <a:p>
            <a:r>
              <a:rPr lang="en-US"/>
              <a:t>21/08/2019</a:t>
            </a:r>
            <a:endParaRPr lang="de-DE" dirty="0"/>
          </a:p>
        </p:txBody>
      </p:sp>
      <p:sp>
        <p:nvSpPr>
          <p:cNvPr id="4" name="Foliennummernplatzhalter 3">
            <a:extLst>
              <a:ext uri="{FF2B5EF4-FFF2-40B4-BE49-F238E27FC236}">
                <a16:creationId xmlns:a16="http://schemas.microsoft.com/office/drawing/2014/main" id="{CB9BCACE-1DB2-4469-9262-083C9CF6B23F}"/>
              </a:ext>
            </a:extLst>
          </p:cNvPr>
          <p:cNvSpPr>
            <a:spLocks noGrp="1"/>
          </p:cNvSpPr>
          <p:nvPr>
            <p:ph type="sldNum" sz="quarter" idx="11"/>
          </p:nvPr>
        </p:nvSpPr>
        <p:spPr/>
        <p:txBody>
          <a:bodyPr/>
          <a:lstStyle/>
          <a:p>
            <a:fld id="{221F1D72-F2AC-4B6E-A46C-E63D2CF40C7B}" type="slidenum">
              <a:rPr lang="de-DE" smtClean="0"/>
              <a:pPr/>
              <a:t>‹#›</a:t>
            </a:fld>
            <a:endParaRPr lang="de-DE" dirty="0"/>
          </a:p>
        </p:txBody>
      </p:sp>
      <p:sp>
        <p:nvSpPr>
          <p:cNvPr id="52" name="Fußzeilenplatzhalter 51">
            <a:extLst>
              <a:ext uri="{FF2B5EF4-FFF2-40B4-BE49-F238E27FC236}">
                <a16:creationId xmlns:a16="http://schemas.microsoft.com/office/drawing/2014/main" id="{B365B52A-322E-4489-8F65-959A57D451F5}"/>
              </a:ext>
            </a:extLst>
          </p:cNvPr>
          <p:cNvSpPr>
            <a:spLocks noGrp="1"/>
          </p:cNvSpPr>
          <p:nvPr>
            <p:ph type="ftr" sz="quarter" idx="12"/>
          </p:nvPr>
        </p:nvSpPr>
        <p:spPr/>
        <p:txBody>
          <a:bodyPr/>
          <a:lstStyle/>
          <a:p>
            <a:r>
              <a:rPr lang="en-GB"/>
              <a:t>NZSUG Auckland Event + SAP Forum</a:t>
            </a:r>
            <a:endParaRPr lang="de-DE" dirty="0"/>
          </a:p>
        </p:txBody>
      </p:sp>
    </p:spTree>
    <p:extLst>
      <p:ext uri="{BB962C8B-B14F-4D97-AF65-F5344CB8AC3E}">
        <p14:creationId xmlns:p14="http://schemas.microsoft.com/office/powerpoint/2010/main" val="2389169339"/>
      </p:ext>
    </p:extLst>
  </p:cSld>
  <p:clrMapOvr>
    <a:masterClrMapping/>
  </p:clrMapOvr>
  <p:transition spd="med">
    <p:fade/>
  </p:transition>
  <p:extLst>
    <p:ext uri="{DCECCB84-F9BA-43D5-87BE-67443E8EF086}">
      <p15:sldGuideLst xmlns:p15="http://schemas.microsoft.com/office/powerpoint/2012/main">
        <p15:guide id="1" pos="687">
          <p15:clr>
            <a:srgbClr val="FBAE40"/>
          </p15:clr>
        </p15:guide>
        <p15:guide id="2" pos="868">
          <p15:clr>
            <a:srgbClr val="FBAE40"/>
          </p15:clr>
        </p15:guide>
        <p15:guide id="3" pos="1299">
          <p15:clr>
            <a:srgbClr val="FBAE40"/>
          </p15:clr>
        </p15:guide>
        <p15:guide id="4" pos="1481">
          <p15:clr>
            <a:srgbClr val="FBAE40"/>
          </p15:clr>
        </p15:guide>
        <p15:guide id="5" pos="1912">
          <p15:clr>
            <a:srgbClr val="FBAE40"/>
          </p15:clr>
        </p15:guide>
        <p15:guide id="6" pos="2093">
          <p15:clr>
            <a:srgbClr val="FBAE40"/>
          </p15:clr>
        </p15:guide>
        <p15:guide id="7" pos="2524">
          <p15:clr>
            <a:srgbClr val="FBAE40"/>
          </p15:clr>
        </p15:guide>
        <p15:guide id="8" pos="2706">
          <p15:clr>
            <a:srgbClr val="FBAE40"/>
          </p15:clr>
        </p15:guide>
        <p15:guide id="9" pos="3136">
          <p15:clr>
            <a:srgbClr val="FBAE40"/>
          </p15:clr>
        </p15:guide>
        <p15:guide id="10" pos="3318">
          <p15:clr>
            <a:srgbClr val="FBAE40"/>
          </p15:clr>
        </p15:guide>
        <p15:guide id="11" pos="3749">
          <p15:clr>
            <a:srgbClr val="FBAE40"/>
          </p15:clr>
        </p15:guide>
        <p15:guide id="12" pos="3930">
          <p15:clr>
            <a:srgbClr val="FBAE40"/>
          </p15:clr>
        </p15:guide>
        <p15:guide id="13" pos="4361">
          <p15:clr>
            <a:srgbClr val="FBAE40"/>
          </p15:clr>
        </p15:guide>
        <p15:guide id="14" pos="4543">
          <p15:clr>
            <a:srgbClr val="FBAE40"/>
          </p15:clr>
        </p15:guide>
        <p15:guide id="15" pos="4973">
          <p15:clr>
            <a:srgbClr val="FBAE40"/>
          </p15:clr>
        </p15:guide>
        <p15:guide id="16" pos="5155">
          <p15:clr>
            <a:srgbClr val="FBAE40"/>
          </p15:clr>
        </p15:guide>
        <p15:guide id="17" pos="5586">
          <p15:clr>
            <a:srgbClr val="FBAE40"/>
          </p15:clr>
        </p15:guide>
        <p15:guide id="18" pos="5767">
          <p15:clr>
            <a:srgbClr val="FBAE40"/>
          </p15:clr>
        </p15:guide>
        <p15:guide id="19" pos="6198">
          <p15:clr>
            <a:srgbClr val="FBAE40"/>
          </p15:clr>
        </p15:guide>
        <p15:guide id="20" pos="6380">
          <p15:clr>
            <a:srgbClr val="FBAE40"/>
          </p15:clr>
        </p15:guide>
        <p15:guide id="21" pos="6811">
          <p15:clr>
            <a:srgbClr val="FBAE40"/>
          </p15:clr>
        </p15:guide>
        <p15:guide id="22" pos="6992">
          <p15:clr>
            <a:srgbClr val="FBAE40"/>
          </p15:clr>
        </p15:guide>
        <p15:guide id="23" orient="horz" pos="1548">
          <p15:clr>
            <a:srgbClr val="FBAE40"/>
          </p15:clr>
        </p15:guide>
        <p15:guide id="24" orient="horz" pos="1729">
          <p15:clr>
            <a:srgbClr val="FBAE40"/>
          </p15:clr>
        </p15:guide>
        <p15:guide id="25" orient="horz" pos="2364">
          <p15:clr>
            <a:srgbClr val="FBAE40"/>
          </p15:clr>
        </p15:guide>
        <p15:guide id="26" orient="horz" pos="2546">
          <p15:clr>
            <a:srgbClr val="FBAE40"/>
          </p15:clr>
        </p15:guide>
        <p15:guide id="27" orient="horz" pos="3181">
          <p15:clr>
            <a:srgbClr val="FBAE40"/>
          </p15:clr>
        </p15:guide>
        <p15:guide id="28" orient="horz" pos="336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09 4xBild + 1x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3600000" cy="2303462"/>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dirty="0"/>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9" name="Bildplatzhalter 2">
            <a:extLst>
              <a:ext uri="{FF2B5EF4-FFF2-40B4-BE49-F238E27FC236}">
                <a16:creationId xmlns:a16="http://schemas.microsoft.com/office/drawing/2014/main" id="{61AC15E0-610D-49D1-BC41-D0135EFD22D4}"/>
              </a:ext>
            </a:extLst>
          </p:cNvPr>
          <p:cNvSpPr>
            <a:spLocks noGrp="1"/>
          </p:cNvSpPr>
          <p:nvPr>
            <p:ph type="pic" sz="quarter" idx="13"/>
          </p:nvPr>
        </p:nvSpPr>
        <p:spPr>
          <a:xfrm>
            <a:off x="406400" y="4037314"/>
            <a:ext cx="3600000" cy="2303462"/>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11" name="Bildplatzhalter 2">
            <a:extLst>
              <a:ext uri="{FF2B5EF4-FFF2-40B4-BE49-F238E27FC236}">
                <a16:creationId xmlns:a16="http://schemas.microsoft.com/office/drawing/2014/main" id="{FEB4D4E8-7A71-4264-A547-049D6364A68D}"/>
              </a:ext>
            </a:extLst>
          </p:cNvPr>
          <p:cNvSpPr>
            <a:spLocks noGrp="1"/>
          </p:cNvSpPr>
          <p:nvPr>
            <p:ph type="pic" sz="quarter" idx="14"/>
          </p:nvPr>
        </p:nvSpPr>
        <p:spPr>
          <a:xfrm>
            <a:off x="4295206" y="1449388"/>
            <a:ext cx="3600000" cy="2303462"/>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12" name="Bildplatzhalter 2">
            <a:extLst>
              <a:ext uri="{FF2B5EF4-FFF2-40B4-BE49-F238E27FC236}">
                <a16:creationId xmlns:a16="http://schemas.microsoft.com/office/drawing/2014/main" id="{1A851129-D13C-48F5-B11E-4EAFC4C4CD8D}"/>
              </a:ext>
            </a:extLst>
          </p:cNvPr>
          <p:cNvSpPr>
            <a:spLocks noGrp="1"/>
          </p:cNvSpPr>
          <p:nvPr>
            <p:ph type="pic" sz="quarter" idx="15"/>
          </p:nvPr>
        </p:nvSpPr>
        <p:spPr>
          <a:xfrm>
            <a:off x="4295206" y="4037314"/>
            <a:ext cx="3600000" cy="2303462"/>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2" name="Fußzeilenplatzhalter 1">
            <a:extLst>
              <a:ext uri="{FF2B5EF4-FFF2-40B4-BE49-F238E27FC236}">
                <a16:creationId xmlns:a16="http://schemas.microsoft.com/office/drawing/2014/main" id="{75A44F73-BD5C-472B-9ADE-F8C4AD15565E}"/>
              </a:ext>
            </a:extLst>
          </p:cNvPr>
          <p:cNvSpPr>
            <a:spLocks noGrp="1"/>
          </p:cNvSpPr>
          <p:nvPr>
            <p:ph type="ftr" sz="quarter" idx="17"/>
          </p:nvPr>
        </p:nvSpPr>
        <p:spPr/>
        <p:txBody>
          <a:bodyPr/>
          <a:lstStyle/>
          <a:p>
            <a:r>
              <a:rPr lang="en-GB"/>
              <a:t>NZSUG Auckland Event + SAP Forum</a:t>
            </a:r>
            <a:endParaRPr lang="de-DE" dirty="0"/>
          </a:p>
        </p:txBody>
      </p:sp>
      <p:sp>
        <p:nvSpPr>
          <p:cNvPr id="10" name="Textplatzhalter 9">
            <a:extLst>
              <a:ext uri="{FF2B5EF4-FFF2-40B4-BE49-F238E27FC236}">
                <a16:creationId xmlns:a16="http://schemas.microsoft.com/office/drawing/2014/main" id="{6D116EF7-6D39-443A-94BF-B34217122731}"/>
              </a:ext>
            </a:extLst>
          </p:cNvPr>
          <p:cNvSpPr>
            <a:spLocks noGrp="1"/>
          </p:cNvSpPr>
          <p:nvPr>
            <p:ph type="body" sz="quarter" idx="18" hasCustomPrompt="1"/>
          </p:nvPr>
        </p:nvSpPr>
        <p:spPr>
          <a:xfrm>
            <a:off x="8183563" y="1449388"/>
            <a:ext cx="3600450" cy="4895850"/>
          </a:xfrm>
        </p:spPr>
        <p:txBody>
          <a:bodyPr/>
          <a:lstStyle>
            <a:lvl1pPr>
              <a:defRPr/>
            </a:lvl1pPr>
            <a:lvl2pPr>
              <a:defRPr/>
            </a:lvl2pPr>
            <a:lvl3pPr>
              <a:defRPr/>
            </a:lvl3pPr>
            <a:lvl4pPr>
              <a:defRPr/>
            </a:lvl4pPr>
            <a:lvl5pP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6" name="Titelplatzhalter 1">
            <a:extLst>
              <a:ext uri="{FF2B5EF4-FFF2-40B4-BE49-F238E27FC236}">
                <a16:creationId xmlns:a16="http://schemas.microsoft.com/office/drawing/2014/main" id="{169862BA-A151-484A-B0AB-E144EA115AD8}"/>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667182222"/>
      </p:ext>
    </p:extLst>
  </p:cSld>
  <p:clrMapOvr>
    <a:masterClrMapping/>
  </p:clrMapOvr>
  <p:transition spd="med">
    <p:fade/>
  </p:transition>
  <p:extLst>
    <p:ext uri="{DCECCB84-F9BA-43D5-87BE-67443E8EF086}">
      <p15:sldGuideLst xmlns:p15="http://schemas.microsoft.com/office/powerpoint/2012/main">
        <p15:guide id="1" orient="horz" pos="2364">
          <p15:clr>
            <a:srgbClr val="FBAE40"/>
          </p15:clr>
        </p15:guide>
        <p15:guide id="2" pos="2524">
          <p15:clr>
            <a:srgbClr val="FBAE40"/>
          </p15:clr>
        </p15:guide>
        <p15:guide id="3" pos="2706">
          <p15:clr>
            <a:srgbClr val="FBAE40"/>
          </p15:clr>
        </p15:guide>
        <p15:guide id="4" pos="4973">
          <p15:clr>
            <a:srgbClr val="FBAE40"/>
          </p15:clr>
        </p15:guide>
        <p15:guide id="5" pos="5155">
          <p15:clr>
            <a:srgbClr val="FBAE40"/>
          </p15:clr>
        </p15:guide>
        <p15:guide id="6" orient="horz" pos="254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0 Bild+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5544000" cy="48958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2" name="Fußzeilenplatzhalter 1">
            <a:extLst>
              <a:ext uri="{FF2B5EF4-FFF2-40B4-BE49-F238E27FC236}">
                <a16:creationId xmlns:a16="http://schemas.microsoft.com/office/drawing/2014/main" id="{6F5FE3BD-C6A0-4458-A37B-7B8A515FB43B}"/>
              </a:ext>
            </a:extLst>
          </p:cNvPr>
          <p:cNvSpPr>
            <a:spLocks noGrp="1"/>
          </p:cNvSpPr>
          <p:nvPr>
            <p:ph type="ftr" sz="quarter" idx="14"/>
          </p:nvPr>
        </p:nvSpPr>
        <p:spPr/>
        <p:txBody>
          <a:bodyPr/>
          <a:lstStyle/>
          <a:p>
            <a:r>
              <a:rPr lang="en-GB"/>
              <a:t>NZSUG Auckland Event + SAP Forum</a:t>
            </a:r>
            <a:endParaRPr lang="de-DE" dirty="0"/>
          </a:p>
        </p:txBody>
      </p:sp>
      <p:sp>
        <p:nvSpPr>
          <p:cNvPr id="6" name="Textplatzhalter 5">
            <a:extLst>
              <a:ext uri="{FF2B5EF4-FFF2-40B4-BE49-F238E27FC236}">
                <a16:creationId xmlns:a16="http://schemas.microsoft.com/office/drawing/2014/main" id="{01CD0E87-031F-4C93-B737-B689C3D54D8E}"/>
              </a:ext>
            </a:extLst>
          </p:cNvPr>
          <p:cNvSpPr>
            <a:spLocks noGrp="1"/>
          </p:cNvSpPr>
          <p:nvPr>
            <p:ph type="body" sz="quarter" idx="15" hasCustomPrompt="1"/>
          </p:nvPr>
        </p:nvSpPr>
        <p:spPr>
          <a:xfrm>
            <a:off x="6238875" y="1449388"/>
            <a:ext cx="5545138" cy="4895850"/>
          </a:xfrm>
        </p:spPr>
        <p:txBody>
          <a:bodyPr/>
          <a:lstStyle>
            <a:lvl1pPr>
              <a:defRPr/>
            </a:lvl1pPr>
            <a:lvl2pPr>
              <a:defRPr/>
            </a:lvl2pPr>
            <a:lvl3pPr>
              <a:defRPr/>
            </a:lvl3pPr>
            <a:lvl4pPr>
              <a:defRPr/>
            </a:lvl4pPr>
            <a:lvl5pP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2" name="Titelplatzhalter 1">
            <a:extLst>
              <a:ext uri="{FF2B5EF4-FFF2-40B4-BE49-F238E27FC236}">
                <a16:creationId xmlns:a16="http://schemas.microsoft.com/office/drawing/2014/main" id="{29B63DAE-69BA-47E6-B8F6-83E0903C5653}"/>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2218407465"/>
      </p:ext>
    </p:extLst>
  </p:cSld>
  <p:clrMapOvr>
    <a:masterClrMapping/>
  </p:clrMapOvr>
  <p:transition spd="med">
    <p:fade/>
  </p:transition>
  <p:extLst>
    <p:ext uri="{DCECCB84-F9BA-43D5-87BE-67443E8EF086}">
      <p15:sldGuideLst xmlns:p15="http://schemas.microsoft.com/office/powerpoint/2012/main">
        <p15:guide id="1" pos="3749">
          <p15:clr>
            <a:srgbClr val="FBAE40"/>
          </p15:clr>
        </p15:guide>
        <p15:guide id="2" pos="393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1 3xBild + 3x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3600000" cy="36004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dirty="0"/>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11" name="Bildplatzhalter 2">
            <a:extLst>
              <a:ext uri="{FF2B5EF4-FFF2-40B4-BE49-F238E27FC236}">
                <a16:creationId xmlns:a16="http://schemas.microsoft.com/office/drawing/2014/main" id="{FEB4D4E8-7A71-4264-A547-049D6364A68D}"/>
              </a:ext>
            </a:extLst>
          </p:cNvPr>
          <p:cNvSpPr>
            <a:spLocks noGrp="1"/>
          </p:cNvSpPr>
          <p:nvPr>
            <p:ph type="pic" sz="quarter" idx="14"/>
          </p:nvPr>
        </p:nvSpPr>
        <p:spPr>
          <a:xfrm>
            <a:off x="4295206" y="1449388"/>
            <a:ext cx="3600000" cy="36004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10" name="Bildplatzhalter 2">
            <a:extLst>
              <a:ext uri="{FF2B5EF4-FFF2-40B4-BE49-F238E27FC236}">
                <a16:creationId xmlns:a16="http://schemas.microsoft.com/office/drawing/2014/main" id="{00FC0136-678B-4D40-BD08-5ADA3AB4519B}"/>
              </a:ext>
            </a:extLst>
          </p:cNvPr>
          <p:cNvSpPr>
            <a:spLocks noGrp="1"/>
          </p:cNvSpPr>
          <p:nvPr>
            <p:ph type="pic" sz="quarter" idx="15"/>
          </p:nvPr>
        </p:nvSpPr>
        <p:spPr>
          <a:xfrm>
            <a:off x="8179343" y="1449388"/>
            <a:ext cx="3600000" cy="36004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2" name="Fußzeilenplatzhalter 1">
            <a:extLst>
              <a:ext uri="{FF2B5EF4-FFF2-40B4-BE49-F238E27FC236}">
                <a16:creationId xmlns:a16="http://schemas.microsoft.com/office/drawing/2014/main" id="{282EC309-A9CA-4EFA-A8E9-E87B7206AC7F}"/>
              </a:ext>
            </a:extLst>
          </p:cNvPr>
          <p:cNvSpPr>
            <a:spLocks noGrp="1"/>
          </p:cNvSpPr>
          <p:nvPr>
            <p:ph type="ftr" sz="quarter" idx="19"/>
          </p:nvPr>
        </p:nvSpPr>
        <p:spPr/>
        <p:txBody>
          <a:bodyPr/>
          <a:lstStyle/>
          <a:p>
            <a:r>
              <a:rPr lang="en-GB"/>
              <a:t>NZSUG Auckland Event + SAP Forum</a:t>
            </a:r>
            <a:endParaRPr lang="de-DE" dirty="0"/>
          </a:p>
        </p:txBody>
      </p:sp>
      <p:sp>
        <p:nvSpPr>
          <p:cNvPr id="13" name="Textplatzhalter 9">
            <a:extLst>
              <a:ext uri="{FF2B5EF4-FFF2-40B4-BE49-F238E27FC236}">
                <a16:creationId xmlns:a16="http://schemas.microsoft.com/office/drawing/2014/main" id="{BC0034B6-35EC-47A6-962E-B1FEF6DCBE88}"/>
              </a:ext>
            </a:extLst>
          </p:cNvPr>
          <p:cNvSpPr>
            <a:spLocks noGrp="1"/>
          </p:cNvSpPr>
          <p:nvPr>
            <p:ph type="body" sz="quarter" idx="17" hasCustomPrompt="1"/>
          </p:nvPr>
        </p:nvSpPr>
        <p:spPr>
          <a:xfrm>
            <a:off x="406401" y="5337175"/>
            <a:ext cx="3600000" cy="1008063"/>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4" name="Textplatzhalter 9">
            <a:extLst>
              <a:ext uri="{FF2B5EF4-FFF2-40B4-BE49-F238E27FC236}">
                <a16:creationId xmlns:a16="http://schemas.microsoft.com/office/drawing/2014/main" id="{B53B38AA-47AE-415E-A8B4-CC4AF4C50640}"/>
              </a:ext>
            </a:extLst>
          </p:cNvPr>
          <p:cNvSpPr>
            <a:spLocks noGrp="1"/>
          </p:cNvSpPr>
          <p:nvPr>
            <p:ph type="body" sz="quarter" idx="20" hasCustomPrompt="1"/>
          </p:nvPr>
        </p:nvSpPr>
        <p:spPr>
          <a:xfrm>
            <a:off x="4295775" y="5337175"/>
            <a:ext cx="3600000" cy="1008063"/>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5" name="Textplatzhalter 9">
            <a:extLst>
              <a:ext uri="{FF2B5EF4-FFF2-40B4-BE49-F238E27FC236}">
                <a16:creationId xmlns:a16="http://schemas.microsoft.com/office/drawing/2014/main" id="{BE2696EC-77A5-4D82-9001-7FE0658B8FF7}"/>
              </a:ext>
            </a:extLst>
          </p:cNvPr>
          <p:cNvSpPr>
            <a:spLocks noGrp="1"/>
          </p:cNvSpPr>
          <p:nvPr>
            <p:ph type="body" sz="quarter" idx="21" hasCustomPrompt="1"/>
          </p:nvPr>
        </p:nvSpPr>
        <p:spPr>
          <a:xfrm>
            <a:off x="8184013" y="5337175"/>
            <a:ext cx="3600000" cy="1008063"/>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8" name="Titelplatzhalter 1">
            <a:extLst>
              <a:ext uri="{FF2B5EF4-FFF2-40B4-BE49-F238E27FC236}">
                <a16:creationId xmlns:a16="http://schemas.microsoft.com/office/drawing/2014/main" id="{E7EC0151-CD2B-4B73-B153-89839F20F687}"/>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930514018"/>
      </p:ext>
    </p:extLst>
  </p:cSld>
  <p:clrMapOvr>
    <a:masterClrMapping/>
  </p:clrMapOvr>
  <p:transition spd="med">
    <p:fade/>
  </p:transition>
  <p:extLst>
    <p:ext uri="{DCECCB84-F9BA-43D5-87BE-67443E8EF086}">
      <p15:sldGuideLst xmlns:p15="http://schemas.microsoft.com/office/powerpoint/2012/main">
        <p15:guide id="1" orient="horz" pos="3181">
          <p15:clr>
            <a:srgbClr val="FBAE40"/>
          </p15:clr>
        </p15:guide>
        <p15:guide id="2" pos="2524">
          <p15:clr>
            <a:srgbClr val="FBAE40"/>
          </p15:clr>
        </p15:guide>
        <p15:guide id="3" pos="2706">
          <p15:clr>
            <a:srgbClr val="FBAE40"/>
          </p15:clr>
        </p15:guide>
        <p15:guide id="4" pos="4973">
          <p15:clr>
            <a:srgbClr val="FBAE40"/>
          </p15:clr>
        </p15:guide>
        <p15:guide id="5" pos="5155">
          <p15:clr>
            <a:srgbClr val="FBAE40"/>
          </p15:clr>
        </p15:guide>
        <p15:guide id="6" orient="horz" pos="336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 Bild+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9429450" cy="48958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2" name="Fußzeilenplatzhalter 1">
            <a:extLst>
              <a:ext uri="{FF2B5EF4-FFF2-40B4-BE49-F238E27FC236}">
                <a16:creationId xmlns:a16="http://schemas.microsoft.com/office/drawing/2014/main" id="{086B382B-24BC-4959-A825-81ED251D8BD8}"/>
              </a:ext>
            </a:extLst>
          </p:cNvPr>
          <p:cNvSpPr>
            <a:spLocks noGrp="1"/>
          </p:cNvSpPr>
          <p:nvPr>
            <p:ph type="ftr" sz="quarter" idx="14"/>
          </p:nvPr>
        </p:nvSpPr>
        <p:spPr/>
        <p:txBody>
          <a:bodyPr/>
          <a:lstStyle/>
          <a:p>
            <a:r>
              <a:rPr lang="en-GB"/>
              <a:t>NZSUG Auckland Event + SAP Forum</a:t>
            </a:r>
            <a:endParaRPr lang="de-DE" dirty="0"/>
          </a:p>
        </p:txBody>
      </p:sp>
      <p:sp>
        <p:nvSpPr>
          <p:cNvPr id="11" name="Textplatzhalter 9">
            <a:extLst>
              <a:ext uri="{FF2B5EF4-FFF2-40B4-BE49-F238E27FC236}">
                <a16:creationId xmlns:a16="http://schemas.microsoft.com/office/drawing/2014/main" id="{BCD957A6-1A4A-4B62-A16D-350C467F64F6}"/>
              </a:ext>
            </a:extLst>
          </p:cNvPr>
          <p:cNvSpPr>
            <a:spLocks noGrp="1"/>
          </p:cNvSpPr>
          <p:nvPr>
            <p:ph type="body" sz="quarter" idx="17" hasCustomPrompt="1"/>
          </p:nvPr>
        </p:nvSpPr>
        <p:spPr>
          <a:xfrm>
            <a:off x="10128250" y="1449389"/>
            <a:ext cx="1653500" cy="4895850"/>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3" name="Titelplatzhalter 1">
            <a:extLst>
              <a:ext uri="{FF2B5EF4-FFF2-40B4-BE49-F238E27FC236}">
                <a16:creationId xmlns:a16="http://schemas.microsoft.com/office/drawing/2014/main" id="{DC063DD4-994E-450D-A82C-7D9B6E908B51}"/>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3116854898"/>
      </p:ext>
    </p:extLst>
  </p:cSld>
  <p:clrMapOvr>
    <a:masterClrMapping/>
  </p:clrMapOvr>
  <p:transition spd="med">
    <p:fade/>
  </p:transition>
  <p:extLst>
    <p:ext uri="{DCECCB84-F9BA-43D5-87BE-67443E8EF086}">
      <p15:sldGuideLst xmlns:p15="http://schemas.microsoft.com/office/powerpoint/2012/main">
        <p15:guide id="1" pos="6198">
          <p15:clr>
            <a:srgbClr val="FBAE40"/>
          </p15:clr>
        </p15:guide>
        <p15:guide id="2" pos="63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3 2xBild + 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4570725" cy="48958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44" name="Bildplatzhalter 2">
            <a:extLst>
              <a:ext uri="{FF2B5EF4-FFF2-40B4-BE49-F238E27FC236}">
                <a16:creationId xmlns:a16="http://schemas.microsoft.com/office/drawing/2014/main" id="{01A0BF0A-FCD3-49ED-91F6-953DC270DE33}"/>
              </a:ext>
            </a:extLst>
          </p:cNvPr>
          <p:cNvSpPr>
            <a:spLocks noGrp="1"/>
          </p:cNvSpPr>
          <p:nvPr>
            <p:ph type="pic" sz="quarter" idx="14"/>
          </p:nvPr>
        </p:nvSpPr>
        <p:spPr>
          <a:xfrm>
            <a:off x="5265125" y="1449388"/>
            <a:ext cx="4570725" cy="48958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2" name="Fußzeilenplatzhalter 1">
            <a:extLst>
              <a:ext uri="{FF2B5EF4-FFF2-40B4-BE49-F238E27FC236}">
                <a16:creationId xmlns:a16="http://schemas.microsoft.com/office/drawing/2014/main" id="{4F0C0B24-D274-4C7E-B9A9-B908B71431E8}"/>
              </a:ext>
            </a:extLst>
          </p:cNvPr>
          <p:cNvSpPr>
            <a:spLocks noGrp="1"/>
          </p:cNvSpPr>
          <p:nvPr>
            <p:ph type="ftr" sz="quarter" idx="15"/>
          </p:nvPr>
        </p:nvSpPr>
        <p:spPr/>
        <p:txBody>
          <a:bodyPr/>
          <a:lstStyle/>
          <a:p>
            <a:r>
              <a:rPr lang="en-GB"/>
              <a:t>NZSUG Auckland Event + SAP Forum</a:t>
            </a:r>
            <a:endParaRPr lang="de-DE" dirty="0"/>
          </a:p>
        </p:txBody>
      </p:sp>
      <p:sp>
        <p:nvSpPr>
          <p:cNvPr id="11" name="Textplatzhalter 9">
            <a:extLst>
              <a:ext uri="{FF2B5EF4-FFF2-40B4-BE49-F238E27FC236}">
                <a16:creationId xmlns:a16="http://schemas.microsoft.com/office/drawing/2014/main" id="{D0EE38C8-4C13-4702-B057-C6A91BC449B3}"/>
              </a:ext>
            </a:extLst>
          </p:cNvPr>
          <p:cNvSpPr>
            <a:spLocks noGrp="1"/>
          </p:cNvSpPr>
          <p:nvPr>
            <p:ph type="body" sz="quarter" idx="17" hasCustomPrompt="1"/>
          </p:nvPr>
        </p:nvSpPr>
        <p:spPr>
          <a:xfrm>
            <a:off x="10128250" y="1449389"/>
            <a:ext cx="1653500" cy="4895850"/>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3" name="Titelplatzhalter 1">
            <a:extLst>
              <a:ext uri="{FF2B5EF4-FFF2-40B4-BE49-F238E27FC236}">
                <a16:creationId xmlns:a16="http://schemas.microsoft.com/office/drawing/2014/main" id="{50C094C8-DB7D-40E5-B1A2-A447BDA40234}"/>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1227263820"/>
      </p:ext>
    </p:extLst>
  </p:cSld>
  <p:clrMapOvr>
    <a:masterClrMapping/>
  </p:clrMapOvr>
  <p:transition spd="med">
    <p:fade/>
  </p:transition>
  <p:extLst>
    <p:ext uri="{DCECCB84-F9BA-43D5-87BE-67443E8EF086}">
      <p15:sldGuideLst xmlns:p15="http://schemas.microsoft.com/office/powerpoint/2012/main">
        <p15:guide id="3" pos="6380">
          <p15:clr>
            <a:srgbClr val="FBAE40"/>
          </p15:clr>
        </p15:guide>
        <p15:guide id="4" pos="6198">
          <p15:clr>
            <a:srgbClr val="FBAE40"/>
          </p15:clr>
        </p15:guide>
        <p15:guide id="5" pos="3318">
          <p15:clr>
            <a:srgbClr val="FBAE40"/>
          </p15:clr>
        </p15:guide>
        <p15:guide id="6" pos="313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4 2xBild + 2x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4570725" cy="3597414"/>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44" name="Bildplatzhalter 2">
            <a:extLst>
              <a:ext uri="{FF2B5EF4-FFF2-40B4-BE49-F238E27FC236}">
                <a16:creationId xmlns:a16="http://schemas.microsoft.com/office/drawing/2014/main" id="{01A0BF0A-FCD3-49ED-91F6-953DC270DE33}"/>
              </a:ext>
            </a:extLst>
          </p:cNvPr>
          <p:cNvSpPr>
            <a:spLocks noGrp="1"/>
          </p:cNvSpPr>
          <p:nvPr>
            <p:ph type="pic" sz="quarter" idx="14"/>
          </p:nvPr>
        </p:nvSpPr>
        <p:spPr>
          <a:xfrm>
            <a:off x="5265126" y="1449388"/>
            <a:ext cx="3598980" cy="4895850"/>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2" name="Fußzeilenplatzhalter 1">
            <a:extLst>
              <a:ext uri="{FF2B5EF4-FFF2-40B4-BE49-F238E27FC236}">
                <a16:creationId xmlns:a16="http://schemas.microsoft.com/office/drawing/2014/main" id="{0BB49430-CB48-4306-A319-128538898516}"/>
              </a:ext>
            </a:extLst>
          </p:cNvPr>
          <p:cNvSpPr>
            <a:spLocks noGrp="1"/>
          </p:cNvSpPr>
          <p:nvPr>
            <p:ph type="ftr" sz="quarter" idx="16"/>
          </p:nvPr>
        </p:nvSpPr>
        <p:spPr/>
        <p:txBody>
          <a:bodyPr/>
          <a:lstStyle/>
          <a:p>
            <a:r>
              <a:rPr lang="en-GB"/>
              <a:t>NZSUG Auckland Event + SAP Forum</a:t>
            </a:r>
            <a:endParaRPr lang="de-DE" dirty="0"/>
          </a:p>
        </p:txBody>
      </p:sp>
      <p:sp>
        <p:nvSpPr>
          <p:cNvPr id="11" name="Textplatzhalter 9">
            <a:extLst>
              <a:ext uri="{FF2B5EF4-FFF2-40B4-BE49-F238E27FC236}">
                <a16:creationId xmlns:a16="http://schemas.microsoft.com/office/drawing/2014/main" id="{F94F1DC6-775B-4C63-A493-27EF97B765AB}"/>
              </a:ext>
            </a:extLst>
          </p:cNvPr>
          <p:cNvSpPr>
            <a:spLocks noGrp="1"/>
          </p:cNvSpPr>
          <p:nvPr>
            <p:ph type="body" sz="quarter" idx="18" hasCustomPrompt="1"/>
          </p:nvPr>
        </p:nvSpPr>
        <p:spPr>
          <a:xfrm>
            <a:off x="9152107" y="1449389"/>
            <a:ext cx="2629643" cy="4895850"/>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2" name="Textplatzhalter 9">
            <a:extLst>
              <a:ext uri="{FF2B5EF4-FFF2-40B4-BE49-F238E27FC236}">
                <a16:creationId xmlns:a16="http://schemas.microsoft.com/office/drawing/2014/main" id="{095A2E83-3E8D-4538-BDCD-E89E0FE7A016}"/>
              </a:ext>
            </a:extLst>
          </p:cNvPr>
          <p:cNvSpPr>
            <a:spLocks noGrp="1"/>
          </p:cNvSpPr>
          <p:nvPr>
            <p:ph type="body" sz="quarter" idx="17" hasCustomPrompt="1"/>
          </p:nvPr>
        </p:nvSpPr>
        <p:spPr>
          <a:xfrm>
            <a:off x="406400" y="5337175"/>
            <a:ext cx="4572000" cy="1008064"/>
          </a:xfrm>
        </p:spPr>
        <p:txBody>
          <a:bodyPr/>
          <a:lstStyle>
            <a:lvl1pPr>
              <a:spcBef>
                <a:spcPts val="0"/>
              </a:spcBef>
              <a:defRPr sz="1400" b="0">
                <a:solidFill>
                  <a:schemeClr val="bg2"/>
                </a:solidFill>
              </a:defRPr>
            </a:lvl1pPr>
            <a:lvl2pPr marL="180000" indent="-180000">
              <a:spcBef>
                <a:spcPts val="400"/>
              </a:spcBef>
              <a:buClr>
                <a:schemeClr val="accent3"/>
              </a:buClr>
              <a:buFont typeface="Wingdings 2" panose="05020102010507070707" pitchFamily="18" charset="2"/>
              <a:buChar char="¡"/>
              <a:defRPr sz="1400"/>
            </a:lvl2pPr>
            <a:lvl3pPr marL="360000" indent="-180000">
              <a:spcBef>
                <a:spcPts val="400"/>
              </a:spcBef>
              <a:buFont typeface="Symbol" panose="05050102010706020507" pitchFamily="18" charset="2"/>
              <a:buChar char="-"/>
              <a:defRPr sz="1400"/>
            </a:lvl3pPr>
            <a:lvl4pPr marL="540000" indent="-180000">
              <a:spcBef>
                <a:spcPts val="300"/>
              </a:spcBef>
              <a:buFont typeface="Wingdings 2" panose="05020102010507070707" pitchFamily="18" charset="2"/>
              <a:buChar char="¡"/>
              <a:defRPr sz="1400"/>
            </a:lvl4pPr>
            <a:lvl5pPr marL="720000" indent="-180000">
              <a:spcBef>
                <a:spcPts val="300"/>
              </a:spcBef>
              <a:buFont typeface="Symbol" panose="05050102010706020507" pitchFamily="18" charset="2"/>
              <a:buChar char="-"/>
              <a:defRPr sz="1400"/>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p:txBody>
      </p:sp>
      <p:sp>
        <p:nvSpPr>
          <p:cNvPr id="15" name="Titelplatzhalter 1">
            <a:extLst>
              <a:ext uri="{FF2B5EF4-FFF2-40B4-BE49-F238E27FC236}">
                <a16:creationId xmlns:a16="http://schemas.microsoft.com/office/drawing/2014/main" id="{34F892A7-27C7-4E80-A0F8-FDF88791FA70}"/>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1926500450"/>
      </p:ext>
    </p:extLst>
  </p:cSld>
  <p:clrMapOvr>
    <a:masterClrMapping/>
  </p:clrMapOvr>
  <p:transition spd="med">
    <p:fade/>
  </p:transition>
  <p:extLst>
    <p:ext uri="{DCECCB84-F9BA-43D5-87BE-67443E8EF086}">
      <p15:sldGuideLst xmlns:p15="http://schemas.microsoft.com/office/powerpoint/2012/main">
        <p15:guide id="1" orient="horz" pos="3181">
          <p15:clr>
            <a:srgbClr val="FBAE40"/>
          </p15:clr>
        </p15:guide>
        <p15:guide id="4" orient="horz" pos="3362">
          <p15:clr>
            <a:srgbClr val="FBAE40"/>
          </p15:clr>
        </p15:guide>
        <p15:guide id="5" pos="5767">
          <p15:clr>
            <a:srgbClr val="FBAE40"/>
          </p15:clr>
        </p15:guide>
        <p15:guide id="6" pos="5586">
          <p15:clr>
            <a:srgbClr val="FBAE40"/>
          </p15:clr>
        </p15:guide>
        <p15:guide id="7" pos="3318">
          <p15:clr>
            <a:srgbClr val="FBAE40"/>
          </p15:clr>
        </p15:guide>
        <p15:guide id="8" pos="3136">
          <p15:clr>
            <a:srgbClr val="FBAE40"/>
          </p15:clr>
        </p15:guide>
        <p15:guide id="9" orient="horz" pos="2546">
          <p15:clr>
            <a:srgbClr val="FBAE40"/>
          </p15:clr>
        </p15:guide>
        <p15:guide id="10" orient="horz" pos="2364">
          <p15:clr>
            <a:srgbClr val="FBAE40"/>
          </p15:clr>
        </p15:guide>
        <p15:guide id="11" orient="horz" pos="1729">
          <p15:clr>
            <a:srgbClr val="FBAE40"/>
          </p15:clr>
        </p15:guide>
        <p15:guide id="12" orient="horz" pos="154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5 Referenzen">
    <p:spTree>
      <p:nvGrpSpPr>
        <p:cNvPr id="1" name=""/>
        <p:cNvGrpSpPr/>
        <p:nvPr/>
      </p:nvGrpSpPr>
      <p:grpSpPr>
        <a:xfrm>
          <a:off x="0" y="0"/>
          <a:ext cx="0" cy="0"/>
          <a:chOff x="0" y="0"/>
          <a:chExt cx="0" cy="0"/>
        </a:xfrm>
      </p:grpSpPr>
      <p:sp>
        <p:nvSpPr>
          <p:cNvPr id="21" name="Textplatzhalter 20">
            <a:extLst>
              <a:ext uri="{FF2B5EF4-FFF2-40B4-BE49-F238E27FC236}">
                <a16:creationId xmlns:a16="http://schemas.microsoft.com/office/drawing/2014/main" id="{9B02AE68-77DE-4717-B583-A34FDCB76C30}"/>
              </a:ext>
            </a:extLst>
          </p:cNvPr>
          <p:cNvSpPr>
            <a:spLocks noGrp="1"/>
          </p:cNvSpPr>
          <p:nvPr>
            <p:ph type="body" sz="quarter" idx="16" hasCustomPrompt="1"/>
          </p:nvPr>
        </p:nvSpPr>
        <p:spPr>
          <a:xfrm>
            <a:off x="406400" y="2457450"/>
            <a:ext cx="3600000" cy="3887788"/>
          </a:xfrm>
        </p:spPr>
        <p:txBody>
          <a:bodyPr tIns="72000"/>
          <a:lstStyle>
            <a:lvl1pPr marL="0" indent="0">
              <a:buClr>
                <a:schemeClr val="accent3"/>
              </a:buClr>
              <a:buFont typeface="Wingdings 2" panose="05020102010507070707" pitchFamily="18" charset="2"/>
              <a:buNone/>
              <a:defRPr b="0">
                <a:solidFill>
                  <a:schemeClr val="bg2"/>
                </a:solidFill>
              </a:defRPr>
            </a:lvl1pPr>
            <a:lvl2pPr marL="216000" indent="-216000">
              <a:spcBef>
                <a:spcPts val="600"/>
              </a:spcBef>
              <a:buClr>
                <a:schemeClr val="accent3"/>
              </a:buClr>
              <a:buFont typeface="Wingdings 2" panose="05020102010507070707" pitchFamily="18" charset="2"/>
              <a:buChar char="¡"/>
              <a:defRPr/>
            </a:lvl2pPr>
            <a:lvl3pPr marL="432000" indent="-216000">
              <a:spcBef>
                <a:spcPts val="600"/>
              </a:spcBef>
              <a:buFont typeface="Symbol" panose="05050102010706020507" pitchFamily="18" charset="2"/>
              <a:buChar char="-"/>
              <a:defRPr/>
            </a:lvl3pPr>
            <a:lvl4pPr marL="648000" indent="-216000">
              <a:spcBef>
                <a:spcPts val="600"/>
              </a:spcBef>
              <a:buFont typeface="Wingdings 2" panose="05020102010507070707" pitchFamily="18" charset="2"/>
              <a:buChar char="¡"/>
              <a:defRPr/>
            </a:lvl4pPr>
            <a:lvl5pPr marL="864000" indent="-216000">
              <a:spcBef>
                <a:spcPts val="600"/>
              </a:spcBef>
              <a:buFont typeface="Symbol" panose="05050102010706020507" pitchFamily="18" charset="2"/>
              <a:buChar cha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29" name="Textplatzhalter 20">
            <a:extLst>
              <a:ext uri="{FF2B5EF4-FFF2-40B4-BE49-F238E27FC236}">
                <a16:creationId xmlns:a16="http://schemas.microsoft.com/office/drawing/2014/main" id="{2A9DE786-A884-48C8-A21F-F9B6A3027164}"/>
              </a:ext>
            </a:extLst>
          </p:cNvPr>
          <p:cNvSpPr>
            <a:spLocks noGrp="1"/>
          </p:cNvSpPr>
          <p:nvPr>
            <p:ph type="body" sz="quarter" idx="19" hasCustomPrompt="1"/>
          </p:nvPr>
        </p:nvSpPr>
        <p:spPr>
          <a:xfrm>
            <a:off x="406400" y="1938211"/>
            <a:ext cx="3600000" cy="518519"/>
          </a:xfrm>
          <a:noFill/>
        </p:spPr>
        <p:txBody>
          <a:bodyPr bIns="72000" anchor="b" anchorCtr="0"/>
          <a:lstStyle>
            <a:lvl1pPr marL="0" indent="0">
              <a:buClr>
                <a:schemeClr val="accent3"/>
              </a:buClr>
              <a:buFontTx/>
              <a:buNone/>
              <a:defRPr b="0">
                <a:solidFill>
                  <a:schemeClr val="accent3"/>
                </a:solidFill>
              </a:defRPr>
            </a:lvl1pPr>
            <a:lvl2pPr marL="504000" indent="-252000">
              <a:buClr>
                <a:schemeClr val="accent3"/>
              </a:buClr>
              <a:buFont typeface="Symbol" panose="05050102010706020507" pitchFamily="18" charset="2"/>
              <a:buChar char="-"/>
              <a:defRPr/>
            </a:lvl2pPr>
            <a:lvl3pPr marL="756000">
              <a:defRPr/>
            </a:lvl3pPr>
            <a:lvl4pPr marL="1008000">
              <a:defRPr/>
            </a:lvl4pPr>
            <a:lvl5pPr marL="1260000">
              <a:defRPr/>
            </a:lvl5pPr>
          </a:lstStyle>
          <a:p>
            <a:pPr lvl="0"/>
            <a:r>
              <a:rPr lang="de-DE" dirty="0"/>
              <a:t>Challenge</a:t>
            </a:r>
          </a:p>
        </p:txBody>
      </p:sp>
      <p:sp>
        <p:nvSpPr>
          <p:cNvPr id="32" name="Textplatzhalter 20">
            <a:extLst>
              <a:ext uri="{FF2B5EF4-FFF2-40B4-BE49-F238E27FC236}">
                <a16:creationId xmlns:a16="http://schemas.microsoft.com/office/drawing/2014/main" id="{AE83A3B6-16A1-4184-86CD-F84815D03B67}"/>
              </a:ext>
            </a:extLst>
          </p:cNvPr>
          <p:cNvSpPr>
            <a:spLocks noGrp="1"/>
          </p:cNvSpPr>
          <p:nvPr>
            <p:ph type="body" sz="quarter" idx="20" hasCustomPrompt="1"/>
          </p:nvPr>
        </p:nvSpPr>
        <p:spPr>
          <a:xfrm>
            <a:off x="4295206" y="1938211"/>
            <a:ext cx="3600000" cy="518519"/>
          </a:xfrm>
          <a:noFill/>
        </p:spPr>
        <p:txBody>
          <a:bodyPr bIns="72000" anchor="b" anchorCtr="0"/>
          <a:lstStyle>
            <a:lvl1pPr marL="0" indent="0">
              <a:buClr>
                <a:schemeClr val="accent3"/>
              </a:buClr>
              <a:buFontTx/>
              <a:buNone/>
              <a:defRPr b="0">
                <a:solidFill>
                  <a:schemeClr val="accent3"/>
                </a:solidFill>
              </a:defRPr>
            </a:lvl1pPr>
            <a:lvl2pPr marL="504000" indent="-252000">
              <a:buClr>
                <a:schemeClr val="accent3"/>
              </a:buClr>
              <a:buFont typeface="Symbol" panose="05050102010706020507" pitchFamily="18" charset="2"/>
              <a:buChar char="-"/>
              <a:defRPr/>
            </a:lvl2pPr>
            <a:lvl3pPr marL="756000">
              <a:defRPr/>
            </a:lvl3pPr>
            <a:lvl4pPr marL="1008000">
              <a:defRPr/>
            </a:lvl4pPr>
            <a:lvl5pPr marL="1260000">
              <a:defRPr/>
            </a:lvl5pPr>
          </a:lstStyle>
          <a:p>
            <a:pPr lvl="0"/>
            <a:r>
              <a:rPr lang="de-DE" dirty="0"/>
              <a:t>Solution by SNP</a:t>
            </a:r>
          </a:p>
        </p:txBody>
      </p:sp>
      <p:sp>
        <p:nvSpPr>
          <p:cNvPr id="34" name="Textplatzhalter 20">
            <a:extLst>
              <a:ext uri="{FF2B5EF4-FFF2-40B4-BE49-F238E27FC236}">
                <a16:creationId xmlns:a16="http://schemas.microsoft.com/office/drawing/2014/main" id="{86BBDCC1-33B0-46D5-8E03-BC517AC835A6}"/>
              </a:ext>
            </a:extLst>
          </p:cNvPr>
          <p:cNvSpPr>
            <a:spLocks noGrp="1"/>
          </p:cNvSpPr>
          <p:nvPr>
            <p:ph type="body" sz="quarter" idx="21" hasCustomPrompt="1"/>
          </p:nvPr>
        </p:nvSpPr>
        <p:spPr>
          <a:xfrm>
            <a:off x="8177559" y="1938211"/>
            <a:ext cx="3600000" cy="518519"/>
          </a:xfrm>
          <a:noFill/>
        </p:spPr>
        <p:txBody>
          <a:bodyPr bIns="72000" anchor="b" anchorCtr="0"/>
          <a:lstStyle>
            <a:lvl1pPr marL="0" indent="0">
              <a:buClr>
                <a:schemeClr val="accent3"/>
              </a:buClr>
              <a:buFontTx/>
              <a:buNone/>
              <a:defRPr b="0">
                <a:solidFill>
                  <a:schemeClr val="accent3"/>
                </a:solidFill>
              </a:defRPr>
            </a:lvl1pPr>
            <a:lvl2pPr marL="252000" indent="0">
              <a:buClr>
                <a:schemeClr val="accent3"/>
              </a:buClr>
              <a:buFont typeface="Symbol" panose="05050102010706020507" pitchFamily="18" charset="2"/>
              <a:buNone/>
              <a:defRPr/>
            </a:lvl2pPr>
            <a:lvl3pPr marL="756000">
              <a:defRPr/>
            </a:lvl3pPr>
            <a:lvl4pPr marL="1008000">
              <a:defRPr/>
            </a:lvl4pPr>
            <a:lvl5pPr marL="1260000">
              <a:defRPr/>
            </a:lvl5pPr>
          </a:lstStyle>
          <a:p>
            <a:pPr lvl="0"/>
            <a:r>
              <a:rPr lang="de-DE" dirty="0"/>
              <a:t>Customer Value</a:t>
            </a:r>
          </a:p>
        </p:txBody>
      </p:sp>
      <p:sp>
        <p:nvSpPr>
          <p:cNvPr id="3" name="Datumsplatzhalter 2">
            <a:extLst>
              <a:ext uri="{FF2B5EF4-FFF2-40B4-BE49-F238E27FC236}">
                <a16:creationId xmlns:a16="http://schemas.microsoft.com/office/drawing/2014/main" id="{63F481E1-CFDE-483D-B37E-67995C7AE898}"/>
              </a:ext>
            </a:extLst>
          </p:cNvPr>
          <p:cNvSpPr>
            <a:spLocks noGrp="1"/>
          </p:cNvSpPr>
          <p:nvPr>
            <p:ph type="dt" sz="half" idx="10"/>
          </p:nvPr>
        </p:nvSpPr>
        <p:spPr/>
        <p:txBody>
          <a:bodyPr/>
          <a:lstStyle/>
          <a:p>
            <a:r>
              <a:rPr lang="en-US"/>
              <a:t>21/08/2019</a:t>
            </a:r>
            <a:endParaRPr lang="de-DE" dirty="0"/>
          </a:p>
        </p:txBody>
      </p:sp>
      <p:sp>
        <p:nvSpPr>
          <p:cNvPr id="4" name="Foliennummernplatzhalter 3">
            <a:extLst>
              <a:ext uri="{FF2B5EF4-FFF2-40B4-BE49-F238E27FC236}">
                <a16:creationId xmlns:a16="http://schemas.microsoft.com/office/drawing/2014/main" id="{343517EC-8216-4B1F-B315-2F2A0C3BE2F4}"/>
              </a:ext>
            </a:extLst>
          </p:cNvPr>
          <p:cNvSpPr>
            <a:spLocks noGrp="1"/>
          </p:cNvSpPr>
          <p:nvPr>
            <p:ph type="sldNum" sz="quarter" idx="11"/>
          </p:nvPr>
        </p:nvSpPr>
        <p:spPr/>
        <p:txBody>
          <a:bodyPr/>
          <a:lstStyle/>
          <a:p>
            <a:fld id="{221F1D72-F2AC-4B6E-A46C-E63D2CF40C7B}" type="slidenum">
              <a:rPr lang="de-DE" smtClean="0"/>
              <a:pPr/>
              <a:t>‹#›</a:t>
            </a:fld>
            <a:endParaRPr lang="de-DE" dirty="0"/>
          </a:p>
        </p:txBody>
      </p:sp>
      <p:cxnSp>
        <p:nvCxnSpPr>
          <p:cNvPr id="6" name="Gerade Verbindung 13">
            <a:extLst>
              <a:ext uri="{FF2B5EF4-FFF2-40B4-BE49-F238E27FC236}">
                <a16:creationId xmlns:a16="http://schemas.microsoft.com/office/drawing/2014/main" id="{24DBEF35-58B7-4603-936F-3E947838FC93}"/>
              </a:ext>
            </a:extLst>
          </p:cNvPr>
          <p:cNvCxnSpPr/>
          <p:nvPr userDrawn="1"/>
        </p:nvCxnSpPr>
        <p:spPr>
          <a:xfrm>
            <a:off x="4295206" y="2456730"/>
            <a:ext cx="3600000" cy="0"/>
          </a:xfrm>
          <a:prstGeom prst="line">
            <a:avLst/>
          </a:prstGeom>
          <a:ln w="12700">
            <a:solidFill>
              <a:schemeClr val="accent3"/>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 name="Gerade Verbindung 14">
            <a:extLst>
              <a:ext uri="{FF2B5EF4-FFF2-40B4-BE49-F238E27FC236}">
                <a16:creationId xmlns:a16="http://schemas.microsoft.com/office/drawing/2014/main" id="{787C234D-519B-4229-9899-F2CA2E252A0A}"/>
              </a:ext>
            </a:extLst>
          </p:cNvPr>
          <p:cNvCxnSpPr/>
          <p:nvPr userDrawn="1"/>
        </p:nvCxnSpPr>
        <p:spPr>
          <a:xfrm>
            <a:off x="406400" y="2456730"/>
            <a:ext cx="3600000" cy="0"/>
          </a:xfrm>
          <a:prstGeom prst="line">
            <a:avLst/>
          </a:prstGeom>
          <a:ln w="12700">
            <a:solidFill>
              <a:schemeClr val="accent3"/>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 name="Gerade Verbindung 15">
            <a:extLst>
              <a:ext uri="{FF2B5EF4-FFF2-40B4-BE49-F238E27FC236}">
                <a16:creationId xmlns:a16="http://schemas.microsoft.com/office/drawing/2014/main" id="{0B7136DE-2FCA-46DC-8699-09D80A32F329}"/>
              </a:ext>
            </a:extLst>
          </p:cNvPr>
          <p:cNvCxnSpPr/>
          <p:nvPr userDrawn="1"/>
        </p:nvCxnSpPr>
        <p:spPr>
          <a:xfrm>
            <a:off x="8177559" y="2456730"/>
            <a:ext cx="3600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9" name="Group 11">
            <a:extLst>
              <a:ext uri="{FF2B5EF4-FFF2-40B4-BE49-F238E27FC236}">
                <a16:creationId xmlns:a16="http://schemas.microsoft.com/office/drawing/2014/main" id="{71E577AE-7DE1-4958-A653-D8590565B47C}"/>
              </a:ext>
            </a:extLst>
          </p:cNvPr>
          <p:cNvGrpSpPr>
            <a:grpSpLocks noChangeAspect="1"/>
          </p:cNvGrpSpPr>
          <p:nvPr userDrawn="1"/>
        </p:nvGrpSpPr>
        <p:grpSpPr bwMode="auto">
          <a:xfrm>
            <a:off x="9651101" y="1651505"/>
            <a:ext cx="665073" cy="526146"/>
            <a:chOff x="3614" y="1970"/>
            <a:chExt cx="450" cy="356"/>
          </a:xfrm>
        </p:grpSpPr>
        <p:sp>
          <p:nvSpPr>
            <p:cNvPr id="10" name="Freeform 12">
              <a:extLst>
                <a:ext uri="{FF2B5EF4-FFF2-40B4-BE49-F238E27FC236}">
                  <a16:creationId xmlns:a16="http://schemas.microsoft.com/office/drawing/2014/main" id="{C4CAC6EA-1FDC-48D8-90C8-D5277F574213}"/>
                </a:ext>
              </a:extLst>
            </p:cNvPr>
            <p:cNvSpPr>
              <a:spLocks/>
            </p:cNvSpPr>
            <p:nvPr/>
          </p:nvSpPr>
          <p:spPr bwMode="auto">
            <a:xfrm>
              <a:off x="3614" y="1970"/>
              <a:ext cx="450" cy="356"/>
            </a:xfrm>
            <a:custGeom>
              <a:avLst/>
              <a:gdLst>
                <a:gd name="T0" fmla="*/ 0 w 2642"/>
                <a:gd name="T1" fmla="*/ 620 h 2092"/>
                <a:gd name="T2" fmla="*/ 611 w 2642"/>
                <a:gd name="T3" fmla="*/ 0 h 2092"/>
                <a:gd name="T4" fmla="*/ 2031 w 2642"/>
                <a:gd name="T5" fmla="*/ 0 h 2092"/>
                <a:gd name="T6" fmla="*/ 2642 w 2642"/>
                <a:gd name="T7" fmla="*/ 620 h 2092"/>
                <a:gd name="T8" fmla="*/ 1321 w 2642"/>
                <a:gd name="T9" fmla="*/ 2092 h 2092"/>
                <a:gd name="T10" fmla="*/ 0 w 2642"/>
                <a:gd name="T11" fmla="*/ 620 h 2092"/>
              </a:gdLst>
              <a:ahLst/>
              <a:cxnLst>
                <a:cxn ang="0">
                  <a:pos x="T0" y="T1"/>
                </a:cxn>
                <a:cxn ang="0">
                  <a:pos x="T2" y="T3"/>
                </a:cxn>
                <a:cxn ang="0">
                  <a:pos x="T4" y="T5"/>
                </a:cxn>
                <a:cxn ang="0">
                  <a:pos x="T6" y="T7"/>
                </a:cxn>
                <a:cxn ang="0">
                  <a:pos x="T8" y="T9"/>
                </a:cxn>
                <a:cxn ang="0">
                  <a:pos x="T10" y="T11"/>
                </a:cxn>
              </a:cxnLst>
              <a:rect l="0" t="0" r="r" b="b"/>
              <a:pathLst>
                <a:path w="2642" h="2092">
                  <a:moveTo>
                    <a:pt x="0" y="620"/>
                  </a:moveTo>
                  <a:lnTo>
                    <a:pt x="611" y="0"/>
                  </a:lnTo>
                  <a:lnTo>
                    <a:pt x="2031" y="0"/>
                  </a:lnTo>
                  <a:lnTo>
                    <a:pt x="2642" y="620"/>
                  </a:lnTo>
                  <a:lnTo>
                    <a:pt x="1321" y="2092"/>
                  </a:lnTo>
                  <a:lnTo>
                    <a:pt x="0" y="620"/>
                  </a:lnTo>
                  <a:close/>
                </a:path>
              </a:pathLst>
            </a:cu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a:endParaRPr lang="de-DE"/>
            </a:p>
          </p:txBody>
        </p:sp>
        <p:sp>
          <p:nvSpPr>
            <p:cNvPr id="11" name="Freeform 13">
              <a:extLst>
                <a:ext uri="{FF2B5EF4-FFF2-40B4-BE49-F238E27FC236}">
                  <a16:creationId xmlns:a16="http://schemas.microsoft.com/office/drawing/2014/main" id="{07D7F4AC-B424-4510-A99B-C45E98A6866B}"/>
                </a:ext>
              </a:extLst>
            </p:cNvPr>
            <p:cNvSpPr>
              <a:spLocks noEditPoints="1"/>
            </p:cNvSpPr>
            <p:nvPr/>
          </p:nvSpPr>
          <p:spPr bwMode="auto">
            <a:xfrm>
              <a:off x="3614" y="1970"/>
              <a:ext cx="450" cy="356"/>
            </a:xfrm>
            <a:custGeom>
              <a:avLst/>
              <a:gdLst>
                <a:gd name="T0" fmla="*/ 0 w 2642"/>
                <a:gd name="T1" fmla="*/ 620 h 2092"/>
                <a:gd name="T2" fmla="*/ 2642 w 2642"/>
                <a:gd name="T3" fmla="*/ 620 h 2092"/>
                <a:gd name="T4" fmla="*/ 611 w 2642"/>
                <a:gd name="T5" fmla="*/ 0 h 2092"/>
                <a:gd name="T6" fmla="*/ 852 w 2642"/>
                <a:gd name="T7" fmla="*/ 620 h 2092"/>
                <a:gd name="T8" fmla="*/ 1321 w 2642"/>
                <a:gd name="T9" fmla="*/ 0 h 2092"/>
                <a:gd name="T10" fmla="*/ 1790 w 2642"/>
                <a:gd name="T11" fmla="*/ 620 h 2092"/>
                <a:gd name="T12" fmla="*/ 2031 w 2642"/>
                <a:gd name="T13" fmla="*/ 0 h 2092"/>
                <a:gd name="T14" fmla="*/ 852 w 2642"/>
                <a:gd name="T15" fmla="*/ 620 h 2092"/>
                <a:gd name="T16" fmla="*/ 1321 w 2642"/>
                <a:gd name="T17" fmla="*/ 2092 h 2092"/>
                <a:gd name="T18" fmla="*/ 1790 w 2642"/>
                <a:gd name="T19" fmla="*/ 620 h 2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2" h="2092">
                  <a:moveTo>
                    <a:pt x="0" y="620"/>
                  </a:moveTo>
                  <a:lnTo>
                    <a:pt x="2642" y="620"/>
                  </a:lnTo>
                  <a:moveTo>
                    <a:pt x="611" y="0"/>
                  </a:moveTo>
                  <a:lnTo>
                    <a:pt x="852" y="620"/>
                  </a:lnTo>
                  <a:lnTo>
                    <a:pt x="1321" y="0"/>
                  </a:lnTo>
                  <a:lnTo>
                    <a:pt x="1790" y="620"/>
                  </a:lnTo>
                  <a:lnTo>
                    <a:pt x="2031" y="0"/>
                  </a:lnTo>
                  <a:moveTo>
                    <a:pt x="852" y="620"/>
                  </a:moveTo>
                  <a:lnTo>
                    <a:pt x="1321" y="2092"/>
                  </a:lnTo>
                  <a:lnTo>
                    <a:pt x="1790" y="620"/>
                  </a:lnTo>
                </a:path>
              </a:pathLst>
            </a:cu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a:endParaRPr lang="de-DE"/>
            </a:p>
          </p:txBody>
        </p:sp>
      </p:grpSp>
      <p:grpSp>
        <p:nvGrpSpPr>
          <p:cNvPr id="15" name="Group 39">
            <a:extLst>
              <a:ext uri="{FF2B5EF4-FFF2-40B4-BE49-F238E27FC236}">
                <a16:creationId xmlns:a16="http://schemas.microsoft.com/office/drawing/2014/main" id="{B33BF98F-E85A-4BB6-814B-689A252F9FF1}"/>
              </a:ext>
            </a:extLst>
          </p:cNvPr>
          <p:cNvGrpSpPr>
            <a:grpSpLocks noChangeAspect="1"/>
          </p:cNvGrpSpPr>
          <p:nvPr userDrawn="1"/>
        </p:nvGrpSpPr>
        <p:grpSpPr bwMode="auto">
          <a:xfrm rot="21344665">
            <a:off x="5987998" y="1678295"/>
            <a:ext cx="741061" cy="513042"/>
            <a:chOff x="3758" y="1367"/>
            <a:chExt cx="325" cy="225"/>
          </a:xfrm>
        </p:grpSpPr>
        <p:sp>
          <p:nvSpPr>
            <p:cNvPr id="16" name="Freeform 40">
              <a:extLst>
                <a:ext uri="{FF2B5EF4-FFF2-40B4-BE49-F238E27FC236}">
                  <a16:creationId xmlns:a16="http://schemas.microsoft.com/office/drawing/2014/main" id="{51A8F633-5357-4282-81F9-918015D51B79}"/>
                </a:ext>
              </a:extLst>
            </p:cNvPr>
            <p:cNvSpPr>
              <a:spLocks noEditPoints="1"/>
            </p:cNvSpPr>
            <p:nvPr/>
          </p:nvSpPr>
          <p:spPr bwMode="auto">
            <a:xfrm>
              <a:off x="3936" y="1367"/>
              <a:ext cx="147" cy="145"/>
            </a:xfrm>
            <a:custGeom>
              <a:avLst/>
              <a:gdLst>
                <a:gd name="T0" fmla="*/ 594 w 861"/>
                <a:gd name="T1" fmla="*/ 26 h 856"/>
                <a:gd name="T2" fmla="*/ 585 w 861"/>
                <a:gd name="T3" fmla="*/ 121 h 856"/>
                <a:gd name="T4" fmla="*/ 627 w 861"/>
                <a:gd name="T5" fmla="*/ 147 h 856"/>
                <a:gd name="T6" fmla="*/ 634 w 861"/>
                <a:gd name="T7" fmla="*/ 152 h 856"/>
                <a:gd name="T8" fmla="*/ 676 w 861"/>
                <a:gd name="T9" fmla="*/ 188 h 856"/>
                <a:gd name="T10" fmla="*/ 763 w 861"/>
                <a:gd name="T11" fmla="*/ 152 h 856"/>
                <a:gd name="T12" fmla="*/ 808 w 861"/>
                <a:gd name="T13" fmla="*/ 238 h 856"/>
                <a:gd name="T14" fmla="*/ 757 w 861"/>
                <a:gd name="T15" fmla="*/ 327 h 856"/>
                <a:gd name="T16" fmla="*/ 767 w 861"/>
                <a:gd name="T17" fmla="*/ 371 h 856"/>
                <a:gd name="T18" fmla="*/ 771 w 861"/>
                <a:gd name="T19" fmla="*/ 402 h 856"/>
                <a:gd name="T20" fmla="*/ 860 w 861"/>
                <a:gd name="T21" fmla="*/ 431 h 856"/>
                <a:gd name="T22" fmla="*/ 839 w 861"/>
                <a:gd name="T23" fmla="*/ 525 h 856"/>
                <a:gd name="T24" fmla="*/ 710 w 861"/>
                <a:gd name="T25" fmla="*/ 620 h 856"/>
                <a:gd name="T26" fmla="*/ 705 w 861"/>
                <a:gd name="T27" fmla="*/ 627 h 856"/>
                <a:gd name="T28" fmla="*/ 755 w 861"/>
                <a:gd name="T29" fmla="*/ 707 h 856"/>
                <a:gd name="T30" fmla="*/ 678 w 861"/>
                <a:gd name="T31" fmla="*/ 765 h 856"/>
                <a:gd name="T32" fmla="*/ 609 w 861"/>
                <a:gd name="T33" fmla="*/ 715 h 856"/>
                <a:gd name="T34" fmla="*/ 510 w 861"/>
                <a:gd name="T35" fmla="*/ 756 h 856"/>
                <a:gd name="T36" fmla="*/ 498 w 861"/>
                <a:gd name="T37" fmla="*/ 850 h 856"/>
                <a:gd name="T38" fmla="*/ 401 w 861"/>
                <a:gd name="T39" fmla="*/ 846 h 856"/>
                <a:gd name="T40" fmla="*/ 280 w 861"/>
                <a:gd name="T41" fmla="*/ 730 h 856"/>
                <a:gd name="T42" fmla="*/ 208 w 861"/>
                <a:gd name="T43" fmla="*/ 795 h 856"/>
                <a:gd name="T44" fmla="*/ 137 w 861"/>
                <a:gd name="T45" fmla="*/ 729 h 856"/>
                <a:gd name="T46" fmla="*/ 120 w 861"/>
                <a:gd name="T47" fmla="*/ 562 h 856"/>
                <a:gd name="T48" fmla="*/ 22 w 861"/>
                <a:gd name="T49" fmla="*/ 566 h 856"/>
                <a:gd name="T50" fmla="*/ 9 w 861"/>
                <a:gd name="T51" fmla="*/ 470 h 856"/>
                <a:gd name="T52" fmla="*/ 91 w 861"/>
                <a:gd name="T53" fmla="*/ 441 h 856"/>
                <a:gd name="T54" fmla="*/ 100 w 861"/>
                <a:gd name="T55" fmla="*/ 347 h 856"/>
                <a:gd name="T56" fmla="*/ 104 w 861"/>
                <a:gd name="T57" fmla="*/ 331 h 856"/>
                <a:gd name="T58" fmla="*/ 26 w 861"/>
                <a:gd name="T59" fmla="*/ 271 h 856"/>
                <a:gd name="T60" fmla="*/ 78 w 861"/>
                <a:gd name="T61" fmla="*/ 190 h 856"/>
                <a:gd name="T62" fmla="*/ 240 w 861"/>
                <a:gd name="T63" fmla="*/ 144 h 856"/>
                <a:gd name="T64" fmla="*/ 219 w 861"/>
                <a:gd name="T65" fmla="*/ 48 h 856"/>
                <a:gd name="T66" fmla="*/ 311 w 861"/>
                <a:gd name="T67" fmla="*/ 19 h 856"/>
                <a:gd name="T68" fmla="*/ 374 w 861"/>
                <a:gd name="T69" fmla="*/ 89 h 856"/>
                <a:gd name="T70" fmla="*/ 381 w 861"/>
                <a:gd name="T71" fmla="*/ 88 h 856"/>
                <a:gd name="T72" fmla="*/ 465 w 861"/>
                <a:gd name="T73" fmla="*/ 86 h 856"/>
                <a:gd name="T74" fmla="*/ 510 w 861"/>
                <a:gd name="T75" fmla="*/ 1 h 856"/>
                <a:gd name="T76" fmla="*/ 604 w 861"/>
                <a:gd name="T77" fmla="*/ 428 h 856"/>
                <a:gd name="T78" fmla="*/ 257 w 861"/>
                <a:gd name="T79" fmla="*/ 428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1" h="856">
                  <a:moveTo>
                    <a:pt x="510" y="1"/>
                  </a:moveTo>
                  <a:lnTo>
                    <a:pt x="594" y="26"/>
                  </a:lnTo>
                  <a:cubicBezTo>
                    <a:pt x="599" y="27"/>
                    <a:pt x="600" y="33"/>
                    <a:pt x="599" y="38"/>
                  </a:cubicBezTo>
                  <a:lnTo>
                    <a:pt x="585" y="121"/>
                  </a:lnTo>
                  <a:cubicBezTo>
                    <a:pt x="599" y="128"/>
                    <a:pt x="613" y="137"/>
                    <a:pt x="626" y="146"/>
                  </a:cubicBezTo>
                  <a:lnTo>
                    <a:pt x="627" y="147"/>
                  </a:lnTo>
                  <a:lnTo>
                    <a:pt x="631" y="149"/>
                  </a:lnTo>
                  <a:lnTo>
                    <a:pt x="634" y="152"/>
                  </a:lnTo>
                  <a:lnTo>
                    <a:pt x="636" y="153"/>
                  </a:lnTo>
                  <a:cubicBezTo>
                    <a:pt x="650" y="164"/>
                    <a:pt x="663" y="175"/>
                    <a:pt x="676" y="188"/>
                  </a:cubicBezTo>
                  <a:lnTo>
                    <a:pt x="750" y="150"/>
                  </a:lnTo>
                  <a:cubicBezTo>
                    <a:pt x="755" y="148"/>
                    <a:pt x="761" y="148"/>
                    <a:pt x="763" y="152"/>
                  </a:cubicBezTo>
                  <a:lnTo>
                    <a:pt x="812" y="225"/>
                  </a:lnTo>
                  <a:cubicBezTo>
                    <a:pt x="814" y="229"/>
                    <a:pt x="812" y="235"/>
                    <a:pt x="808" y="238"/>
                  </a:cubicBezTo>
                  <a:lnTo>
                    <a:pt x="744" y="291"/>
                  </a:lnTo>
                  <a:cubicBezTo>
                    <a:pt x="749" y="303"/>
                    <a:pt x="753" y="315"/>
                    <a:pt x="757" y="327"/>
                  </a:cubicBezTo>
                  <a:cubicBezTo>
                    <a:pt x="761" y="340"/>
                    <a:pt x="764" y="354"/>
                    <a:pt x="767" y="368"/>
                  </a:cubicBezTo>
                  <a:lnTo>
                    <a:pt x="767" y="371"/>
                  </a:lnTo>
                  <a:lnTo>
                    <a:pt x="768" y="375"/>
                  </a:lnTo>
                  <a:cubicBezTo>
                    <a:pt x="769" y="384"/>
                    <a:pt x="770" y="393"/>
                    <a:pt x="771" y="402"/>
                  </a:cubicBezTo>
                  <a:lnTo>
                    <a:pt x="851" y="421"/>
                  </a:lnTo>
                  <a:cubicBezTo>
                    <a:pt x="857" y="422"/>
                    <a:pt x="861" y="426"/>
                    <a:pt x="860" y="431"/>
                  </a:cubicBezTo>
                  <a:lnTo>
                    <a:pt x="850" y="518"/>
                  </a:lnTo>
                  <a:cubicBezTo>
                    <a:pt x="850" y="523"/>
                    <a:pt x="845" y="525"/>
                    <a:pt x="839" y="525"/>
                  </a:cubicBezTo>
                  <a:lnTo>
                    <a:pt x="757" y="525"/>
                  </a:lnTo>
                  <a:cubicBezTo>
                    <a:pt x="746" y="559"/>
                    <a:pt x="730" y="591"/>
                    <a:pt x="710" y="620"/>
                  </a:cubicBezTo>
                  <a:lnTo>
                    <a:pt x="710" y="621"/>
                  </a:lnTo>
                  <a:lnTo>
                    <a:pt x="705" y="627"/>
                  </a:lnTo>
                  <a:lnTo>
                    <a:pt x="755" y="693"/>
                  </a:lnTo>
                  <a:cubicBezTo>
                    <a:pt x="758" y="698"/>
                    <a:pt x="759" y="703"/>
                    <a:pt x="755" y="707"/>
                  </a:cubicBezTo>
                  <a:lnTo>
                    <a:pt x="692" y="767"/>
                  </a:lnTo>
                  <a:cubicBezTo>
                    <a:pt x="688" y="770"/>
                    <a:pt x="683" y="769"/>
                    <a:pt x="678" y="765"/>
                  </a:cubicBezTo>
                  <a:lnTo>
                    <a:pt x="615" y="712"/>
                  </a:lnTo>
                  <a:lnTo>
                    <a:pt x="609" y="715"/>
                  </a:lnTo>
                  <a:cubicBezTo>
                    <a:pt x="584" y="730"/>
                    <a:pt x="558" y="742"/>
                    <a:pt x="529" y="751"/>
                  </a:cubicBezTo>
                  <a:cubicBezTo>
                    <a:pt x="523" y="753"/>
                    <a:pt x="517" y="754"/>
                    <a:pt x="510" y="756"/>
                  </a:cubicBezTo>
                  <a:lnTo>
                    <a:pt x="506" y="840"/>
                  </a:lnTo>
                  <a:cubicBezTo>
                    <a:pt x="506" y="845"/>
                    <a:pt x="503" y="850"/>
                    <a:pt x="498" y="850"/>
                  </a:cubicBezTo>
                  <a:lnTo>
                    <a:pt x="410" y="856"/>
                  </a:lnTo>
                  <a:cubicBezTo>
                    <a:pt x="405" y="856"/>
                    <a:pt x="402" y="851"/>
                    <a:pt x="401" y="846"/>
                  </a:cubicBezTo>
                  <a:lnTo>
                    <a:pt x="387" y="762"/>
                  </a:lnTo>
                  <a:cubicBezTo>
                    <a:pt x="349" y="757"/>
                    <a:pt x="313" y="746"/>
                    <a:pt x="280" y="730"/>
                  </a:cubicBezTo>
                  <a:lnTo>
                    <a:pt x="221" y="792"/>
                  </a:lnTo>
                  <a:cubicBezTo>
                    <a:pt x="217" y="796"/>
                    <a:pt x="212" y="798"/>
                    <a:pt x="208" y="795"/>
                  </a:cubicBezTo>
                  <a:lnTo>
                    <a:pt x="138" y="743"/>
                  </a:lnTo>
                  <a:cubicBezTo>
                    <a:pt x="134" y="740"/>
                    <a:pt x="134" y="734"/>
                    <a:pt x="137" y="729"/>
                  </a:cubicBezTo>
                  <a:lnTo>
                    <a:pt x="180" y="655"/>
                  </a:lnTo>
                  <a:cubicBezTo>
                    <a:pt x="155" y="627"/>
                    <a:pt x="135" y="596"/>
                    <a:pt x="120" y="562"/>
                  </a:cubicBezTo>
                  <a:lnTo>
                    <a:pt x="33" y="572"/>
                  </a:lnTo>
                  <a:cubicBezTo>
                    <a:pt x="28" y="573"/>
                    <a:pt x="23" y="571"/>
                    <a:pt x="22" y="566"/>
                  </a:cubicBezTo>
                  <a:lnTo>
                    <a:pt x="1" y="481"/>
                  </a:lnTo>
                  <a:cubicBezTo>
                    <a:pt x="0" y="476"/>
                    <a:pt x="4" y="472"/>
                    <a:pt x="9" y="470"/>
                  </a:cubicBezTo>
                  <a:lnTo>
                    <a:pt x="91" y="441"/>
                  </a:lnTo>
                  <a:lnTo>
                    <a:pt x="91" y="441"/>
                  </a:lnTo>
                  <a:lnTo>
                    <a:pt x="91" y="433"/>
                  </a:lnTo>
                  <a:cubicBezTo>
                    <a:pt x="90" y="404"/>
                    <a:pt x="93" y="375"/>
                    <a:pt x="100" y="347"/>
                  </a:cubicBezTo>
                  <a:cubicBezTo>
                    <a:pt x="101" y="342"/>
                    <a:pt x="103" y="336"/>
                    <a:pt x="104" y="331"/>
                  </a:cubicBezTo>
                  <a:lnTo>
                    <a:pt x="104" y="331"/>
                  </a:lnTo>
                  <a:lnTo>
                    <a:pt x="31" y="284"/>
                  </a:lnTo>
                  <a:cubicBezTo>
                    <a:pt x="26" y="281"/>
                    <a:pt x="24" y="276"/>
                    <a:pt x="26" y="271"/>
                  </a:cubicBezTo>
                  <a:lnTo>
                    <a:pt x="65" y="193"/>
                  </a:lnTo>
                  <a:cubicBezTo>
                    <a:pt x="67" y="189"/>
                    <a:pt x="73" y="188"/>
                    <a:pt x="78" y="190"/>
                  </a:cubicBezTo>
                  <a:lnTo>
                    <a:pt x="160" y="220"/>
                  </a:lnTo>
                  <a:cubicBezTo>
                    <a:pt x="182" y="190"/>
                    <a:pt x="209" y="164"/>
                    <a:pt x="240" y="144"/>
                  </a:cubicBezTo>
                  <a:lnTo>
                    <a:pt x="215" y="61"/>
                  </a:lnTo>
                  <a:cubicBezTo>
                    <a:pt x="213" y="55"/>
                    <a:pt x="214" y="50"/>
                    <a:pt x="219" y="48"/>
                  </a:cubicBezTo>
                  <a:lnTo>
                    <a:pt x="299" y="13"/>
                  </a:lnTo>
                  <a:cubicBezTo>
                    <a:pt x="304" y="11"/>
                    <a:pt x="308" y="14"/>
                    <a:pt x="311" y="19"/>
                  </a:cubicBezTo>
                  <a:lnTo>
                    <a:pt x="354" y="94"/>
                  </a:lnTo>
                  <a:cubicBezTo>
                    <a:pt x="361" y="92"/>
                    <a:pt x="367" y="91"/>
                    <a:pt x="374" y="89"/>
                  </a:cubicBezTo>
                  <a:lnTo>
                    <a:pt x="378" y="89"/>
                  </a:lnTo>
                  <a:lnTo>
                    <a:pt x="381" y="88"/>
                  </a:lnTo>
                  <a:cubicBezTo>
                    <a:pt x="395" y="86"/>
                    <a:pt x="409" y="85"/>
                    <a:pt x="423" y="85"/>
                  </a:cubicBezTo>
                  <a:cubicBezTo>
                    <a:pt x="437" y="84"/>
                    <a:pt x="451" y="85"/>
                    <a:pt x="465" y="86"/>
                  </a:cubicBezTo>
                  <a:lnTo>
                    <a:pt x="499" y="8"/>
                  </a:lnTo>
                  <a:cubicBezTo>
                    <a:pt x="501" y="3"/>
                    <a:pt x="505" y="0"/>
                    <a:pt x="510" y="1"/>
                  </a:cubicBezTo>
                  <a:close/>
                  <a:moveTo>
                    <a:pt x="431" y="255"/>
                  </a:moveTo>
                  <a:cubicBezTo>
                    <a:pt x="527" y="255"/>
                    <a:pt x="604" y="332"/>
                    <a:pt x="604" y="428"/>
                  </a:cubicBezTo>
                  <a:cubicBezTo>
                    <a:pt x="604" y="524"/>
                    <a:pt x="527" y="602"/>
                    <a:pt x="431" y="602"/>
                  </a:cubicBezTo>
                  <a:cubicBezTo>
                    <a:pt x="335" y="602"/>
                    <a:pt x="257" y="524"/>
                    <a:pt x="257" y="428"/>
                  </a:cubicBezTo>
                  <a:cubicBezTo>
                    <a:pt x="257" y="332"/>
                    <a:pt x="335" y="255"/>
                    <a:pt x="431" y="255"/>
                  </a:cubicBezTo>
                  <a:close/>
                </a:path>
              </a:pathLst>
            </a:cu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a:endParaRPr lang="de-DE"/>
            </a:p>
          </p:txBody>
        </p:sp>
        <p:sp>
          <p:nvSpPr>
            <p:cNvPr id="17" name="Freeform 41">
              <a:extLst>
                <a:ext uri="{FF2B5EF4-FFF2-40B4-BE49-F238E27FC236}">
                  <a16:creationId xmlns:a16="http://schemas.microsoft.com/office/drawing/2014/main" id="{5B811F76-0EB6-4232-BBAF-FF7CFBEE2DF7}"/>
                </a:ext>
              </a:extLst>
            </p:cNvPr>
            <p:cNvSpPr>
              <a:spLocks noEditPoints="1"/>
            </p:cNvSpPr>
            <p:nvPr/>
          </p:nvSpPr>
          <p:spPr bwMode="auto">
            <a:xfrm>
              <a:off x="3758" y="1401"/>
              <a:ext cx="192" cy="191"/>
            </a:xfrm>
            <a:custGeom>
              <a:avLst/>
              <a:gdLst>
                <a:gd name="T0" fmla="*/ 275 w 1126"/>
                <a:gd name="T1" fmla="*/ 1038 h 1122"/>
                <a:gd name="T2" fmla="*/ 385 w 1126"/>
                <a:gd name="T3" fmla="*/ 1101 h 1122"/>
                <a:gd name="T4" fmla="*/ 458 w 1126"/>
                <a:gd name="T5" fmla="*/ 997 h 1122"/>
                <a:gd name="T6" fmla="*/ 646 w 1126"/>
                <a:gd name="T7" fmla="*/ 1111 h 1122"/>
                <a:gd name="T8" fmla="*/ 771 w 1126"/>
                <a:gd name="T9" fmla="*/ 1089 h 1122"/>
                <a:gd name="T10" fmla="*/ 760 w 1126"/>
                <a:gd name="T11" fmla="*/ 964 h 1122"/>
                <a:gd name="T12" fmla="*/ 874 w 1126"/>
                <a:gd name="T13" fmla="*/ 884 h 1122"/>
                <a:gd name="T14" fmla="*/ 977 w 1126"/>
                <a:gd name="T15" fmla="*/ 928 h 1122"/>
                <a:gd name="T16" fmla="*/ 1058 w 1126"/>
                <a:gd name="T17" fmla="*/ 831 h 1122"/>
                <a:gd name="T18" fmla="*/ 971 w 1126"/>
                <a:gd name="T19" fmla="*/ 744 h 1122"/>
                <a:gd name="T20" fmla="*/ 975 w 1126"/>
                <a:gd name="T21" fmla="*/ 734 h 1122"/>
                <a:gd name="T22" fmla="*/ 1113 w 1126"/>
                <a:gd name="T23" fmla="*/ 575 h 1122"/>
                <a:gd name="T24" fmla="*/ 1113 w 1126"/>
                <a:gd name="T25" fmla="*/ 449 h 1122"/>
                <a:gd name="T26" fmla="*/ 991 w 1126"/>
                <a:gd name="T27" fmla="*/ 438 h 1122"/>
                <a:gd name="T28" fmla="*/ 977 w 1126"/>
                <a:gd name="T29" fmla="*/ 399 h 1122"/>
                <a:gd name="T30" fmla="*/ 951 w 1126"/>
                <a:gd name="T31" fmla="*/ 345 h 1122"/>
                <a:gd name="T32" fmla="*/ 991 w 1126"/>
                <a:gd name="T33" fmla="*/ 218 h 1122"/>
                <a:gd name="T34" fmla="*/ 909 w 1126"/>
                <a:gd name="T35" fmla="*/ 121 h 1122"/>
                <a:gd name="T36" fmla="*/ 808 w 1126"/>
                <a:gd name="T37" fmla="*/ 192 h 1122"/>
                <a:gd name="T38" fmla="*/ 744 w 1126"/>
                <a:gd name="T39" fmla="*/ 158 h 1122"/>
                <a:gd name="T40" fmla="*/ 734 w 1126"/>
                <a:gd name="T41" fmla="*/ 153 h 1122"/>
                <a:gd name="T42" fmla="*/ 672 w 1126"/>
                <a:gd name="T43" fmla="*/ 133 h 1122"/>
                <a:gd name="T44" fmla="*/ 657 w 1126"/>
                <a:gd name="T45" fmla="*/ 8 h 1122"/>
                <a:gd name="T46" fmla="*/ 530 w 1126"/>
                <a:gd name="T47" fmla="*/ 13 h 1122"/>
                <a:gd name="T48" fmla="*/ 455 w 1126"/>
                <a:gd name="T49" fmla="*/ 133 h 1122"/>
                <a:gd name="T50" fmla="*/ 399 w 1126"/>
                <a:gd name="T51" fmla="*/ 151 h 1122"/>
                <a:gd name="T52" fmla="*/ 370 w 1126"/>
                <a:gd name="T53" fmla="*/ 164 h 1122"/>
                <a:gd name="T54" fmla="*/ 277 w 1126"/>
                <a:gd name="T55" fmla="*/ 77 h 1122"/>
                <a:gd name="T56" fmla="*/ 182 w 1126"/>
                <a:gd name="T57" fmla="*/ 162 h 1122"/>
                <a:gd name="T58" fmla="*/ 158 w 1126"/>
                <a:gd name="T59" fmla="*/ 381 h 1122"/>
                <a:gd name="T60" fmla="*/ 30 w 1126"/>
                <a:gd name="T61" fmla="*/ 374 h 1122"/>
                <a:gd name="T62" fmla="*/ 12 w 1126"/>
                <a:gd name="T63" fmla="*/ 499 h 1122"/>
                <a:gd name="T64" fmla="*/ 119 w 1126"/>
                <a:gd name="T65" fmla="*/ 539 h 1122"/>
                <a:gd name="T66" fmla="*/ 132 w 1126"/>
                <a:gd name="T67" fmla="*/ 673 h 1122"/>
                <a:gd name="T68" fmla="*/ 134 w 1126"/>
                <a:gd name="T69" fmla="*/ 682 h 1122"/>
                <a:gd name="T70" fmla="*/ 31 w 1126"/>
                <a:gd name="T71" fmla="*/ 760 h 1122"/>
                <a:gd name="T72" fmla="*/ 98 w 1126"/>
                <a:gd name="T73" fmla="*/ 867 h 1122"/>
                <a:gd name="T74" fmla="*/ 309 w 1126"/>
                <a:gd name="T75" fmla="*/ 930 h 1122"/>
                <a:gd name="T76" fmla="*/ 856 w 1126"/>
                <a:gd name="T77" fmla="*/ 561 h 1122"/>
                <a:gd name="T78" fmla="*/ 271 w 1126"/>
                <a:gd name="T79" fmla="*/ 561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26" h="1122">
                  <a:moveTo>
                    <a:pt x="309" y="930"/>
                  </a:moveTo>
                  <a:lnTo>
                    <a:pt x="275" y="1038"/>
                  </a:lnTo>
                  <a:cubicBezTo>
                    <a:pt x="273" y="1045"/>
                    <a:pt x="274" y="1052"/>
                    <a:pt x="280" y="1055"/>
                  </a:cubicBezTo>
                  <a:lnTo>
                    <a:pt x="385" y="1101"/>
                  </a:lnTo>
                  <a:cubicBezTo>
                    <a:pt x="391" y="1104"/>
                    <a:pt x="397" y="1100"/>
                    <a:pt x="401" y="1094"/>
                  </a:cubicBezTo>
                  <a:lnTo>
                    <a:pt x="458" y="997"/>
                  </a:lnTo>
                  <a:cubicBezTo>
                    <a:pt x="505" y="1009"/>
                    <a:pt x="554" y="1012"/>
                    <a:pt x="604" y="1008"/>
                  </a:cubicBezTo>
                  <a:lnTo>
                    <a:pt x="646" y="1111"/>
                  </a:lnTo>
                  <a:cubicBezTo>
                    <a:pt x="649" y="1117"/>
                    <a:pt x="655" y="1122"/>
                    <a:pt x="661" y="1120"/>
                  </a:cubicBezTo>
                  <a:lnTo>
                    <a:pt x="771" y="1089"/>
                  </a:lnTo>
                  <a:cubicBezTo>
                    <a:pt x="777" y="1087"/>
                    <a:pt x="779" y="1080"/>
                    <a:pt x="778" y="1073"/>
                  </a:cubicBezTo>
                  <a:lnTo>
                    <a:pt x="760" y="964"/>
                  </a:lnTo>
                  <a:cubicBezTo>
                    <a:pt x="768" y="960"/>
                    <a:pt x="775" y="956"/>
                    <a:pt x="783" y="952"/>
                  </a:cubicBezTo>
                  <a:cubicBezTo>
                    <a:pt x="817" y="933"/>
                    <a:pt x="847" y="910"/>
                    <a:pt x="874" y="884"/>
                  </a:cubicBezTo>
                  <a:lnTo>
                    <a:pt x="880" y="878"/>
                  </a:lnTo>
                  <a:lnTo>
                    <a:pt x="977" y="928"/>
                  </a:lnTo>
                  <a:cubicBezTo>
                    <a:pt x="983" y="931"/>
                    <a:pt x="991" y="931"/>
                    <a:pt x="994" y="926"/>
                  </a:cubicBezTo>
                  <a:lnTo>
                    <a:pt x="1058" y="831"/>
                  </a:lnTo>
                  <a:cubicBezTo>
                    <a:pt x="1062" y="826"/>
                    <a:pt x="1059" y="819"/>
                    <a:pt x="1054" y="814"/>
                  </a:cubicBezTo>
                  <a:lnTo>
                    <a:pt x="971" y="744"/>
                  </a:lnTo>
                  <a:lnTo>
                    <a:pt x="975" y="734"/>
                  </a:lnTo>
                  <a:lnTo>
                    <a:pt x="975" y="734"/>
                  </a:lnTo>
                  <a:cubicBezTo>
                    <a:pt x="993" y="691"/>
                    <a:pt x="1004" y="645"/>
                    <a:pt x="1008" y="599"/>
                  </a:cubicBezTo>
                  <a:lnTo>
                    <a:pt x="1113" y="575"/>
                  </a:lnTo>
                  <a:cubicBezTo>
                    <a:pt x="1120" y="574"/>
                    <a:pt x="1126" y="569"/>
                    <a:pt x="1125" y="563"/>
                  </a:cubicBezTo>
                  <a:lnTo>
                    <a:pt x="1113" y="449"/>
                  </a:lnTo>
                  <a:cubicBezTo>
                    <a:pt x="1112" y="442"/>
                    <a:pt x="1106" y="439"/>
                    <a:pt x="1099" y="439"/>
                  </a:cubicBezTo>
                  <a:lnTo>
                    <a:pt x="991" y="438"/>
                  </a:lnTo>
                  <a:cubicBezTo>
                    <a:pt x="987" y="426"/>
                    <a:pt x="983" y="415"/>
                    <a:pt x="979" y="404"/>
                  </a:cubicBezTo>
                  <a:lnTo>
                    <a:pt x="977" y="399"/>
                  </a:lnTo>
                  <a:lnTo>
                    <a:pt x="975" y="395"/>
                  </a:lnTo>
                  <a:cubicBezTo>
                    <a:pt x="968" y="378"/>
                    <a:pt x="960" y="362"/>
                    <a:pt x="951" y="345"/>
                  </a:cubicBezTo>
                  <a:cubicBezTo>
                    <a:pt x="943" y="331"/>
                    <a:pt x="934" y="317"/>
                    <a:pt x="925" y="304"/>
                  </a:cubicBezTo>
                  <a:lnTo>
                    <a:pt x="991" y="218"/>
                  </a:lnTo>
                  <a:cubicBezTo>
                    <a:pt x="995" y="212"/>
                    <a:pt x="996" y="205"/>
                    <a:pt x="992" y="200"/>
                  </a:cubicBezTo>
                  <a:lnTo>
                    <a:pt x="909" y="121"/>
                  </a:lnTo>
                  <a:cubicBezTo>
                    <a:pt x="905" y="116"/>
                    <a:pt x="897" y="118"/>
                    <a:pt x="892" y="122"/>
                  </a:cubicBezTo>
                  <a:lnTo>
                    <a:pt x="808" y="192"/>
                  </a:lnTo>
                  <a:cubicBezTo>
                    <a:pt x="788" y="179"/>
                    <a:pt x="768" y="168"/>
                    <a:pt x="747" y="159"/>
                  </a:cubicBezTo>
                  <a:lnTo>
                    <a:pt x="744" y="158"/>
                  </a:lnTo>
                  <a:lnTo>
                    <a:pt x="739" y="155"/>
                  </a:lnTo>
                  <a:lnTo>
                    <a:pt x="734" y="153"/>
                  </a:lnTo>
                  <a:lnTo>
                    <a:pt x="732" y="152"/>
                  </a:lnTo>
                  <a:cubicBezTo>
                    <a:pt x="712" y="144"/>
                    <a:pt x="692" y="138"/>
                    <a:pt x="672" y="133"/>
                  </a:cubicBezTo>
                  <a:lnTo>
                    <a:pt x="667" y="22"/>
                  </a:lnTo>
                  <a:cubicBezTo>
                    <a:pt x="667" y="15"/>
                    <a:pt x="663" y="9"/>
                    <a:pt x="657" y="8"/>
                  </a:cubicBezTo>
                  <a:lnTo>
                    <a:pt x="542" y="1"/>
                  </a:lnTo>
                  <a:cubicBezTo>
                    <a:pt x="536" y="0"/>
                    <a:pt x="531" y="6"/>
                    <a:pt x="530" y="13"/>
                  </a:cubicBezTo>
                  <a:lnTo>
                    <a:pt x="510" y="122"/>
                  </a:lnTo>
                  <a:cubicBezTo>
                    <a:pt x="492" y="125"/>
                    <a:pt x="473" y="128"/>
                    <a:pt x="455" y="133"/>
                  </a:cubicBezTo>
                  <a:cubicBezTo>
                    <a:pt x="437" y="137"/>
                    <a:pt x="420" y="143"/>
                    <a:pt x="403" y="149"/>
                  </a:cubicBezTo>
                  <a:lnTo>
                    <a:pt x="399" y="151"/>
                  </a:lnTo>
                  <a:lnTo>
                    <a:pt x="394" y="153"/>
                  </a:lnTo>
                  <a:cubicBezTo>
                    <a:pt x="386" y="156"/>
                    <a:pt x="378" y="160"/>
                    <a:pt x="370" y="164"/>
                  </a:cubicBezTo>
                  <a:lnTo>
                    <a:pt x="294" y="81"/>
                  </a:lnTo>
                  <a:cubicBezTo>
                    <a:pt x="289" y="76"/>
                    <a:pt x="282" y="73"/>
                    <a:pt x="277" y="77"/>
                  </a:cubicBezTo>
                  <a:lnTo>
                    <a:pt x="184" y="144"/>
                  </a:lnTo>
                  <a:cubicBezTo>
                    <a:pt x="179" y="148"/>
                    <a:pt x="179" y="155"/>
                    <a:pt x="182" y="162"/>
                  </a:cubicBezTo>
                  <a:lnTo>
                    <a:pt x="238" y="260"/>
                  </a:lnTo>
                  <a:cubicBezTo>
                    <a:pt x="205" y="296"/>
                    <a:pt x="178" y="336"/>
                    <a:pt x="158" y="381"/>
                  </a:cubicBezTo>
                  <a:lnTo>
                    <a:pt x="45" y="366"/>
                  </a:lnTo>
                  <a:cubicBezTo>
                    <a:pt x="38" y="365"/>
                    <a:pt x="31" y="367"/>
                    <a:pt x="30" y="374"/>
                  </a:cubicBezTo>
                  <a:lnTo>
                    <a:pt x="2" y="485"/>
                  </a:lnTo>
                  <a:cubicBezTo>
                    <a:pt x="0" y="491"/>
                    <a:pt x="5" y="497"/>
                    <a:pt x="12" y="499"/>
                  </a:cubicBezTo>
                  <a:lnTo>
                    <a:pt x="119" y="539"/>
                  </a:lnTo>
                  <a:lnTo>
                    <a:pt x="119" y="539"/>
                  </a:lnTo>
                  <a:cubicBezTo>
                    <a:pt x="119" y="546"/>
                    <a:pt x="118" y="553"/>
                    <a:pt x="118" y="560"/>
                  </a:cubicBezTo>
                  <a:cubicBezTo>
                    <a:pt x="118" y="597"/>
                    <a:pt x="122" y="635"/>
                    <a:pt x="132" y="673"/>
                  </a:cubicBezTo>
                  <a:cubicBezTo>
                    <a:pt x="133" y="676"/>
                    <a:pt x="133" y="679"/>
                    <a:pt x="134" y="682"/>
                  </a:cubicBezTo>
                  <a:lnTo>
                    <a:pt x="134" y="682"/>
                  </a:lnTo>
                  <a:lnTo>
                    <a:pt x="38" y="744"/>
                  </a:lnTo>
                  <a:cubicBezTo>
                    <a:pt x="32" y="748"/>
                    <a:pt x="28" y="754"/>
                    <a:pt x="31" y="760"/>
                  </a:cubicBezTo>
                  <a:lnTo>
                    <a:pt x="81" y="863"/>
                  </a:lnTo>
                  <a:cubicBezTo>
                    <a:pt x="84" y="868"/>
                    <a:pt x="91" y="870"/>
                    <a:pt x="98" y="867"/>
                  </a:cubicBezTo>
                  <a:lnTo>
                    <a:pt x="205" y="829"/>
                  </a:lnTo>
                  <a:cubicBezTo>
                    <a:pt x="237" y="871"/>
                    <a:pt x="266" y="900"/>
                    <a:pt x="309" y="930"/>
                  </a:cubicBezTo>
                  <a:close/>
                  <a:moveTo>
                    <a:pt x="563" y="268"/>
                  </a:moveTo>
                  <a:cubicBezTo>
                    <a:pt x="725" y="268"/>
                    <a:pt x="856" y="399"/>
                    <a:pt x="856" y="561"/>
                  </a:cubicBezTo>
                  <a:cubicBezTo>
                    <a:pt x="856" y="722"/>
                    <a:pt x="725" y="853"/>
                    <a:pt x="563" y="853"/>
                  </a:cubicBezTo>
                  <a:cubicBezTo>
                    <a:pt x="402" y="853"/>
                    <a:pt x="271" y="722"/>
                    <a:pt x="271" y="561"/>
                  </a:cubicBezTo>
                  <a:cubicBezTo>
                    <a:pt x="271" y="399"/>
                    <a:pt x="402" y="268"/>
                    <a:pt x="563" y="268"/>
                  </a:cubicBezTo>
                  <a:close/>
                </a:path>
              </a:pathLst>
            </a:cu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a:endParaRPr lang="de-DE"/>
            </a:p>
          </p:txBody>
        </p:sp>
      </p:grpSp>
      <p:sp>
        <p:nvSpPr>
          <p:cNvPr id="30" name="Rechteck 29">
            <a:extLst>
              <a:ext uri="{FF2B5EF4-FFF2-40B4-BE49-F238E27FC236}">
                <a16:creationId xmlns:a16="http://schemas.microsoft.com/office/drawing/2014/main" id="{A98F7257-869A-4A16-8F1E-6F1114D04148}"/>
              </a:ext>
            </a:extLst>
          </p:cNvPr>
          <p:cNvSpPr/>
          <p:nvPr userDrawn="1"/>
        </p:nvSpPr>
        <p:spPr>
          <a:xfrm>
            <a:off x="8183563" y="1"/>
            <a:ext cx="1836483" cy="94456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eaLnBrk="1"/>
            <a:endParaRPr lang="de-DE" sz="1400" dirty="0" err="1"/>
          </a:p>
        </p:txBody>
      </p:sp>
      <p:sp>
        <p:nvSpPr>
          <p:cNvPr id="33" name="Bildplatzhalter 32">
            <a:extLst>
              <a:ext uri="{FF2B5EF4-FFF2-40B4-BE49-F238E27FC236}">
                <a16:creationId xmlns:a16="http://schemas.microsoft.com/office/drawing/2014/main" id="{F2949D9D-C122-45BC-8C8A-EB939013AC86}"/>
              </a:ext>
            </a:extLst>
          </p:cNvPr>
          <p:cNvSpPr>
            <a:spLocks noGrp="1"/>
          </p:cNvSpPr>
          <p:nvPr>
            <p:ph type="pic" sz="quarter" idx="15" hasCustomPrompt="1"/>
          </p:nvPr>
        </p:nvSpPr>
        <p:spPr>
          <a:xfrm>
            <a:off x="8183204" y="0"/>
            <a:ext cx="1833563" cy="944563"/>
          </a:xfrm>
          <a:noFill/>
        </p:spPr>
        <p:txBody>
          <a:bodyPr vert="horz" lIns="0" tIns="0" rIns="0" bIns="0" rtlCol="0" anchor="ctr" anchorCtr="0">
            <a:noAutofit/>
          </a:bodyPr>
          <a:lstStyle>
            <a:lvl1pPr algn="ctr">
              <a:defRPr lang="de-DE" sz="1100" b="0">
                <a:solidFill>
                  <a:schemeClr val="tx2"/>
                </a:solidFill>
              </a:defRPr>
            </a:lvl1pPr>
          </a:lstStyle>
          <a:p>
            <a:pPr lvl="0" algn="ctr"/>
            <a:r>
              <a:rPr lang="de-DE" dirty="0"/>
              <a:t>Insert </a:t>
            </a:r>
            <a:r>
              <a:rPr lang="de-DE" dirty="0" err="1"/>
              <a:t>reference</a:t>
            </a:r>
            <a:r>
              <a:rPr lang="de-DE" dirty="0"/>
              <a:t> logo</a:t>
            </a:r>
          </a:p>
        </p:txBody>
      </p:sp>
      <p:sp>
        <p:nvSpPr>
          <p:cNvPr id="5" name="Fußzeilenplatzhalter 4">
            <a:extLst>
              <a:ext uri="{FF2B5EF4-FFF2-40B4-BE49-F238E27FC236}">
                <a16:creationId xmlns:a16="http://schemas.microsoft.com/office/drawing/2014/main" id="{08A7E216-CA61-4B50-AE6A-10749EE4E482}"/>
              </a:ext>
            </a:extLst>
          </p:cNvPr>
          <p:cNvSpPr>
            <a:spLocks noGrp="1"/>
          </p:cNvSpPr>
          <p:nvPr>
            <p:ph type="ftr" sz="quarter" idx="24"/>
          </p:nvPr>
        </p:nvSpPr>
        <p:spPr/>
        <p:txBody>
          <a:bodyPr/>
          <a:lstStyle/>
          <a:p>
            <a:r>
              <a:rPr lang="en-GB"/>
              <a:t>NZSUG Auckland Event + SAP Forum</a:t>
            </a:r>
            <a:endParaRPr lang="de-DE" dirty="0"/>
          </a:p>
        </p:txBody>
      </p:sp>
      <p:sp>
        <p:nvSpPr>
          <p:cNvPr id="35" name="Textplatzhalter 20">
            <a:extLst>
              <a:ext uri="{FF2B5EF4-FFF2-40B4-BE49-F238E27FC236}">
                <a16:creationId xmlns:a16="http://schemas.microsoft.com/office/drawing/2014/main" id="{3DF93B3A-A21F-4CE1-908A-ACA86179D044}"/>
              </a:ext>
            </a:extLst>
          </p:cNvPr>
          <p:cNvSpPr>
            <a:spLocks noGrp="1"/>
          </p:cNvSpPr>
          <p:nvPr>
            <p:ph type="body" sz="quarter" idx="25" hasCustomPrompt="1"/>
          </p:nvPr>
        </p:nvSpPr>
        <p:spPr>
          <a:xfrm>
            <a:off x="4295206" y="2457450"/>
            <a:ext cx="3600000" cy="3887788"/>
          </a:xfrm>
        </p:spPr>
        <p:txBody>
          <a:bodyPr tIns="72000"/>
          <a:lstStyle>
            <a:lvl1pPr marL="0" indent="0">
              <a:buClr>
                <a:schemeClr val="accent3"/>
              </a:buClr>
              <a:buFont typeface="Wingdings 2" panose="05020102010507070707" pitchFamily="18" charset="2"/>
              <a:buNone/>
              <a:defRPr b="0">
                <a:solidFill>
                  <a:schemeClr val="bg2"/>
                </a:solidFill>
              </a:defRPr>
            </a:lvl1pPr>
            <a:lvl2pPr marL="216000" indent="-216000">
              <a:spcBef>
                <a:spcPts val="600"/>
              </a:spcBef>
              <a:buClr>
                <a:schemeClr val="accent3"/>
              </a:buClr>
              <a:buFont typeface="Wingdings 2" panose="05020102010507070707" pitchFamily="18" charset="2"/>
              <a:buChar char="¡"/>
              <a:defRPr/>
            </a:lvl2pPr>
            <a:lvl3pPr marL="432000" indent="-216000">
              <a:spcBef>
                <a:spcPts val="600"/>
              </a:spcBef>
              <a:buFont typeface="Symbol" panose="05050102010706020507" pitchFamily="18" charset="2"/>
              <a:buChar char="-"/>
              <a:defRPr/>
            </a:lvl3pPr>
            <a:lvl4pPr marL="648000" indent="-216000">
              <a:spcBef>
                <a:spcPts val="600"/>
              </a:spcBef>
              <a:buFont typeface="Wingdings 2" panose="05020102010507070707" pitchFamily="18" charset="2"/>
              <a:buChar char="¡"/>
              <a:defRPr/>
            </a:lvl4pPr>
            <a:lvl5pPr marL="864000" indent="-216000">
              <a:spcBef>
                <a:spcPts val="600"/>
              </a:spcBef>
              <a:buFont typeface="Symbol" panose="05050102010706020507" pitchFamily="18" charset="2"/>
              <a:buChar cha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36" name="Textplatzhalter 20">
            <a:extLst>
              <a:ext uri="{FF2B5EF4-FFF2-40B4-BE49-F238E27FC236}">
                <a16:creationId xmlns:a16="http://schemas.microsoft.com/office/drawing/2014/main" id="{B1DF2711-C377-427F-A7CF-D67141503FA2}"/>
              </a:ext>
            </a:extLst>
          </p:cNvPr>
          <p:cNvSpPr>
            <a:spLocks noGrp="1"/>
          </p:cNvSpPr>
          <p:nvPr>
            <p:ph type="body" sz="quarter" idx="26" hasCustomPrompt="1"/>
          </p:nvPr>
        </p:nvSpPr>
        <p:spPr>
          <a:xfrm>
            <a:off x="8177559" y="2457450"/>
            <a:ext cx="3600000" cy="3887788"/>
          </a:xfrm>
        </p:spPr>
        <p:txBody>
          <a:bodyPr tIns="72000"/>
          <a:lstStyle>
            <a:lvl1pPr marL="0" indent="0">
              <a:buClr>
                <a:schemeClr val="accent3"/>
              </a:buClr>
              <a:buFont typeface="Wingdings 2" panose="05020102010507070707" pitchFamily="18" charset="2"/>
              <a:buNone/>
              <a:defRPr b="0">
                <a:solidFill>
                  <a:schemeClr val="bg2"/>
                </a:solidFill>
              </a:defRPr>
            </a:lvl1pPr>
            <a:lvl2pPr marL="216000" indent="-216000">
              <a:spcBef>
                <a:spcPts val="600"/>
              </a:spcBef>
              <a:buClr>
                <a:schemeClr val="accent3"/>
              </a:buClr>
              <a:buFont typeface="Wingdings 2" panose="05020102010507070707" pitchFamily="18" charset="2"/>
              <a:buChar char="¡"/>
              <a:defRPr/>
            </a:lvl2pPr>
            <a:lvl3pPr marL="432000" indent="-216000">
              <a:spcBef>
                <a:spcPts val="600"/>
              </a:spcBef>
              <a:buFont typeface="Symbol" panose="05050102010706020507" pitchFamily="18" charset="2"/>
              <a:buChar char="-"/>
              <a:defRPr/>
            </a:lvl3pPr>
            <a:lvl4pPr marL="648000" indent="-216000">
              <a:spcBef>
                <a:spcPts val="600"/>
              </a:spcBef>
              <a:buFont typeface="Wingdings 2" panose="05020102010507070707" pitchFamily="18" charset="2"/>
              <a:buChar char="¡"/>
              <a:defRPr/>
            </a:lvl4pPr>
            <a:lvl5pPr marL="864000" indent="-216000">
              <a:spcBef>
                <a:spcPts val="600"/>
              </a:spcBef>
              <a:buFont typeface="Symbol" panose="05050102010706020507" pitchFamily="18" charset="2"/>
              <a:buChar cha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22" name="Freeform 5">
            <a:extLst>
              <a:ext uri="{FF2B5EF4-FFF2-40B4-BE49-F238E27FC236}">
                <a16:creationId xmlns:a16="http://schemas.microsoft.com/office/drawing/2014/main" id="{14649282-ADD6-4AD6-8BC4-A17D0CEC096F}"/>
              </a:ext>
            </a:extLst>
          </p:cNvPr>
          <p:cNvSpPr>
            <a:spLocks noEditPoints="1"/>
          </p:cNvSpPr>
          <p:nvPr userDrawn="1"/>
        </p:nvSpPr>
        <p:spPr bwMode="auto">
          <a:xfrm>
            <a:off x="1584155" y="1752454"/>
            <a:ext cx="802639" cy="465671"/>
          </a:xfrm>
          <a:custGeom>
            <a:avLst/>
            <a:gdLst>
              <a:gd name="T0" fmla="*/ 786 w 1473"/>
              <a:gd name="T1" fmla="*/ 416 h 851"/>
              <a:gd name="T2" fmla="*/ 973 w 1473"/>
              <a:gd name="T3" fmla="*/ 180 h 851"/>
              <a:gd name="T4" fmla="*/ 1473 w 1473"/>
              <a:gd name="T5" fmla="*/ 851 h 851"/>
              <a:gd name="T6" fmla="*/ 1087 w 1473"/>
              <a:gd name="T7" fmla="*/ 851 h 851"/>
              <a:gd name="T8" fmla="*/ 900 w 1473"/>
              <a:gd name="T9" fmla="*/ 516 h 851"/>
              <a:gd name="T10" fmla="*/ 952 w 1473"/>
              <a:gd name="T11" fmla="*/ 458 h 851"/>
              <a:gd name="T12" fmla="*/ 1030 w 1473"/>
              <a:gd name="T13" fmla="*/ 487 h 851"/>
              <a:gd name="T14" fmla="*/ 1087 w 1473"/>
              <a:gd name="T15" fmla="*/ 458 h 851"/>
              <a:gd name="T16" fmla="*/ 1202 w 1473"/>
              <a:gd name="T17" fmla="*/ 487 h 851"/>
              <a:gd name="T18" fmla="*/ 162 w 1473"/>
              <a:gd name="T19" fmla="*/ 536 h 851"/>
              <a:gd name="T20" fmla="*/ 293 w 1473"/>
              <a:gd name="T21" fmla="*/ 595 h 851"/>
              <a:gd name="T22" fmla="*/ 378 w 1473"/>
              <a:gd name="T23" fmla="*/ 546 h 851"/>
              <a:gd name="T24" fmla="*/ 463 w 1473"/>
              <a:gd name="T25" fmla="*/ 595 h 851"/>
              <a:gd name="T26" fmla="*/ 564 w 1473"/>
              <a:gd name="T27" fmla="*/ 505 h 851"/>
              <a:gd name="T28" fmla="*/ 678 w 1473"/>
              <a:gd name="T29" fmla="*/ 571 h 851"/>
              <a:gd name="T30" fmla="*/ 740 w 1473"/>
              <a:gd name="T31" fmla="*/ 505 h 851"/>
              <a:gd name="T32" fmla="*/ 798 w 1473"/>
              <a:gd name="T33" fmla="*/ 442 h 851"/>
              <a:gd name="T34" fmla="*/ 0 w 1473"/>
              <a:gd name="T35" fmla="*/ 851 h 851"/>
              <a:gd name="T36" fmla="*/ 244 w 1473"/>
              <a:gd name="T37" fmla="*/ 379 h 851"/>
              <a:gd name="T38" fmla="*/ 318 w 1473"/>
              <a:gd name="T39" fmla="*/ 441 h 851"/>
              <a:gd name="T40" fmla="*/ 442 w 1473"/>
              <a:gd name="T41" fmla="*/ 163 h 851"/>
              <a:gd name="T42" fmla="*/ 485 w 1473"/>
              <a:gd name="T43" fmla="*/ 202 h 851"/>
              <a:gd name="T44" fmla="*/ 577 w 1473"/>
              <a:gd name="T45" fmla="*/ 0 h 851"/>
              <a:gd name="T46" fmla="*/ 786 w 1473"/>
              <a:gd name="T47" fmla="*/ 416 h 851"/>
              <a:gd name="T48" fmla="*/ 787 w 1473"/>
              <a:gd name="T49" fmla="*/ 419 h 851"/>
              <a:gd name="T50" fmla="*/ 818 w 1473"/>
              <a:gd name="T51" fmla="*/ 480 h 851"/>
              <a:gd name="T52" fmla="*/ 830 w 1473"/>
              <a:gd name="T53" fmla="*/ 472 h 851"/>
              <a:gd name="T54" fmla="*/ 864 w 1473"/>
              <a:gd name="T55" fmla="*/ 449 h 851"/>
              <a:gd name="T56" fmla="*/ 1087 w 1473"/>
              <a:gd name="T57" fmla="*/ 851 h 851"/>
              <a:gd name="T58" fmla="*/ 0 w 1473"/>
              <a:gd name="T59" fmla="*/ 851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73" h="851">
                <a:moveTo>
                  <a:pt x="786" y="416"/>
                </a:moveTo>
                <a:lnTo>
                  <a:pt x="973" y="180"/>
                </a:lnTo>
                <a:lnTo>
                  <a:pt x="1473" y="851"/>
                </a:lnTo>
                <a:lnTo>
                  <a:pt x="1087" y="851"/>
                </a:lnTo>
                <a:moveTo>
                  <a:pt x="900" y="516"/>
                </a:moveTo>
                <a:lnTo>
                  <a:pt x="952" y="458"/>
                </a:lnTo>
                <a:lnTo>
                  <a:pt x="1030" y="487"/>
                </a:lnTo>
                <a:lnTo>
                  <a:pt x="1087" y="458"/>
                </a:lnTo>
                <a:lnTo>
                  <a:pt x="1202" y="487"/>
                </a:lnTo>
                <a:moveTo>
                  <a:pt x="162" y="536"/>
                </a:moveTo>
                <a:cubicBezTo>
                  <a:pt x="162" y="536"/>
                  <a:pt x="288" y="597"/>
                  <a:pt x="293" y="595"/>
                </a:cubicBezTo>
                <a:cubicBezTo>
                  <a:pt x="299" y="593"/>
                  <a:pt x="378" y="546"/>
                  <a:pt x="378" y="546"/>
                </a:cubicBezTo>
                <a:lnTo>
                  <a:pt x="463" y="595"/>
                </a:lnTo>
                <a:lnTo>
                  <a:pt x="564" y="505"/>
                </a:lnTo>
                <a:lnTo>
                  <a:pt x="678" y="571"/>
                </a:lnTo>
                <a:lnTo>
                  <a:pt x="740" y="505"/>
                </a:lnTo>
                <a:lnTo>
                  <a:pt x="798" y="442"/>
                </a:lnTo>
                <a:moveTo>
                  <a:pt x="0" y="851"/>
                </a:moveTo>
                <a:lnTo>
                  <a:pt x="244" y="379"/>
                </a:lnTo>
                <a:lnTo>
                  <a:pt x="318" y="441"/>
                </a:lnTo>
                <a:lnTo>
                  <a:pt x="442" y="163"/>
                </a:lnTo>
                <a:lnTo>
                  <a:pt x="485" y="202"/>
                </a:lnTo>
                <a:lnTo>
                  <a:pt x="577" y="0"/>
                </a:lnTo>
                <a:lnTo>
                  <a:pt x="786" y="416"/>
                </a:lnTo>
                <a:lnTo>
                  <a:pt x="787" y="419"/>
                </a:lnTo>
                <a:lnTo>
                  <a:pt x="818" y="480"/>
                </a:lnTo>
                <a:lnTo>
                  <a:pt x="830" y="472"/>
                </a:lnTo>
                <a:lnTo>
                  <a:pt x="864" y="449"/>
                </a:lnTo>
                <a:lnTo>
                  <a:pt x="1087" y="851"/>
                </a:lnTo>
                <a:lnTo>
                  <a:pt x="0" y="851"/>
                </a:lnTo>
                <a:close/>
              </a:path>
            </a:pathLst>
          </a:custGeom>
          <a:noFill/>
          <a:ln w="9525"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eaLnBrk="1"/>
            <a:endParaRPr lang="de-DE"/>
          </a:p>
        </p:txBody>
      </p:sp>
      <p:sp>
        <p:nvSpPr>
          <p:cNvPr id="28" name="Titelplatzhalter 1">
            <a:extLst>
              <a:ext uri="{FF2B5EF4-FFF2-40B4-BE49-F238E27FC236}">
                <a16:creationId xmlns:a16="http://schemas.microsoft.com/office/drawing/2014/main" id="{5E906477-8F5E-497B-8299-3CF42E92C2B3}"/>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3658475824"/>
      </p:ext>
    </p:extLst>
  </p:cSld>
  <p:clrMapOvr>
    <a:masterClrMapping/>
  </p:clrMapOvr>
  <p:transition spd="med">
    <p:fade/>
  </p:transition>
  <p:extLst>
    <p:ext uri="{DCECCB84-F9BA-43D5-87BE-67443E8EF086}">
      <p15:sldGuideLst xmlns:p15="http://schemas.microsoft.com/office/powerpoint/2012/main">
        <p15:guide id="1" orient="horz" pos="1548">
          <p15:clr>
            <a:srgbClr val="FBAE40"/>
          </p15:clr>
        </p15:guide>
        <p15:guide id="2" pos="2524">
          <p15:clr>
            <a:srgbClr val="FBAE40"/>
          </p15:clr>
        </p15:guide>
        <p15:guide id="3" pos="4973">
          <p15:clr>
            <a:srgbClr val="FBAE40"/>
          </p15:clr>
        </p15:guide>
        <p15:guide id="4" pos="5155">
          <p15:clr>
            <a:srgbClr val="FBAE40"/>
          </p15:clr>
        </p15:guide>
        <p15:guide id="5" pos="2706">
          <p15:clr>
            <a:srgbClr val="FBAE40"/>
          </p15:clr>
        </p15:guide>
        <p15:guide id="6" orient="horz" pos="50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6 Schluss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06400" y="333375"/>
            <a:ext cx="11377613" cy="590605"/>
          </a:xfrm>
          <a:prstGeom prst="rect">
            <a:avLst/>
          </a:prstGeom>
        </p:spPr>
        <p:txBody>
          <a:bodyPr anchor="b" anchorCtr="0"/>
          <a:lstStyle>
            <a:lvl1pPr>
              <a:defRPr sz="3600" b="1">
                <a:solidFill>
                  <a:schemeClr val="accent3"/>
                </a:solidFill>
              </a:defRPr>
            </a:lvl1pPr>
          </a:lstStyle>
          <a:p>
            <a:r>
              <a:rPr lang="de-DE" dirty="0"/>
              <a:t>CLICK TO EDIT TITLE</a:t>
            </a:r>
          </a:p>
        </p:txBody>
      </p:sp>
      <p:sp>
        <p:nvSpPr>
          <p:cNvPr id="7" name="Rechteck 6">
            <a:extLst>
              <a:ext uri="{FF2B5EF4-FFF2-40B4-BE49-F238E27FC236}">
                <a16:creationId xmlns:a16="http://schemas.microsoft.com/office/drawing/2014/main" id="{DB26614C-4862-4F34-B263-BB407BFC6188}"/>
              </a:ext>
            </a:extLst>
          </p:cNvPr>
          <p:cNvSpPr/>
          <p:nvPr userDrawn="1"/>
        </p:nvSpPr>
        <p:spPr>
          <a:xfrm>
            <a:off x="406400" y="5876893"/>
            <a:ext cx="474878" cy="981107"/>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1"/>
            <a:endParaRPr lang="de-DE" sz="1400" dirty="0" err="1">
              <a:solidFill>
                <a:schemeClr val="bg2"/>
              </a:solidFill>
            </a:endParaRPr>
          </a:p>
        </p:txBody>
      </p:sp>
      <p:sp>
        <p:nvSpPr>
          <p:cNvPr id="8" name="Rechteck 7">
            <a:extLst>
              <a:ext uri="{FF2B5EF4-FFF2-40B4-BE49-F238E27FC236}">
                <a16:creationId xmlns:a16="http://schemas.microsoft.com/office/drawing/2014/main" id="{0D159B70-F27C-4E91-BEFA-F07AD585CCBF}"/>
              </a:ext>
            </a:extLst>
          </p:cNvPr>
          <p:cNvSpPr/>
          <p:nvPr userDrawn="1"/>
        </p:nvSpPr>
        <p:spPr>
          <a:xfrm>
            <a:off x="918620" y="5876893"/>
            <a:ext cx="474878" cy="981107"/>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1"/>
            <a:endParaRPr lang="de-DE" sz="1400" dirty="0" err="1">
              <a:solidFill>
                <a:schemeClr val="bg2"/>
              </a:solidFill>
            </a:endParaRPr>
          </a:p>
        </p:txBody>
      </p:sp>
      <p:sp>
        <p:nvSpPr>
          <p:cNvPr id="9" name="Rechteck 8">
            <a:extLst>
              <a:ext uri="{FF2B5EF4-FFF2-40B4-BE49-F238E27FC236}">
                <a16:creationId xmlns:a16="http://schemas.microsoft.com/office/drawing/2014/main" id="{2AA34FB4-8D1B-4A90-B0C6-56970FCCF7E3}"/>
              </a:ext>
            </a:extLst>
          </p:cNvPr>
          <p:cNvSpPr/>
          <p:nvPr userDrawn="1"/>
        </p:nvSpPr>
        <p:spPr>
          <a:xfrm>
            <a:off x="1430840" y="5876893"/>
            <a:ext cx="474878" cy="981107"/>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1"/>
            <a:endParaRPr lang="de-DE" sz="1400" dirty="0" err="1">
              <a:solidFill>
                <a:schemeClr val="bg2"/>
              </a:solidFill>
            </a:endParaRPr>
          </a:p>
        </p:txBody>
      </p:sp>
      <p:sp>
        <p:nvSpPr>
          <p:cNvPr id="11" name="Rechteck 10">
            <a:extLst>
              <a:ext uri="{FF2B5EF4-FFF2-40B4-BE49-F238E27FC236}">
                <a16:creationId xmlns:a16="http://schemas.microsoft.com/office/drawing/2014/main" id="{D27DABEB-96F8-4326-A284-7FD4A39F3992}"/>
              </a:ext>
            </a:extLst>
          </p:cNvPr>
          <p:cNvSpPr/>
          <p:nvPr userDrawn="1"/>
        </p:nvSpPr>
        <p:spPr>
          <a:xfrm>
            <a:off x="1943060" y="5876893"/>
            <a:ext cx="474878" cy="981107"/>
          </a:xfrm>
          <a:prstGeom prst="rect">
            <a:avLst/>
          </a:prstGeom>
          <a:solidFill>
            <a:schemeClr val="tx1">
              <a:lumMod val="10000"/>
              <a:lumOff val="9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1"/>
            <a:endParaRPr lang="de-DE" sz="1400" dirty="0" err="1">
              <a:solidFill>
                <a:schemeClr val="bg2"/>
              </a:solidFill>
            </a:endParaRPr>
          </a:p>
        </p:txBody>
      </p:sp>
      <p:sp>
        <p:nvSpPr>
          <p:cNvPr id="12" name="Rechteck 11">
            <a:extLst>
              <a:ext uri="{FF2B5EF4-FFF2-40B4-BE49-F238E27FC236}">
                <a16:creationId xmlns:a16="http://schemas.microsoft.com/office/drawing/2014/main" id="{6423E382-98F4-41FA-B570-C70014DC5AB0}"/>
              </a:ext>
            </a:extLst>
          </p:cNvPr>
          <p:cNvSpPr/>
          <p:nvPr userDrawn="1"/>
        </p:nvSpPr>
        <p:spPr>
          <a:xfrm>
            <a:off x="406400" y="5573338"/>
            <a:ext cx="1720250" cy="307777"/>
          </a:xfrm>
          <a:prstGeom prst="rect">
            <a:avLst/>
          </a:prstGeom>
          <a:ln>
            <a:noFill/>
          </a:ln>
        </p:spPr>
        <p:txBody>
          <a:bodyPr wrap="square" lIns="0">
            <a:spAutoFit/>
          </a:bodyPr>
          <a:lstStyle/>
          <a:p>
            <a:r>
              <a:rPr lang="de-DE" sz="1400" b="1">
                <a:solidFill>
                  <a:schemeClr val="tx2"/>
                </a:solidFill>
              </a:rPr>
              <a:t>Follow us</a:t>
            </a:r>
            <a:endParaRPr lang="de-DE" sz="1400" b="1" dirty="0">
              <a:solidFill>
                <a:schemeClr val="tx2"/>
              </a:solidFill>
            </a:endParaRPr>
          </a:p>
        </p:txBody>
      </p:sp>
      <p:sp>
        <p:nvSpPr>
          <p:cNvPr id="13" name="Freeform 23">
            <a:extLst>
              <a:ext uri="{FF2B5EF4-FFF2-40B4-BE49-F238E27FC236}">
                <a16:creationId xmlns:a16="http://schemas.microsoft.com/office/drawing/2014/main" id="{86516686-6D93-41FF-AFC8-AB572DAC3477}"/>
              </a:ext>
            </a:extLst>
          </p:cNvPr>
          <p:cNvSpPr>
            <a:spLocks/>
          </p:cNvSpPr>
          <p:nvPr userDrawn="1"/>
        </p:nvSpPr>
        <p:spPr bwMode="auto">
          <a:xfrm>
            <a:off x="564464" y="5972066"/>
            <a:ext cx="158750" cy="296863"/>
          </a:xfrm>
          <a:custGeom>
            <a:avLst/>
            <a:gdLst>
              <a:gd name="T0" fmla="*/ 0 w 587"/>
              <a:gd name="T1" fmla="*/ 378 h 1096"/>
              <a:gd name="T2" fmla="*/ 0 w 587"/>
              <a:gd name="T3" fmla="*/ 378 h 1096"/>
              <a:gd name="T4" fmla="*/ 0 w 587"/>
              <a:gd name="T5" fmla="*/ 588 h 1096"/>
              <a:gd name="T6" fmla="*/ 168 w 587"/>
              <a:gd name="T7" fmla="*/ 588 h 1096"/>
              <a:gd name="T8" fmla="*/ 168 w 587"/>
              <a:gd name="T9" fmla="*/ 1096 h 1096"/>
              <a:gd name="T10" fmla="*/ 378 w 587"/>
              <a:gd name="T11" fmla="*/ 1096 h 1096"/>
              <a:gd name="T12" fmla="*/ 378 w 587"/>
              <a:gd name="T13" fmla="*/ 588 h 1096"/>
              <a:gd name="T14" fmla="*/ 587 w 587"/>
              <a:gd name="T15" fmla="*/ 588 h 1096"/>
              <a:gd name="T16" fmla="*/ 587 w 587"/>
              <a:gd name="T17" fmla="*/ 378 h 1096"/>
              <a:gd name="T18" fmla="*/ 378 w 587"/>
              <a:gd name="T19" fmla="*/ 378 h 1096"/>
              <a:gd name="T20" fmla="*/ 378 w 587"/>
              <a:gd name="T21" fmla="*/ 271 h 1096"/>
              <a:gd name="T22" fmla="*/ 391 w 587"/>
              <a:gd name="T23" fmla="*/ 225 h 1096"/>
              <a:gd name="T24" fmla="*/ 419 w 587"/>
              <a:gd name="T25" fmla="*/ 206 h 1096"/>
              <a:gd name="T26" fmla="*/ 587 w 587"/>
              <a:gd name="T27" fmla="*/ 206 h 1096"/>
              <a:gd name="T28" fmla="*/ 587 w 587"/>
              <a:gd name="T29" fmla="*/ 0 h 1096"/>
              <a:gd name="T30" fmla="*/ 419 w 587"/>
              <a:gd name="T31" fmla="*/ 0 h 1096"/>
              <a:gd name="T32" fmla="*/ 322 w 587"/>
              <a:gd name="T33" fmla="*/ 22 h 1096"/>
              <a:gd name="T34" fmla="*/ 242 w 587"/>
              <a:gd name="T35" fmla="*/ 80 h 1096"/>
              <a:gd name="T36" fmla="*/ 188 w 587"/>
              <a:gd name="T37" fmla="*/ 167 h 1096"/>
              <a:gd name="T38" fmla="*/ 168 w 587"/>
              <a:gd name="T39" fmla="*/ 274 h 1096"/>
              <a:gd name="T40" fmla="*/ 168 w 587"/>
              <a:gd name="T41" fmla="*/ 378 h 1096"/>
              <a:gd name="T42" fmla="*/ 0 w 587"/>
              <a:gd name="T43" fmla="*/ 37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7" h="1096">
                <a:moveTo>
                  <a:pt x="0" y="378"/>
                </a:moveTo>
                <a:lnTo>
                  <a:pt x="0" y="378"/>
                </a:lnTo>
                <a:lnTo>
                  <a:pt x="0" y="588"/>
                </a:lnTo>
                <a:lnTo>
                  <a:pt x="168" y="588"/>
                </a:lnTo>
                <a:lnTo>
                  <a:pt x="168" y="1096"/>
                </a:lnTo>
                <a:lnTo>
                  <a:pt x="378" y="1096"/>
                </a:lnTo>
                <a:lnTo>
                  <a:pt x="378" y="588"/>
                </a:lnTo>
                <a:lnTo>
                  <a:pt x="587" y="588"/>
                </a:lnTo>
                <a:lnTo>
                  <a:pt x="587" y="378"/>
                </a:lnTo>
                <a:lnTo>
                  <a:pt x="378" y="378"/>
                </a:lnTo>
                <a:lnTo>
                  <a:pt x="378" y="271"/>
                </a:lnTo>
                <a:cubicBezTo>
                  <a:pt x="378" y="252"/>
                  <a:pt x="383" y="237"/>
                  <a:pt x="391" y="225"/>
                </a:cubicBezTo>
                <a:cubicBezTo>
                  <a:pt x="399" y="213"/>
                  <a:pt x="409" y="206"/>
                  <a:pt x="419" y="206"/>
                </a:cubicBezTo>
                <a:lnTo>
                  <a:pt x="587" y="206"/>
                </a:lnTo>
                <a:lnTo>
                  <a:pt x="587" y="0"/>
                </a:lnTo>
                <a:lnTo>
                  <a:pt x="419" y="0"/>
                </a:lnTo>
                <a:cubicBezTo>
                  <a:pt x="384" y="0"/>
                  <a:pt x="352" y="8"/>
                  <a:pt x="322" y="22"/>
                </a:cubicBezTo>
                <a:cubicBezTo>
                  <a:pt x="292" y="36"/>
                  <a:pt x="265" y="55"/>
                  <a:pt x="242" y="80"/>
                </a:cubicBezTo>
                <a:cubicBezTo>
                  <a:pt x="219" y="105"/>
                  <a:pt x="201" y="134"/>
                  <a:pt x="188" y="167"/>
                </a:cubicBezTo>
                <a:cubicBezTo>
                  <a:pt x="175" y="200"/>
                  <a:pt x="169" y="236"/>
                  <a:pt x="168" y="274"/>
                </a:cubicBezTo>
                <a:lnTo>
                  <a:pt x="168" y="378"/>
                </a:lnTo>
                <a:lnTo>
                  <a:pt x="0" y="37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solidFill>
                <a:schemeClr val="bg2"/>
              </a:solidFill>
            </a:endParaRPr>
          </a:p>
        </p:txBody>
      </p:sp>
      <p:sp>
        <p:nvSpPr>
          <p:cNvPr id="14" name="Freeform 24">
            <a:extLst>
              <a:ext uri="{FF2B5EF4-FFF2-40B4-BE49-F238E27FC236}">
                <a16:creationId xmlns:a16="http://schemas.microsoft.com/office/drawing/2014/main" id="{0A6904BA-AECD-42AD-81FC-C2637F036959}"/>
              </a:ext>
            </a:extLst>
          </p:cNvPr>
          <p:cNvSpPr>
            <a:spLocks noEditPoints="1"/>
          </p:cNvSpPr>
          <p:nvPr userDrawn="1"/>
        </p:nvSpPr>
        <p:spPr bwMode="auto">
          <a:xfrm>
            <a:off x="1542072" y="5991116"/>
            <a:ext cx="252413" cy="277813"/>
          </a:xfrm>
          <a:custGeom>
            <a:avLst/>
            <a:gdLst>
              <a:gd name="T0" fmla="*/ 124 w 929"/>
              <a:gd name="T1" fmla="*/ 0 h 1035"/>
              <a:gd name="T2" fmla="*/ 124 w 929"/>
              <a:gd name="T3" fmla="*/ 0 h 1035"/>
              <a:gd name="T4" fmla="*/ 61 w 929"/>
              <a:gd name="T5" fmla="*/ 17 h 1035"/>
              <a:gd name="T6" fmla="*/ 17 w 929"/>
              <a:gd name="T7" fmla="*/ 63 h 1035"/>
              <a:gd name="T8" fmla="*/ 0 w 929"/>
              <a:gd name="T9" fmla="*/ 127 h 1035"/>
              <a:gd name="T10" fmla="*/ 17 w 929"/>
              <a:gd name="T11" fmla="*/ 191 h 1035"/>
              <a:gd name="T12" fmla="*/ 61 w 929"/>
              <a:gd name="T13" fmla="*/ 236 h 1035"/>
              <a:gd name="T14" fmla="*/ 124 w 929"/>
              <a:gd name="T15" fmla="*/ 253 h 1035"/>
              <a:gd name="T16" fmla="*/ 187 w 929"/>
              <a:gd name="T17" fmla="*/ 236 h 1035"/>
              <a:gd name="T18" fmla="*/ 233 w 929"/>
              <a:gd name="T19" fmla="*/ 191 h 1035"/>
              <a:gd name="T20" fmla="*/ 250 w 929"/>
              <a:gd name="T21" fmla="*/ 127 h 1035"/>
              <a:gd name="T22" fmla="*/ 233 w 929"/>
              <a:gd name="T23" fmla="*/ 63 h 1035"/>
              <a:gd name="T24" fmla="*/ 187 w 929"/>
              <a:gd name="T25" fmla="*/ 17 h 1035"/>
              <a:gd name="T26" fmla="*/ 124 w 929"/>
              <a:gd name="T27" fmla="*/ 0 h 1035"/>
              <a:gd name="T28" fmla="*/ 325 w 929"/>
              <a:gd name="T29" fmla="*/ 328 h 1035"/>
              <a:gd name="T30" fmla="*/ 325 w 929"/>
              <a:gd name="T31" fmla="*/ 328 h 1035"/>
              <a:gd name="T32" fmla="*/ 325 w 929"/>
              <a:gd name="T33" fmla="*/ 1035 h 1035"/>
              <a:gd name="T34" fmla="*/ 529 w 929"/>
              <a:gd name="T35" fmla="*/ 1035 h 1035"/>
              <a:gd name="T36" fmla="*/ 529 w 929"/>
              <a:gd name="T37" fmla="*/ 582 h 1035"/>
              <a:gd name="T38" fmla="*/ 539 w 929"/>
              <a:gd name="T39" fmla="*/ 574 h 1035"/>
              <a:gd name="T40" fmla="*/ 564 w 929"/>
              <a:gd name="T41" fmla="*/ 556 h 1035"/>
              <a:gd name="T42" fmla="*/ 601 w 929"/>
              <a:gd name="T43" fmla="*/ 538 h 1035"/>
              <a:gd name="T44" fmla="*/ 646 w 929"/>
              <a:gd name="T45" fmla="*/ 532 h 1035"/>
              <a:gd name="T46" fmla="*/ 693 w 929"/>
              <a:gd name="T47" fmla="*/ 545 h 1035"/>
              <a:gd name="T48" fmla="*/ 710 w 929"/>
              <a:gd name="T49" fmla="*/ 559 h 1035"/>
              <a:gd name="T50" fmla="*/ 723 w 929"/>
              <a:gd name="T51" fmla="*/ 581 h 1035"/>
              <a:gd name="T52" fmla="*/ 728 w 929"/>
              <a:gd name="T53" fmla="*/ 604 h 1035"/>
              <a:gd name="T54" fmla="*/ 728 w 929"/>
              <a:gd name="T55" fmla="*/ 1035 h 1035"/>
              <a:gd name="T56" fmla="*/ 929 w 929"/>
              <a:gd name="T57" fmla="*/ 1035 h 1035"/>
              <a:gd name="T58" fmla="*/ 929 w 929"/>
              <a:gd name="T59" fmla="*/ 604 h 1035"/>
              <a:gd name="T60" fmla="*/ 912 w 929"/>
              <a:gd name="T61" fmla="*/ 512 h 1035"/>
              <a:gd name="T62" fmla="*/ 864 w 929"/>
              <a:gd name="T63" fmla="*/ 430 h 1035"/>
              <a:gd name="T64" fmla="*/ 792 w 929"/>
              <a:gd name="T65" fmla="*/ 368 h 1035"/>
              <a:gd name="T66" fmla="*/ 707 w 929"/>
              <a:gd name="T67" fmla="*/ 340 h 1035"/>
              <a:gd name="T68" fmla="*/ 615 w 929"/>
              <a:gd name="T69" fmla="*/ 336 h 1035"/>
              <a:gd name="T70" fmla="*/ 529 w 929"/>
              <a:gd name="T71" fmla="*/ 361 h 1035"/>
              <a:gd name="T72" fmla="*/ 529 w 929"/>
              <a:gd name="T73" fmla="*/ 328 h 1035"/>
              <a:gd name="T74" fmla="*/ 325 w 929"/>
              <a:gd name="T75" fmla="*/ 328 h 1035"/>
              <a:gd name="T76" fmla="*/ 226 w 929"/>
              <a:gd name="T77" fmla="*/ 1035 h 1035"/>
              <a:gd name="T78" fmla="*/ 226 w 929"/>
              <a:gd name="T79" fmla="*/ 1035 h 1035"/>
              <a:gd name="T80" fmla="*/ 226 w 929"/>
              <a:gd name="T81" fmla="*/ 328 h 1035"/>
              <a:gd name="T82" fmla="*/ 22 w 929"/>
              <a:gd name="T83" fmla="*/ 328 h 1035"/>
              <a:gd name="T84" fmla="*/ 22 w 929"/>
              <a:gd name="T85" fmla="*/ 1035 h 1035"/>
              <a:gd name="T86" fmla="*/ 226 w 929"/>
              <a:gd name="T87" fmla="*/ 1035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29" h="1035">
                <a:moveTo>
                  <a:pt x="124" y="0"/>
                </a:moveTo>
                <a:lnTo>
                  <a:pt x="124" y="0"/>
                </a:lnTo>
                <a:cubicBezTo>
                  <a:pt x="100" y="0"/>
                  <a:pt x="79" y="6"/>
                  <a:pt x="61" y="17"/>
                </a:cubicBezTo>
                <a:cubicBezTo>
                  <a:pt x="42" y="29"/>
                  <a:pt x="27" y="44"/>
                  <a:pt x="17" y="63"/>
                </a:cubicBezTo>
                <a:cubicBezTo>
                  <a:pt x="6" y="83"/>
                  <a:pt x="0" y="104"/>
                  <a:pt x="0" y="127"/>
                </a:cubicBezTo>
                <a:cubicBezTo>
                  <a:pt x="0" y="151"/>
                  <a:pt x="6" y="172"/>
                  <a:pt x="17" y="191"/>
                </a:cubicBezTo>
                <a:cubicBezTo>
                  <a:pt x="27" y="210"/>
                  <a:pt x="42" y="225"/>
                  <a:pt x="61" y="236"/>
                </a:cubicBezTo>
                <a:cubicBezTo>
                  <a:pt x="79" y="247"/>
                  <a:pt x="100" y="253"/>
                  <a:pt x="124" y="253"/>
                </a:cubicBezTo>
                <a:cubicBezTo>
                  <a:pt x="147" y="253"/>
                  <a:pt x="168" y="247"/>
                  <a:pt x="187" y="236"/>
                </a:cubicBezTo>
                <a:cubicBezTo>
                  <a:pt x="206" y="225"/>
                  <a:pt x="221" y="210"/>
                  <a:pt x="233" y="191"/>
                </a:cubicBezTo>
                <a:cubicBezTo>
                  <a:pt x="244" y="172"/>
                  <a:pt x="250" y="151"/>
                  <a:pt x="250" y="127"/>
                </a:cubicBezTo>
                <a:cubicBezTo>
                  <a:pt x="250" y="104"/>
                  <a:pt x="244" y="83"/>
                  <a:pt x="233" y="63"/>
                </a:cubicBezTo>
                <a:cubicBezTo>
                  <a:pt x="221" y="44"/>
                  <a:pt x="206" y="29"/>
                  <a:pt x="187" y="17"/>
                </a:cubicBezTo>
                <a:cubicBezTo>
                  <a:pt x="168" y="6"/>
                  <a:pt x="147" y="0"/>
                  <a:pt x="124" y="0"/>
                </a:cubicBezTo>
                <a:close/>
                <a:moveTo>
                  <a:pt x="325" y="328"/>
                </a:moveTo>
                <a:lnTo>
                  <a:pt x="325" y="328"/>
                </a:lnTo>
                <a:lnTo>
                  <a:pt x="325" y="1035"/>
                </a:lnTo>
                <a:lnTo>
                  <a:pt x="529" y="1035"/>
                </a:lnTo>
                <a:lnTo>
                  <a:pt x="529" y="582"/>
                </a:lnTo>
                <a:cubicBezTo>
                  <a:pt x="529" y="582"/>
                  <a:pt x="533" y="579"/>
                  <a:pt x="539" y="574"/>
                </a:cubicBezTo>
                <a:cubicBezTo>
                  <a:pt x="545" y="569"/>
                  <a:pt x="553" y="562"/>
                  <a:pt x="564" y="556"/>
                </a:cubicBezTo>
                <a:cubicBezTo>
                  <a:pt x="575" y="549"/>
                  <a:pt x="587" y="543"/>
                  <a:pt x="601" y="538"/>
                </a:cubicBezTo>
                <a:cubicBezTo>
                  <a:pt x="615" y="534"/>
                  <a:pt x="630" y="531"/>
                  <a:pt x="646" y="532"/>
                </a:cubicBezTo>
                <a:cubicBezTo>
                  <a:pt x="661" y="532"/>
                  <a:pt x="677" y="537"/>
                  <a:pt x="693" y="545"/>
                </a:cubicBezTo>
                <a:cubicBezTo>
                  <a:pt x="699" y="548"/>
                  <a:pt x="704" y="552"/>
                  <a:pt x="710" y="559"/>
                </a:cubicBezTo>
                <a:cubicBezTo>
                  <a:pt x="715" y="565"/>
                  <a:pt x="719" y="573"/>
                  <a:pt x="723" y="581"/>
                </a:cubicBezTo>
                <a:cubicBezTo>
                  <a:pt x="726" y="589"/>
                  <a:pt x="728" y="597"/>
                  <a:pt x="728" y="604"/>
                </a:cubicBezTo>
                <a:lnTo>
                  <a:pt x="728" y="1035"/>
                </a:lnTo>
                <a:lnTo>
                  <a:pt x="929" y="1035"/>
                </a:lnTo>
                <a:lnTo>
                  <a:pt x="929" y="604"/>
                </a:lnTo>
                <a:cubicBezTo>
                  <a:pt x="929" y="573"/>
                  <a:pt x="923" y="542"/>
                  <a:pt x="912" y="512"/>
                </a:cubicBezTo>
                <a:cubicBezTo>
                  <a:pt x="900" y="482"/>
                  <a:pt x="885" y="454"/>
                  <a:pt x="864" y="430"/>
                </a:cubicBezTo>
                <a:cubicBezTo>
                  <a:pt x="844" y="404"/>
                  <a:pt x="820" y="384"/>
                  <a:pt x="792" y="368"/>
                </a:cubicBezTo>
                <a:cubicBezTo>
                  <a:pt x="766" y="355"/>
                  <a:pt x="738" y="345"/>
                  <a:pt x="707" y="340"/>
                </a:cubicBezTo>
                <a:cubicBezTo>
                  <a:pt x="677" y="334"/>
                  <a:pt x="646" y="333"/>
                  <a:pt x="615" y="336"/>
                </a:cubicBezTo>
                <a:cubicBezTo>
                  <a:pt x="584" y="339"/>
                  <a:pt x="556" y="348"/>
                  <a:pt x="529" y="361"/>
                </a:cubicBezTo>
                <a:lnTo>
                  <a:pt x="529" y="328"/>
                </a:lnTo>
                <a:lnTo>
                  <a:pt x="325" y="328"/>
                </a:lnTo>
                <a:close/>
                <a:moveTo>
                  <a:pt x="226" y="1035"/>
                </a:moveTo>
                <a:lnTo>
                  <a:pt x="226" y="1035"/>
                </a:lnTo>
                <a:lnTo>
                  <a:pt x="226" y="328"/>
                </a:lnTo>
                <a:lnTo>
                  <a:pt x="22" y="328"/>
                </a:lnTo>
                <a:lnTo>
                  <a:pt x="22" y="1035"/>
                </a:lnTo>
                <a:lnTo>
                  <a:pt x="226" y="10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solidFill>
                <a:schemeClr val="bg2"/>
              </a:solidFill>
            </a:endParaRPr>
          </a:p>
        </p:txBody>
      </p:sp>
      <p:sp>
        <p:nvSpPr>
          <p:cNvPr id="16" name="Freeform 25">
            <a:extLst>
              <a:ext uri="{FF2B5EF4-FFF2-40B4-BE49-F238E27FC236}">
                <a16:creationId xmlns:a16="http://schemas.microsoft.com/office/drawing/2014/main" id="{6F25957B-1D0E-416E-95BA-66EF7DE042C3}"/>
              </a:ext>
            </a:extLst>
          </p:cNvPr>
          <p:cNvSpPr>
            <a:spLocks/>
          </p:cNvSpPr>
          <p:nvPr userDrawn="1"/>
        </p:nvSpPr>
        <p:spPr bwMode="auto">
          <a:xfrm>
            <a:off x="1001277" y="6016516"/>
            <a:ext cx="309563" cy="252413"/>
          </a:xfrm>
          <a:custGeom>
            <a:avLst/>
            <a:gdLst>
              <a:gd name="T0" fmla="*/ 1146 w 1146"/>
              <a:gd name="T1" fmla="*/ 111 h 933"/>
              <a:gd name="T2" fmla="*/ 1081 w 1146"/>
              <a:gd name="T3" fmla="*/ 134 h 933"/>
              <a:gd name="T4" fmla="*/ 1011 w 1146"/>
              <a:gd name="T5" fmla="*/ 148 h 933"/>
              <a:gd name="T6" fmla="*/ 1074 w 1146"/>
              <a:gd name="T7" fmla="*/ 92 h 933"/>
              <a:gd name="T8" fmla="*/ 1115 w 1146"/>
              <a:gd name="T9" fmla="*/ 19 h 933"/>
              <a:gd name="T10" fmla="*/ 1042 w 1146"/>
              <a:gd name="T11" fmla="*/ 52 h 933"/>
              <a:gd name="T12" fmla="*/ 964 w 1146"/>
              <a:gd name="T13" fmla="*/ 74 h 933"/>
              <a:gd name="T14" fmla="*/ 889 w 1146"/>
              <a:gd name="T15" fmla="*/ 20 h 933"/>
              <a:gd name="T16" fmla="*/ 793 w 1146"/>
              <a:gd name="T17" fmla="*/ 0 h 933"/>
              <a:gd name="T18" fmla="*/ 674 w 1146"/>
              <a:gd name="T19" fmla="*/ 32 h 933"/>
              <a:gd name="T20" fmla="*/ 591 w 1146"/>
              <a:gd name="T21" fmla="*/ 118 h 933"/>
              <a:gd name="T22" fmla="*/ 558 w 1146"/>
              <a:gd name="T23" fmla="*/ 238 h 933"/>
              <a:gd name="T24" fmla="*/ 560 w 1146"/>
              <a:gd name="T25" fmla="*/ 263 h 933"/>
              <a:gd name="T26" fmla="*/ 564 w 1146"/>
              <a:gd name="T27" fmla="*/ 289 h 933"/>
              <a:gd name="T28" fmla="*/ 378 w 1146"/>
              <a:gd name="T29" fmla="*/ 253 h 933"/>
              <a:gd name="T30" fmla="*/ 214 w 1146"/>
              <a:gd name="T31" fmla="*/ 169 h 933"/>
              <a:gd name="T32" fmla="*/ 80 w 1146"/>
              <a:gd name="T33" fmla="*/ 43 h 933"/>
              <a:gd name="T34" fmla="*/ 57 w 1146"/>
              <a:gd name="T35" fmla="*/ 99 h 933"/>
              <a:gd name="T36" fmla="*/ 49 w 1146"/>
              <a:gd name="T37" fmla="*/ 162 h 933"/>
              <a:gd name="T38" fmla="*/ 77 w 1146"/>
              <a:gd name="T39" fmla="*/ 275 h 933"/>
              <a:gd name="T40" fmla="*/ 154 w 1146"/>
              <a:gd name="T41" fmla="*/ 357 h 933"/>
              <a:gd name="T42" fmla="*/ 95 w 1146"/>
              <a:gd name="T43" fmla="*/ 349 h 933"/>
              <a:gd name="T44" fmla="*/ 45 w 1146"/>
              <a:gd name="T45" fmla="*/ 330 h 933"/>
              <a:gd name="T46" fmla="*/ 45 w 1146"/>
              <a:gd name="T47" fmla="*/ 331 h 933"/>
              <a:gd name="T48" fmla="*/ 45 w 1146"/>
              <a:gd name="T49" fmla="*/ 331 h 933"/>
              <a:gd name="T50" fmla="*/ 70 w 1146"/>
              <a:gd name="T51" fmla="*/ 436 h 933"/>
              <a:gd name="T52" fmla="*/ 137 w 1146"/>
              <a:gd name="T53" fmla="*/ 517 h 933"/>
              <a:gd name="T54" fmla="*/ 234 w 1146"/>
              <a:gd name="T55" fmla="*/ 562 h 933"/>
              <a:gd name="T56" fmla="*/ 205 w 1146"/>
              <a:gd name="T57" fmla="*/ 567 h 933"/>
              <a:gd name="T58" fmla="*/ 172 w 1146"/>
              <a:gd name="T59" fmla="*/ 570 h 933"/>
              <a:gd name="T60" fmla="*/ 150 w 1146"/>
              <a:gd name="T61" fmla="*/ 568 h 933"/>
              <a:gd name="T62" fmla="*/ 129 w 1146"/>
              <a:gd name="T63" fmla="*/ 564 h 933"/>
              <a:gd name="T64" fmla="*/ 176 w 1146"/>
              <a:gd name="T65" fmla="*/ 647 h 933"/>
              <a:gd name="T66" fmla="*/ 251 w 1146"/>
              <a:gd name="T67" fmla="*/ 705 h 933"/>
              <a:gd name="T68" fmla="*/ 348 w 1146"/>
              <a:gd name="T69" fmla="*/ 728 h 933"/>
              <a:gd name="T70" fmla="*/ 213 w 1146"/>
              <a:gd name="T71" fmla="*/ 802 h 933"/>
              <a:gd name="T72" fmla="*/ 57 w 1146"/>
              <a:gd name="T73" fmla="*/ 827 h 933"/>
              <a:gd name="T74" fmla="*/ 28 w 1146"/>
              <a:gd name="T75" fmla="*/ 827 h 933"/>
              <a:gd name="T76" fmla="*/ 0 w 1146"/>
              <a:gd name="T77" fmla="*/ 825 h 933"/>
              <a:gd name="T78" fmla="*/ 171 w 1146"/>
              <a:gd name="T79" fmla="*/ 905 h 933"/>
              <a:gd name="T80" fmla="*/ 361 w 1146"/>
              <a:gd name="T81" fmla="*/ 933 h 933"/>
              <a:gd name="T82" fmla="*/ 596 w 1146"/>
              <a:gd name="T83" fmla="*/ 893 h 933"/>
              <a:gd name="T84" fmla="*/ 782 w 1146"/>
              <a:gd name="T85" fmla="*/ 787 h 933"/>
              <a:gd name="T86" fmla="*/ 918 w 1146"/>
              <a:gd name="T87" fmla="*/ 633 h 933"/>
              <a:gd name="T88" fmla="*/ 1001 w 1146"/>
              <a:gd name="T89" fmla="*/ 452 h 933"/>
              <a:gd name="T90" fmla="*/ 1029 w 1146"/>
              <a:gd name="T91" fmla="*/ 261 h 933"/>
              <a:gd name="T92" fmla="*/ 1029 w 1146"/>
              <a:gd name="T93" fmla="*/ 247 h 933"/>
              <a:gd name="T94" fmla="*/ 1029 w 1146"/>
              <a:gd name="T95" fmla="*/ 234 h 933"/>
              <a:gd name="T96" fmla="*/ 1092 w 1146"/>
              <a:gd name="T97" fmla="*/ 176 h 933"/>
              <a:gd name="T98" fmla="*/ 1146 w 1146"/>
              <a:gd name="T99" fmla="*/ 111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46" h="933">
                <a:moveTo>
                  <a:pt x="1146" y="111"/>
                </a:moveTo>
                <a:cubicBezTo>
                  <a:pt x="1125" y="120"/>
                  <a:pt x="1104" y="128"/>
                  <a:pt x="1081" y="134"/>
                </a:cubicBezTo>
                <a:cubicBezTo>
                  <a:pt x="1059" y="140"/>
                  <a:pt x="1036" y="145"/>
                  <a:pt x="1011" y="148"/>
                </a:cubicBezTo>
                <a:cubicBezTo>
                  <a:pt x="1036" y="132"/>
                  <a:pt x="1056" y="114"/>
                  <a:pt x="1074" y="92"/>
                </a:cubicBezTo>
                <a:cubicBezTo>
                  <a:pt x="1091" y="70"/>
                  <a:pt x="1105" y="46"/>
                  <a:pt x="1115" y="19"/>
                </a:cubicBezTo>
                <a:cubicBezTo>
                  <a:pt x="1092" y="31"/>
                  <a:pt x="1068" y="42"/>
                  <a:pt x="1042" y="52"/>
                </a:cubicBezTo>
                <a:cubicBezTo>
                  <a:pt x="1017" y="62"/>
                  <a:pt x="991" y="70"/>
                  <a:pt x="964" y="74"/>
                </a:cubicBezTo>
                <a:cubicBezTo>
                  <a:pt x="943" y="51"/>
                  <a:pt x="917" y="33"/>
                  <a:pt x="889" y="20"/>
                </a:cubicBezTo>
                <a:cubicBezTo>
                  <a:pt x="860" y="7"/>
                  <a:pt x="828" y="0"/>
                  <a:pt x="793" y="0"/>
                </a:cubicBezTo>
                <a:cubicBezTo>
                  <a:pt x="749" y="0"/>
                  <a:pt x="710" y="11"/>
                  <a:pt x="674" y="32"/>
                </a:cubicBezTo>
                <a:cubicBezTo>
                  <a:pt x="639" y="54"/>
                  <a:pt x="611" y="82"/>
                  <a:pt x="591" y="118"/>
                </a:cubicBezTo>
                <a:cubicBezTo>
                  <a:pt x="569" y="154"/>
                  <a:pt x="559" y="194"/>
                  <a:pt x="558" y="238"/>
                </a:cubicBezTo>
                <a:cubicBezTo>
                  <a:pt x="558" y="246"/>
                  <a:pt x="559" y="254"/>
                  <a:pt x="560" y="263"/>
                </a:cubicBezTo>
                <a:cubicBezTo>
                  <a:pt x="561" y="272"/>
                  <a:pt x="562" y="280"/>
                  <a:pt x="564" y="289"/>
                </a:cubicBezTo>
                <a:cubicBezTo>
                  <a:pt x="499" y="286"/>
                  <a:pt x="437" y="274"/>
                  <a:pt x="378" y="253"/>
                </a:cubicBezTo>
                <a:cubicBezTo>
                  <a:pt x="319" y="233"/>
                  <a:pt x="265" y="205"/>
                  <a:pt x="214" y="169"/>
                </a:cubicBezTo>
                <a:cubicBezTo>
                  <a:pt x="164" y="133"/>
                  <a:pt x="120" y="91"/>
                  <a:pt x="80" y="43"/>
                </a:cubicBezTo>
                <a:cubicBezTo>
                  <a:pt x="70" y="60"/>
                  <a:pt x="63" y="79"/>
                  <a:pt x="57" y="99"/>
                </a:cubicBezTo>
                <a:cubicBezTo>
                  <a:pt x="52" y="118"/>
                  <a:pt x="49" y="139"/>
                  <a:pt x="49" y="162"/>
                </a:cubicBezTo>
                <a:cubicBezTo>
                  <a:pt x="49" y="203"/>
                  <a:pt x="58" y="241"/>
                  <a:pt x="77" y="275"/>
                </a:cubicBezTo>
                <a:cubicBezTo>
                  <a:pt x="95" y="308"/>
                  <a:pt x="121" y="336"/>
                  <a:pt x="154" y="357"/>
                </a:cubicBezTo>
                <a:cubicBezTo>
                  <a:pt x="133" y="357"/>
                  <a:pt x="113" y="354"/>
                  <a:pt x="95" y="349"/>
                </a:cubicBezTo>
                <a:cubicBezTo>
                  <a:pt x="77" y="344"/>
                  <a:pt x="61" y="337"/>
                  <a:pt x="45" y="330"/>
                </a:cubicBezTo>
                <a:cubicBezTo>
                  <a:pt x="45" y="331"/>
                  <a:pt x="45" y="331"/>
                  <a:pt x="45" y="331"/>
                </a:cubicBezTo>
                <a:cubicBezTo>
                  <a:pt x="45" y="331"/>
                  <a:pt x="45" y="331"/>
                  <a:pt x="45" y="331"/>
                </a:cubicBezTo>
                <a:cubicBezTo>
                  <a:pt x="45" y="370"/>
                  <a:pt x="54" y="404"/>
                  <a:pt x="70" y="436"/>
                </a:cubicBezTo>
                <a:cubicBezTo>
                  <a:pt x="87" y="468"/>
                  <a:pt x="109" y="495"/>
                  <a:pt x="137" y="517"/>
                </a:cubicBezTo>
                <a:cubicBezTo>
                  <a:pt x="166" y="539"/>
                  <a:pt x="198" y="554"/>
                  <a:pt x="234" y="562"/>
                </a:cubicBezTo>
                <a:cubicBezTo>
                  <a:pt x="225" y="564"/>
                  <a:pt x="215" y="566"/>
                  <a:pt x="205" y="567"/>
                </a:cubicBezTo>
                <a:cubicBezTo>
                  <a:pt x="194" y="569"/>
                  <a:pt x="184" y="570"/>
                  <a:pt x="172" y="570"/>
                </a:cubicBezTo>
                <a:cubicBezTo>
                  <a:pt x="164" y="570"/>
                  <a:pt x="157" y="569"/>
                  <a:pt x="150" y="568"/>
                </a:cubicBezTo>
                <a:cubicBezTo>
                  <a:pt x="144" y="567"/>
                  <a:pt x="137" y="566"/>
                  <a:pt x="129" y="564"/>
                </a:cubicBezTo>
                <a:cubicBezTo>
                  <a:pt x="139" y="595"/>
                  <a:pt x="155" y="623"/>
                  <a:pt x="176" y="647"/>
                </a:cubicBezTo>
                <a:cubicBezTo>
                  <a:pt x="197" y="672"/>
                  <a:pt x="222" y="691"/>
                  <a:pt x="251" y="705"/>
                </a:cubicBezTo>
                <a:cubicBezTo>
                  <a:pt x="281" y="719"/>
                  <a:pt x="313" y="727"/>
                  <a:pt x="348" y="728"/>
                </a:cubicBezTo>
                <a:cubicBezTo>
                  <a:pt x="307" y="760"/>
                  <a:pt x="262" y="785"/>
                  <a:pt x="213" y="802"/>
                </a:cubicBezTo>
                <a:cubicBezTo>
                  <a:pt x="164" y="818"/>
                  <a:pt x="112" y="827"/>
                  <a:pt x="57" y="827"/>
                </a:cubicBezTo>
                <a:cubicBezTo>
                  <a:pt x="47" y="827"/>
                  <a:pt x="37" y="827"/>
                  <a:pt x="28" y="827"/>
                </a:cubicBezTo>
                <a:cubicBezTo>
                  <a:pt x="18" y="827"/>
                  <a:pt x="9" y="826"/>
                  <a:pt x="0" y="825"/>
                </a:cubicBezTo>
                <a:cubicBezTo>
                  <a:pt x="53" y="860"/>
                  <a:pt x="110" y="886"/>
                  <a:pt x="171" y="905"/>
                </a:cubicBezTo>
                <a:cubicBezTo>
                  <a:pt x="231" y="923"/>
                  <a:pt x="295" y="932"/>
                  <a:pt x="361" y="933"/>
                </a:cubicBezTo>
                <a:cubicBezTo>
                  <a:pt x="447" y="932"/>
                  <a:pt x="526" y="919"/>
                  <a:pt x="596" y="893"/>
                </a:cubicBezTo>
                <a:cubicBezTo>
                  <a:pt x="667" y="867"/>
                  <a:pt x="729" y="832"/>
                  <a:pt x="782" y="787"/>
                </a:cubicBezTo>
                <a:cubicBezTo>
                  <a:pt x="836" y="742"/>
                  <a:pt x="881" y="691"/>
                  <a:pt x="918" y="633"/>
                </a:cubicBezTo>
                <a:cubicBezTo>
                  <a:pt x="955" y="576"/>
                  <a:pt x="982" y="515"/>
                  <a:pt x="1001" y="452"/>
                </a:cubicBezTo>
                <a:cubicBezTo>
                  <a:pt x="1019" y="388"/>
                  <a:pt x="1029" y="325"/>
                  <a:pt x="1029" y="261"/>
                </a:cubicBezTo>
                <a:cubicBezTo>
                  <a:pt x="1029" y="256"/>
                  <a:pt x="1029" y="251"/>
                  <a:pt x="1029" y="247"/>
                </a:cubicBezTo>
                <a:cubicBezTo>
                  <a:pt x="1029" y="242"/>
                  <a:pt x="1029" y="238"/>
                  <a:pt x="1029" y="234"/>
                </a:cubicBezTo>
                <a:cubicBezTo>
                  <a:pt x="1051" y="216"/>
                  <a:pt x="1073" y="197"/>
                  <a:pt x="1092" y="176"/>
                </a:cubicBezTo>
                <a:cubicBezTo>
                  <a:pt x="1112" y="155"/>
                  <a:pt x="1130" y="133"/>
                  <a:pt x="1146" y="11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solidFill>
                <a:schemeClr val="bg2"/>
              </a:solidFill>
            </a:endParaRPr>
          </a:p>
        </p:txBody>
      </p:sp>
      <p:grpSp>
        <p:nvGrpSpPr>
          <p:cNvPr id="17" name="Group 4">
            <a:extLst>
              <a:ext uri="{FF2B5EF4-FFF2-40B4-BE49-F238E27FC236}">
                <a16:creationId xmlns:a16="http://schemas.microsoft.com/office/drawing/2014/main" id="{918D246E-0B39-4A3D-B70E-410AC715EA08}"/>
              </a:ext>
            </a:extLst>
          </p:cNvPr>
          <p:cNvGrpSpPr>
            <a:grpSpLocks noChangeAspect="1"/>
          </p:cNvGrpSpPr>
          <p:nvPr userDrawn="1"/>
        </p:nvGrpSpPr>
        <p:grpSpPr bwMode="auto">
          <a:xfrm>
            <a:off x="2051563" y="5972065"/>
            <a:ext cx="257872" cy="296864"/>
            <a:chOff x="1948" y="3483"/>
            <a:chExt cx="496" cy="571"/>
          </a:xfrm>
          <a:solidFill>
            <a:schemeClr val="tx2"/>
          </a:solidFill>
        </p:grpSpPr>
        <p:sp>
          <p:nvSpPr>
            <p:cNvPr id="18" name="Freeform 5">
              <a:extLst>
                <a:ext uri="{FF2B5EF4-FFF2-40B4-BE49-F238E27FC236}">
                  <a16:creationId xmlns:a16="http://schemas.microsoft.com/office/drawing/2014/main" id="{D8DEB1DB-329B-48D7-8269-22837CC8C858}"/>
                </a:ext>
              </a:extLst>
            </p:cNvPr>
            <p:cNvSpPr>
              <a:spLocks/>
            </p:cNvSpPr>
            <p:nvPr/>
          </p:nvSpPr>
          <p:spPr bwMode="auto">
            <a:xfrm>
              <a:off x="1948" y="3596"/>
              <a:ext cx="211" cy="287"/>
            </a:xfrm>
            <a:custGeom>
              <a:avLst/>
              <a:gdLst>
                <a:gd name="T0" fmla="*/ 83 w 381"/>
                <a:gd name="T1" fmla="*/ 0 h 529"/>
                <a:gd name="T2" fmla="*/ 62 w 381"/>
                <a:gd name="T3" fmla="*/ 9 h 529"/>
                <a:gd name="T4" fmla="*/ 63 w 381"/>
                <a:gd name="T5" fmla="*/ 33 h 529"/>
                <a:gd name="T6" fmla="*/ 165 w 381"/>
                <a:gd name="T7" fmla="*/ 210 h 529"/>
                <a:gd name="T8" fmla="*/ 165 w 381"/>
                <a:gd name="T9" fmla="*/ 211 h 529"/>
                <a:gd name="T10" fmla="*/ 4 w 381"/>
                <a:gd name="T11" fmla="*/ 495 h 529"/>
                <a:gd name="T12" fmla="*/ 4 w 381"/>
                <a:gd name="T13" fmla="*/ 519 h 529"/>
                <a:gd name="T14" fmla="*/ 24 w 381"/>
                <a:gd name="T15" fmla="*/ 529 h 529"/>
                <a:gd name="T16" fmla="*/ 176 w 381"/>
                <a:gd name="T17" fmla="*/ 529 h 529"/>
                <a:gd name="T18" fmla="*/ 217 w 381"/>
                <a:gd name="T19" fmla="*/ 500 h 529"/>
                <a:gd name="T20" fmla="*/ 381 w 381"/>
                <a:gd name="T21" fmla="*/ 210 h 529"/>
                <a:gd name="T22" fmla="*/ 277 w 381"/>
                <a:gd name="T23" fmla="*/ 28 h 529"/>
                <a:gd name="T24" fmla="*/ 234 w 381"/>
                <a:gd name="T25" fmla="*/ 0 h 529"/>
                <a:gd name="T26" fmla="*/ 83 w 381"/>
                <a:gd name="T27"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1" h="529">
                  <a:moveTo>
                    <a:pt x="83" y="0"/>
                  </a:moveTo>
                  <a:cubicBezTo>
                    <a:pt x="73" y="0"/>
                    <a:pt x="66" y="3"/>
                    <a:pt x="62" y="9"/>
                  </a:cubicBezTo>
                  <a:cubicBezTo>
                    <a:pt x="58" y="16"/>
                    <a:pt x="59" y="24"/>
                    <a:pt x="63" y="33"/>
                  </a:cubicBezTo>
                  <a:lnTo>
                    <a:pt x="165" y="210"/>
                  </a:lnTo>
                  <a:cubicBezTo>
                    <a:pt x="166" y="210"/>
                    <a:pt x="166" y="211"/>
                    <a:pt x="165" y="211"/>
                  </a:cubicBezTo>
                  <a:lnTo>
                    <a:pt x="4" y="495"/>
                  </a:lnTo>
                  <a:cubicBezTo>
                    <a:pt x="0" y="504"/>
                    <a:pt x="0" y="512"/>
                    <a:pt x="4" y="519"/>
                  </a:cubicBezTo>
                  <a:cubicBezTo>
                    <a:pt x="8" y="525"/>
                    <a:pt x="15" y="529"/>
                    <a:pt x="24" y="529"/>
                  </a:cubicBezTo>
                  <a:lnTo>
                    <a:pt x="176" y="529"/>
                  </a:lnTo>
                  <a:cubicBezTo>
                    <a:pt x="198" y="529"/>
                    <a:pt x="209" y="514"/>
                    <a:pt x="217" y="500"/>
                  </a:cubicBezTo>
                  <a:cubicBezTo>
                    <a:pt x="217" y="500"/>
                    <a:pt x="375" y="221"/>
                    <a:pt x="381" y="210"/>
                  </a:cubicBezTo>
                  <a:cubicBezTo>
                    <a:pt x="380" y="209"/>
                    <a:pt x="277" y="28"/>
                    <a:pt x="277" y="28"/>
                  </a:cubicBezTo>
                  <a:cubicBezTo>
                    <a:pt x="269" y="15"/>
                    <a:pt x="258" y="0"/>
                    <a:pt x="234" y="0"/>
                  </a:cubicBezTo>
                  <a:lnTo>
                    <a:pt x="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solidFill>
                  <a:schemeClr val="bg2"/>
                </a:solidFill>
              </a:endParaRPr>
            </a:p>
          </p:txBody>
        </p:sp>
        <p:sp>
          <p:nvSpPr>
            <p:cNvPr id="20" name="Freeform 6">
              <a:extLst>
                <a:ext uri="{FF2B5EF4-FFF2-40B4-BE49-F238E27FC236}">
                  <a16:creationId xmlns:a16="http://schemas.microsoft.com/office/drawing/2014/main" id="{7445C3C5-8293-4753-90BC-9047D1AAC7AC}"/>
                </a:ext>
              </a:extLst>
            </p:cNvPr>
            <p:cNvSpPr>
              <a:spLocks/>
            </p:cNvSpPr>
            <p:nvPr/>
          </p:nvSpPr>
          <p:spPr bwMode="auto">
            <a:xfrm>
              <a:off x="2137" y="3483"/>
              <a:ext cx="307" cy="571"/>
            </a:xfrm>
            <a:custGeom>
              <a:avLst/>
              <a:gdLst>
                <a:gd name="T0" fmla="*/ 378 w 555"/>
                <a:gd name="T1" fmla="*/ 0 h 1052"/>
                <a:gd name="T2" fmla="*/ 337 w 555"/>
                <a:gd name="T3" fmla="*/ 29 h 1052"/>
                <a:gd name="T4" fmla="*/ 0 w 555"/>
                <a:gd name="T5" fmla="*/ 628 h 1052"/>
                <a:gd name="T6" fmla="*/ 215 w 555"/>
                <a:gd name="T7" fmla="*/ 1023 h 1052"/>
                <a:gd name="T8" fmla="*/ 258 w 555"/>
                <a:gd name="T9" fmla="*/ 1052 h 1052"/>
                <a:gd name="T10" fmla="*/ 409 w 555"/>
                <a:gd name="T11" fmla="*/ 1052 h 1052"/>
                <a:gd name="T12" fmla="*/ 429 w 555"/>
                <a:gd name="T13" fmla="*/ 1042 h 1052"/>
                <a:gd name="T14" fmla="*/ 429 w 555"/>
                <a:gd name="T15" fmla="*/ 1019 h 1052"/>
                <a:gd name="T16" fmla="*/ 215 w 555"/>
                <a:gd name="T17" fmla="*/ 628 h 1052"/>
                <a:gd name="T18" fmla="*/ 215 w 555"/>
                <a:gd name="T19" fmla="*/ 627 h 1052"/>
                <a:gd name="T20" fmla="*/ 551 w 555"/>
                <a:gd name="T21" fmla="*/ 33 h 1052"/>
                <a:gd name="T22" fmla="*/ 551 w 555"/>
                <a:gd name="T23" fmla="*/ 10 h 1052"/>
                <a:gd name="T24" fmla="*/ 531 w 555"/>
                <a:gd name="T25" fmla="*/ 0 h 1052"/>
                <a:gd name="T26" fmla="*/ 378 w 555"/>
                <a:gd name="T27" fmla="*/ 0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5" h="1052">
                  <a:moveTo>
                    <a:pt x="378" y="0"/>
                  </a:moveTo>
                  <a:cubicBezTo>
                    <a:pt x="355" y="0"/>
                    <a:pt x="345" y="14"/>
                    <a:pt x="337" y="29"/>
                  </a:cubicBezTo>
                  <a:cubicBezTo>
                    <a:pt x="337" y="29"/>
                    <a:pt x="10" y="609"/>
                    <a:pt x="0" y="628"/>
                  </a:cubicBezTo>
                  <a:cubicBezTo>
                    <a:pt x="0" y="629"/>
                    <a:pt x="215" y="1023"/>
                    <a:pt x="215" y="1023"/>
                  </a:cubicBezTo>
                  <a:cubicBezTo>
                    <a:pt x="223" y="1036"/>
                    <a:pt x="234" y="1052"/>
                    <a:pt x="258" y="1052"/>
                  </a:cubicBezTo>
                  <a:lnTo>
                    <a:pt x="409" y="1052"/>
                  </a:lnTo>
                  <a:cubicBezTo>
                    <a:pt x="418" y="1052"/>
                    <a:pt x="425" y="1048"/>
                    <a:pt x="429" y="1042"/>
                  </a:cubicBezTo>
                  <a:cubicBezTo>
                    <a:pt x="433" y="1036"/>
                    <a:pt x="433" y="1027"/>
                    <a:pt x="429" y="1019"/>
                  </a:cubicBezTo>
                  <a:lnTo>
                    <a:pt x="215" y="628"/>
                  </a:lnTo>
                  <a:cubicBezTo>
                    <a:pt x="215" y="628"/>
                    <a:pt x="215" y="627"/>
                    <a:pt x="215" y="627"/>
                  </a:cubicBezTo>
                  <a:lnTo>
                    <a:pt x="551" y="33"/>
                  </a:lnTo>
                  <a:cubicBezTo>
                    <a:pt x="555" y="25"/>
                    <a:pt x="555" y="16"/>
                    <a:pt x="551" y="10"/>
                  </a:cubicBezTo>
                  <a:cubicBezTo>
                    <a:pt x="547" y="4"/>
                    <a:pt x="540" y="0"/>
                    <a:pt x="531" y="0"/>
                  </a:cubicBezTo>
                  <a:lnTo>
                    <a:pt x="3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solidFill>
                  <a:schemeClr val="bg2"/>
                </a:solidFill>
              </a:endParaRPr>
            </a:p>
          </p:txBody>
        </p:sp>
      </p:grpSp>
      <p:sp>
        <p:nvSpPr>
          <p:cNvPr id="5" name="Textfeld 4">
            <a:extLst>
              <a:ext uri="{FF2B5EF4-FFF2-40B4-BE49-F238E27FC236}">
                <a16:creationId xmlns:a16="http://schemas.microsoft.com/office/drawing/2014/main" id="{E9A8C998-49FE-4514-9CCA-C31B58E61705}"/>
              </a:ext>
            </a:extLst>
          </p:cNvPr>
          <p:cNvSpPr txBox="1"/>
          <p:nvPr userDrawn="1"/>
        </p:nvSpPr>
        <p:spPr>
          <a:xfrm>
            <a:off x="406400" y="1449388"/>
            <a:ext cx="5112743" cy="2555676"/>
          </a:xfrm>
          <a:prstGeom prst="rect">
            <a:avLst/>
          </a:prstGeom>
          <a:noFill/>
        </p:spPr>
        <p:txBody>
          <a:bodyPr wrap="square" lIns="0" tIns="0" rIns="0" bIns="0" rtlCol="0" anchor="t" anchorCtr="0">
            <a:noAutofit/>
          </a:bodyPr>
          <a:lstStyle/>
          <a:p>
            <a:pPr algn="l">
              <a:spcBef>
                <a:spcPts val="400"/>
              </a:spcBef>
            </a:pPr>
            <a:r>
              <a:rPr lang="de-DE" sz="1800" b="1" dirty="0">
                <a:solidFill>
                  <a:schemeClr val="tx2"/>
                </a:solidFill>
              </a:rPr>
              <a:t>SNP Schneider-Neureither &amp; </a:t>
            </a:r>
            <a:r>
              <a:rPr lang="de-DE" sz="1800" b="1" dirty="0" err="1">
                <a:solidFill>
                  <a:schemeClr val="tx2"/>
                </a:solidFill>
              </a:rPr>
              <a:t>WesternIntl</a:t>
            </a:r>
            <a:r>
              <a:rPr lang="de-DE" sz="1800" b="1" dirty="0">
                <a:solidFill>
                  <a:schemeClr val="tx2"/>
                </a:solidFill>
              </a:rPr>
              <a:t> SE</a:t>
            </a:r>
          </a:p>
          <a:p>
            <a:pPr algn="l">
              <a:spcBef>
                <a:spcPts val="400"/>
              </a:spcBef>
            </a:pPr>
            <a:r>
              <a:rPr lang="de-DE" sz="1800" dirty="0">
                <a:solidFill>
                  <a:schemeClr val="tx2"/>
                </a:solidFill>
              </a:rPr>
              <a:t>Dossenheimer Landstraße 100</a:t>
            </a:r>
          </a:p>
          <a:p>
            <a:pPr algn="l">
              <a:spcBef>
                <a:spcPts val="400"/>
              </a:spcBef>
            </a:pPr>
            <a:r>
              <a:rPr lang="de-DE" sz="1800" dirty="0">
                <a:solidFill>
                  <a:schemeClr val="tx2"/>
                </a:solidFill>
              </a:rPr>
              <a:t>69121 Heidelberg</a:t>
            </a:r>
          </a:p>
          <a:p>
            <a:pPr algn="l">
              <a:spcBef>
                <a:spcPts val="400"/>
              </a:spcBef>
            </a:pPr>
            <a:endParaRPr lang="de-DE" sz="1800" dirty="0">
              <a:solidFill>
                <a:schemeClr val="tx2"/>
              </a:solidFill>
            </a:endParaRPr>
          </a:p>
          <a:p>
            <a:pPr marL="358775" indent="0" algn="l">
              <a:spcBef>
                <a:spcPts val="400"/>
              </a:spcBef>
            </a:pPr>
            <a:r>
              <a:rPr lang="de-DE" sz="1800" dirty="0">
                <a:solidFill>
                  <a:schemeClr val="tx2"/>
                </a:solidFill>
              </a:rPr>
              <a:t>+49 6221 64 25 - 0</a:t>
            </a:r>
          </a:p>
          <a:p>
            <a:pPr marL="358775" indent="0" algn="l">
              <a:spcBef>
                <a:spcPts val="400"/>
              </a:spcBef>
            </a:pPr>
            <a:r>
              <a:rPr lang="de-DE" sz="1800" dirty="0">
                <a:solidFill>
                  <a:schemeClr val="tx2"/>
                </a:solidFill>
              </a:rPr>
              <a:t>+49 6221 64 25 - 20</a:t>
            </a:r>
          </a:p>
          <a:p>
            <a:pPr marL="358775" indent="0" algn="l">
              <a:spcBef>
                <a:spcPts val="400"/>
              </a:spcBef>
            </a:pPr>
            <a:r>
              <a:rPr lang="de-DE" sz="1800" dirty="0" err="1">
                <a:solidFill>
                  <a:schemeClr val="tx2"/>
                </a:solidFill>
              </a:rPr>
              <a:t>info@snpgroup.com</a:t>
            </a:r>
            <a:endParaRPr lang="de-DE" sz="1800" dirty="0">
              <a:solidFill>
                <a:schemeClr val="tx2"/>
              </a:solidFill>
            </a:endParaRPr>
          </a:p>
          <a:p>
            <a:pPr marL="358775" indent="0" algn="l">
              <a:spcBef>
                <a:spcPts val="400"/>
              </a:spcBef>
            </a:pPr>
            <a:r>
              <a:rPr lang="de-DE" sz="1800" dirty="0">
                <a:solidFill>
                  <a:schemeClr val="tx2"/>
                </a:solidFill>
              </a:rPr>
              <a:t>www.snpgroup.com</a:t>
            </a:r>
          </a:p>
        </p:txBody>
      </p:sp>
      <p:grpSp>
        <p:nvGrpSpPr>
          <p:cNvPr id="3" name="Gruppieren 2">
            <a:extLst>
              <a:ext uri="{FF2B5EF4-FFF2-40B4-BE49-F238E27FC236}">
                <a16:creationId xmlns:a16="http://schemas.microsoft.com/office/drawing/2014/main" id="{095DED04-8731-4026-A6F0-4508C8B72FFC}"/>
              </a:ext>
            </a:extLst>
          </p:cNvPr>
          <p:cNvGrpSpPr/>
          <p:nvPr userDrawn="1"/>
        </p:nvGrpSpPr>
        <p:grpSpPr>
          <a:xfrm>
            <a:off x="406401" y="2788271"/>
            <a:ext cx="252201" cy="1178939"/>
            <a:chOff x="406401" y="2788271"/>
            <a:chExt cx="252201" cy="1178939"/>
          </a:xfrm>
        </p:grpSpPr>
        <p:sp>
          <p:nvSpPr>
            <p:cNvPr id="19" name="Freeform 5">
              <a:extLst>
                <a:ext uri="{FF2B5EF4-FFF2-40B4-BE49-F238E27FC236}">
                  <a16:creationId xmlns:a16="http://schemas.microsoft.com/office/drawing/2014/main" id="{2573E468-75A0-4DE1-9526-B3BF8CDA772D}"/>
                </a:ext>
              </a:extLst>
            </p:cNvPr>
            <p:cNvSpPr>
              <a:spLocks noEditPoints="1"/>
            </p:cNvSpPr>
            <p:nvPr userDrawn="1"/>
          </p:nvSpPr>
          <p:spPr bwMode="auto">
            <a:xfrm>
              <a:off x="408403" y="3458805"/>
              <a:ext cx="250199" cy="176140"/>
            </a:xfrm>
            <a:custGeom>
              <a:avLst/>
              <a:gdLst>
                <a:gd name="T0" fmla="*/ 471 w 510"/>
                <a:gd name="T1" fmla="*/ 0 h 382"/>
                <a:gd name="T2" fmla="*/ 39 w 510"/>
                <a:gd name="T3" fmla="*/ 0 h 382"/>
                <a:gd name="T4" fmla="*/ 0 w 510"/>
                <a:gd name="T5" fmla="*/ 39 h 382"/>
                <a:gd name="T6" fmla="*/ 0 w 510"/>
                <a:gd name="T7" fmla="*/ 343 h 382"/>
                <a:gd name="T8" fmla="*/ 39 w 510"/>
                <a:gd name="T9" fmla="*/ 382 h 382"/>
                <a:gd name="T10" fmla="*/ 471 w 510"/>
                <a:gd name="T11" fmla="*/ 382 h 382"/>
                <a:gd name="T12" fmla="*/ 510 w 510"/>
                <a:gd name="T13" fmla="*/ 343 h 382"/>
                <a:gd name="T14" fmla="*/ 510 w 510"/>
                <a:gd name="T15" fmla="*/ 39 h 382"/>
                <a:gd name="T16" fmla="*/ 471 w 510"/>
                <a:gd name="T17" fmla="*/ 0 h 382"/>
                <a:gd name="T18" fmla="*/ 465 w 510"/>
                <a:gd name="T19" fmla="*/ 29 h 382"/>
                <a:gd name="T20" fmla="*/ 258 w 510"/>
                <a:gd name="T21" fmla="*/ 206 h 382"/>
                <a:gd name="T22" fmla="*/ 50 w 510"/>
                <a:gd name="T23" fmla="*/ 29 h 382"/>
                <a:gd name="T24" fmla="*/ 465 w 510"/>
                <a:gd name="T25" fmla="*/ 29 h 382"/>
                <a:gd name="T26" fmla="*/ 481 w 510"/>
                <a:gd name="T27" fmla="*/ 343 h 382"/>
                <a:gd name="T28" fmla="*/ 471 w 510"/>
                <a:gd name="T29" fmla="*/ 353 h 382"/>
                <a:gd name="T30" fmla="*/ 39 w 510"/>
                <a:gd name="T31" fmla="*/ 353 h 382"/>
                <a:gd name="T32" fmla="*/ 29 w 510"/>
                <a:gd name="T33" fmla="*/ 343 h 382"/>
                <a:gd name="T34" fmla="*/ 29 w 510"/>
                <a:gd name="T35" fmla="*/ 49 h 382"/>
                <a:gd name="T36" fmla="*/ 248 w 510"/>
                <a:gd name="T37" fmla="*/ 236 h 382"/>
                <a:gd name="T38" fmla="*/ 249 w 510"/>
                <a:gd name="T39" fmla="*/ 237 h 382"/>
                <a:gd name="T40" fmla="*/ 249 w 510"/>
                <a:gd name="T41" fmla="*/ 237 h 382"/>
                <a:gd name="T42" fmla="*/ 250 w 510"/>
                <a:gd name="T43" fmla="*/ 237 h 382"/>
                <a:gd name="T44" fmla="*/ 250 w 510"/>
                <a:gd name="T45" fmla="*/ 238 h 382"/>
                <a:gd name="T46" fmla="*/ 252 w 510"/>
                <a:gd name="T47" fmla="*/ 238 h 382"/>
                <a:gd name="T48" fmla="*/ 252 w 510"/>
                <a:gd name="T49" fmla="*/ 238 h 382"/>
                <a:gd name="T50" fmla="*/ 253 w 510"/>
                <a:gd name="T51" fmla="*/ 239 h 382"/>
                <a:gd name="T52" fmla="*/ 254 w 510"/>
                <a:gd name="T53" fmla="*/ 239 h 382"/>
                <a:gd name="T54" fmla="*/ 254 w 510"/>
                <a:gd name="T55" fmla="*/ 239 h 382"/>
                <a:gd name="T56" fmla="*/ 255 w 510"/>
                <a:gd name="T57" fmla="*/ 239 h 382"/>
                <a:gd name="T58" fmla="*/ 256 w 510"/>
                <a:gd name="T59" fmla="*/ 240 h 382"/>
                <a:gd name="T60" fmla="*/ 256 w 510"/>
                <a:gd name="T61" fmla="*/ 240 h 382"/>
                <a:gd name="T62" fmla="*/ 258 w 510"/>
                <a:gd name="T63" fmla="*/ 240 h 382"/>
                <a:gd name="T64" fmla="*/ 259 w 510"/>
                <a:gd name="T65" fmla="*/ 240 h 382"/>
                <a:gd name="T66" fmla="*/ 259 w 510"/>
                <a:gd name="T67" fmla="*/ 240 h 382"/>
                <a:gd name="T68" fmla="*/ 260 w 510"/>
                <a:gd name="T69" fmla="*/ 239 h 382"/>
                <a:gd name="T70" fmla="*/ 261 w 510"/>
                <a:gd name="T71" fmla="*/ 239 h 382"/>
                <a:gd name="T72" fmla="*/ 262 w 510"/>
                <a:gd name="T73" fmla="*/ 239 h 382"/>
                <a:gd name="T74" fmla="*/ 262 w 510"/>
                <a:gd name="T75" fmla="*/ 239 h 382"/>
                <a:gd name="T76" fmla="*/ 263 w 510"/>
                <a:gd name="T77" fmla="*/ 238 h 382"/>
                <a:gd name="T78" fmla="*/ 264 w 510"/>
                <a:gd name="T79" fmla="*/ 238 h 382"/>
                <a:gd name="T80" fmla="*/ 265 w 510"/>
                <a:gd name="T81" fmla="*/ 238 h 382"/>
                <a:gd name="T82" fmla="*/ 265 w 510"/>
                <a:gd name="T83" fmla="*/ 237 h 382"/>
                <a:gd name="T84" fmla="*/ 266 w 510"/>
                <a:gd name="T85" fmla="*/ 237 h 382"/>
                <a:gd name="T86" fmla="*/ 267 w 510"/>
                <a:gd name="T87" fmla="*/ 237 h 382"/>
                <a:gd name="T88" fmla="*/ 267 w 510"/>
                <a:gd name="T89" fmla="*/ 236 h 382"/>
                <a:gd name="T90" fmla="*/ 481 w 510"/>
                <a:gd name="T91" fmla="*/ 54 h 382"/>
                <a:gd name="T92" fmla="*/ 481 w 510"/>
                <a:gd name="T93" fmla="*/ 343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0" h="382">
                  <a:moveTo>
                    <a:pt x="471" y="0"/>
                  </a:moveTo>
                  <a:lnTo>
                    <a:pt x="39" y="0"/>
                  </a:lnTo>
                  <a:cubicBezTo>
                    <a:pt x="18" y="0"/>
                    <a:pt x="0" y="17"/>
                    <a:pt x="0" y="39"/>
                  </a:cubicBezTo>
                  <a:lnTo>
                    <a:pt x="0" y="343"/>
                  </a:lnTo>
                  <a:cubicBezTo>
                    <a:pt x="0" y="365"/>
                    <a:pt x="18" y="382"/>
                    <a:pt x="39" y="382"/>
                  </a:cubicBezTo>
                  <a:lnTo>
                    <a:pt x="471" y="382"/>
                  </a:lnTo>
                  <a:cubicBezTo>
                    <a:pt x="492" y="382"/>
                    <a:pt x="510" y="365"/>
                    <a:pt x="510" y="343"/>
                  </a:cubicBezTo>
                  <a:lnTo>
                    <a:pt x="510" y="39"/>
                  </a:lnTo>
                  <a:cubicBezTo>
                    <a:pt x="510" y="17"/>
                    <a:pt x="492" y="0"/>
                    <a:pt x="471" y="0"/>
                  </a:cubicBezTo>
                  <a:close/>
                  <a:moveTo>
                    <a:pt x="465" y="29"/>
                  </a:moveTo>
                  <a:lnTo>
                    <a:pt x="258" y="206"/>
                  </a:lnTo>
                  <a:lnTo>
                    <a:pt x="50" y="29"/>
                  </a:lnTo>
                  <a:lnTo>
                    <a:pt x="465" y="29"/>
                  </a:lnTo>
                  <a:close/>
                  <a:moveTo>
                    <a:pt x="481" y="343"/>
                  </a:moveTo>
                  <a:cubicBezTo>
                    <a:pt x="481" y="349"/>
                    <a:pt x="476" y="353"/>
                    <a:pt x="471" y="353"/>
                  </a:cubicBezTo>
                  <a:lnTo>
                    <a:pt x="39" y="353"/>
                  </a:lnTo>
                  <a:cubicBezTo>
                    <a:pt x="34" y="353"/>
                    <a:pt x="29" y="349"/>
                    <a:pt x="29" y="343"/>
                  </a:cubicBezTo>
                  <a:lnTo>
                    <a:pt x="29" y="49"/>
                  </a:lnTo>
                  <a:lnTo>
                    <a:pt x="248" y="236"/>
                  </a:lnTo>
                  <a:cubicBezTo>
                    <a:pt x="248" y="236"/>
                    <a:pt x="249" y="237"/>
                    <a:pt x="249" y="237"/>
                  </a:cubicBezTo>
                  <a:cubicBezTo>
                    <a:pt x="249" y="237"/>
                    <a:pt x="249" y="237"/>
                    <a:pt x="249" y="237"/>
                  </a:cubicBezTo>
                  <a:cubicBezTo>
                    <a:pt x="250" y="237"/>
                    <a:pt x="250" y="237"/>
                    <a:pt x="250" y="237"/>
                  </a:cubicBezTo>
                  <a:cubicBezTo>
                    <a:pt x="250" y="238"/>
                    <a:pt x="250" y="238"/>
                    <a:pt x="250" y="238"/>
                  </a:cubicBezTo>
                  <a:cubicBezTo>
                    <a:pt x="251" y="238"/>
                    <a:pt x="251" y="238"/>
                    <a:pt x="252" y="238"/>
                  </a:cubicBezTo>
                  <a:cubicBezTo>
                    <a:pt x="252" y="238"/>
                    <a:pt x="252" y="238"/>
                    <a:pt x="252" y="238"/>
                  </a:cubicBezTo>
                  <a:cubicBezTo>
                    <a:pt x="252" y="239"/>
                    <a:pt x="253" y="239"/>
                    <a:pt x="253" y="239"/>
                  </a:cubicBezTo>
                  <a:cubicBezTo>
                    <a:pt x="253" y="239"/>
                    <a:pt x="253" y="239"/>
                    <a:pt x="254" y="239"/>
                  </a:cubicBezTo>
                  <a:cubicBezTo>
                    <a:pt x="254" y="239"/>
                    <a:pt x="254" y="239"/>
                    <a:pt x="254" y="239"/>
                  </a:cubicBezTo>
                  <a:cubicBezTo>
                    <a:pt x="255" y="239"/>
                    <a:pt x="255" y="239"/>
                    <a:pt x="255" y="239"/>
                  </a:cubicBezTo>
                  <a:cubicBezTo>
                    <a:pt x="255" y="239"/>
                    <a:pt x="256" y="239"/>
                    <a:pt x="256" y="240"/>
                  </a:cubicBezTo>
                  <a:lnTo>
                    <a:pt x="256" y="240"/>
                  </a:lnTo>
                  <a:cubicBezTo>
                    <a:pt x="257" y="240"/>
                    <a:pt x="257" y="240"/>
                    <a:pt x="258" y="240"/>
                  </a:cubicBezTo>
                  <a:cubicBezTo>
                    <a:pt x="258" y="240"/>
                    <a:pt x="259" y="240"/>
                    <a:pt x="259" y="240"/>
                  </a:cubicBezTo>
                  <a:lnTo>
                    <a:pt x="259" y="240"/>
                  </a:lnTo>
                  <a:cubicBezTo>
                    <a:pt x="260" y="240"/>
                    <a:pt x="260" y="239"/>
                    <a:pt x="260" y="239"/>
                  </a:cubicBezTo>
                  <a:cubicBezTo>
                    <a:pt x="261" y="239"/>
                    <a:pt x="261" y="239"/>
                    <a:pt x="261" y="239"/>
                  </a:cubicBezTo>
                  <a:cubicBezTo>
                    <a:pt x="261" y="239"/>
                    <a:pt x="262" y="239"/>
                    <a:pt x="262" y="239"/>
                  </a:cubicBezTo>
                  <a:cubicBezTo>
                    <a:pt x="262" y="239"/>
                    <a:pt x="262" y="239"/>
                    <a:pt x="262" y="239"/>
                  </a:cubicBezTo>
                  <a:cubicBezTo>
                    <a:pt x="263" y="239"/>
                    <a:pt x="263" y="239"/>
                    <a:pt x="263" y="238"/>
                  </a:cubicBezTo>
                  <a:cubicBezTo>
                    <a:pt x="264" y="238"/>
                    <a:pt x="264" y="238"/>
                    <a:pt x="264" y="238"/>
                  </a:cubicBezTo>
                  <a:cubicBezTo>
                    <a:pt x="264" y="238"/>
                    <a:pt x="265" y="238"/>
                    <a:pt x="265" y="238"/>
                  </a:cubicBezTo>
                  <a:cubicBezTo>
                    <a:pt x="265" y="238"/>
                    <a:pt x="265" y="238"/>
                    <a:pt x="265" y="237"/>
                  </a:cubicBezTo>
                  <a:cubicBezTo>
                    <a:pt x="266" y="237"/>
                    <a:pt x="266" y="237"/>
                    <a:pt x="266" y="237"/>
                  </a:cubicBezTo>
                  <a:cubicBezTo>
                    <a:pt x="266" y="237"/>
                    <a:pt x="267" y="237"/>
                    <a:pt x="267" y="237"/>
                  </a:cubicBezTo>
                  <a:cubicBezTo>
                    <a:pt x="267" y="237"/>
                    <a:pt x="267" y="236"/>
                    <a:pt x="267" y="236"/>
                  </a:cubicBezTo>
                  <a:lnTo>
                    <a:pt x="481" y="54"/>
                  </a:lnTo>
                  <a:lnTo>
                    <a:pt x="481" y="343"/>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p>
          </p:txBody>
        </p:sp>
        <p:sp>
          <p:nvSpPr>
            <p:cNvPr id="21" name="Freeform 6">
              <a:extLst>
                <a:ext uri="{FF2B5EF4-FFF2-40B4-BE49-F238E27FC236}">
                  <a16:creationId xmlns:a16="http://schemas.microsoft.com/office/drawing/2014/main" id="{AB6D7900-AB43-4ED6-BD00-E1C519614E81}"/>
                </a:ext>
              </a:extLst>
            </p:cNvPr>
            <p:cNvSpPr>
              <a:spLocks noEditPoints="1"/>
            </p:cNvSpPr>
            <p:nvPr userDrawn="1"/>
          </p:nvSpPr>
          <p:spPr bwMode="auto">
            <a:xfrm>
              <a:off x="408403" y="3128541"/>
              <a:ext cx="250199" cy="204163"/>
            </a:xfrm>
            <a:custGeom>
              <a:avLst/>
              <a:gdLst>
                <a:gd name="T0" fmla="*/ 132 w 510"/>
                <a:gd name="T1" fmla="*/ 180 h 444"/>
                <a:gd name="T2" fmla="*/ 284 w 510"/>
                <a:gd name="T3" fmla="*/ 180 h 444"/>
                <a:gd name="T4" fmla="*/ 284 w 510"/>
                <a:gd name="T5" fmla="*/ 151 h 444"/>
                <a:gd name="T6" fmla="*/ 132 w 510"/>
                <a:gd name="T7" fmla="*/ 151 h 444"/>
                <a:gd name="T8" fmla="*/ 132 w 510"/>
                <a:gd name="T9" fmla="*/ 180 h 444"/>
                <a:gd name="T10" fmla="*/ 91 w 510"/>
                <a:gd name="T11" fmla="*/ 444 h 444"/>
                <a:gd name="T12" fmla="*/ 76 w 510"/>
                <a:gd name="T13" fmla="*/ 429 h 444"/>
                <a:gd name="T14" fmla="*/ 76 w 510"/>
                <a:gd name="T15" fmla="*/ 268 h 444"/>
                <a:gd name="T16" fmla="*/ 52 w 510"/>
                <a:gd name="T17" fmla="*/ 273 h 444"/>
                <a:gd name="T18" fmla="*/ 0 w 510"/>
                <a:gd name="T19" fmla="*/ 221 h 444"/>
                <a:gd name="T20" fmla="*/ 0 w 510"/>
                <a:gd name="T21" fmla="*/ 52 h 444"/>
                <a:gd name="T22" fmla="*/ 54 w 510"/>
                <a:gd name="T23" fmla="*/ 0 h 444"/>
                <a:gd name="T24" fmla="*/ 459 w 510"/>
                <a:gd name="T25" fmla="*/ 0 h 444"/>
                <a:gd name="T26" fmla="*/ 510 w 510"/>
                <a:gd name="T27" fmla="*/ 52 h 444"/>
                <a:gd name="T28" fmla="*/ 510 w 510"/>
                <a:gd name="T29" fmla="*/ 221 h 444"/>
                <a:gd name="T30" fmla="*/ 458 w 510"/>
                <a:gd name="T31" fmla="*/ 273 h 444"/>
                <a:gd name="T32" fmla="*/ 435 w 510"/>
                <a:gd name="T33" fmla="*/ 267 h 444"/>
                <a:gd name="T34" fmla="*/ 435 w 510"/>
                <a:gd name="T35" fmla="*/ 429 h 444"/>
                <a:gd name="T36" fmla="*/ 422 w 510"/>
                <a:gd name="T37" fmla="*/ 444 h 444"/>
                <a:gd name="T38" fmla="*/ 91 w 510"/>
                <a:gd name="T39" fmla="*/ 444 h 444"/>
                <a:gd name="T40" fmla="*/ 406 w 510"/>
                <a:gd name="T41" fmla="*/ 416 h 444"/>
                <a:gd name="T42" fmla="*/ 406 w 510"/>
                <a:gd name="T43" fmla="*/ 124 h 444"/>
                <a:gd name="T44" fmla="*/ 110 w 510"/>
                <a:gd name="T45" fmla="*/ 124 h 444"/>
                <a:gd name="T46" fmla="*/ 105 w 510"/>
                <a:gd name="T47" fmla="*/ 127 h 444"/>
                <a:gd name="T48" fmla="*/ 105 w 510"/>
                <a:gd name="T49" fmla="*/ 416 h 444"/>
                <a:gd name="T50" fmla="*/ 406 w 510"/>
                <a:gd name="T51" fmla="*/ 416 h 444"/>
                <a:gd name="T52" fmla="*/ 435 w 510"/>
                <a:gd name="T53" fmla="*/ 221 h 444"/>
                <a:gd name="T54" fmla="*/ 458 w 510"/>
                <a:gd name="T55" fmla="*/ 245 h 444"/>
                <a:gd name="T56" fmla="*/ 481 w 510"/>
                <a:gd name="T57" fmla="*/ 221 h 444"/>
                <a:gd name="T58" fmla="*/ 481 w 510"/>
                <a:gd name="T59" fmla="*/ 52 h 444"/>
                <a:gd name="T60" fmla="*/ 459 w 510"/>
                <a:gd name="T61" fmla="*/ 29 h 444"/>
                <a:gd name="T62" fmla="*/ 54 w 510"/>
                <a:gd name="T63" fmla="*/ 29 h 444"/>
                <a:gd name="T64" fmla="*/ 29 w 510"/>
                <a:gd name="T65" fmla="*/ 52 h 444"/>
                <a:gd name="T66" fmla="*/ 29 w 510"/>
                <a:gd name="T67" fmla="*/ 221 h 444"/>
                <a:gd name="T68" fmla="*/ 52 w 510"/>
                <a:gd name="T69" fmla="*/ 245 h 444"/>
                <a:gd name="T70" fmla="*/ 76 w 510"/>
                <a:gd name="T71" fmla="*/ 221 h 444"/>
                <a:gd name="T72" fmla="*/ 76 w 510"/>
                <a:gd name="T73" fmla="*/ 124 h 444"/>
                <a:gd name="T74" fmla="*/ 57 w 510"/>
                <a:gd name="T75" fmla="*/ 124 h 444"/>
                <a:gd name="T76" fmla="*/ 57 w 510"/>
                <a:gd name="T77" fmla="*/ 95 h 444"/>
                <a:gd name="T78" fmla="*/ 454 w 510"/>
                <a:gd name="T79" fmla="*/ 95 h 444"/>
                <a:gd name="T80" fmla="*/ 454 w 510"/>
                <a:gd name="T81" fmla="*/ 124 h 444"/>
                <a:gd name="T82" fmla="*/ 435 w 510"/>
                <a:gd name="T83" fmla="*/ 124 h 444"/>
                <a:gd name="T84" fmla="*/ 435 w 510"/>
                <a:gd name="T85" fmla="*/ 221 h 444"/>
                <a:gd name="T86" fmla="*/ 132 w 510"/>
                <a:gd name="T87" fmla="*/ 312 h 444"/>
                <a:gd name="T88" fmla="*/ 331 w 510"/>
                <a:gd name="T89" fmla="*/ 312 h 444"/>
                <a:gd name="T90" fmla="*/ 331 w 510"/>
                <a:gd name="T91" fmla="*/ 284 h 444"/>
                <a:gd name="T92" fmla="*/ 132 w 510"/>
                <a:gd name="T93" fmla="*/ 284 h 444"/>
                <a:gd name="T94" fmla="*/ 132 w 510"/>
                <a:gd name="T95" fmla="*/ 312 h 444"/>
                <a:gd name="T96" fmla="*/ 132 w 510"/>
                <a:gd name="T97" fmla="*/ 246 h 444"/>
                <a:gd name="T98" fmla="*/ 331 w 510"/>
                <a:gd name="T99" fmla="*/ 246 h 444"/>
                <a:gd name="T100" fmla="*/ 331 w 510"/>
                <a:gd name="T101" fmla="*/ 217 h 444"/>
                <a:gd name="T102" fmla="*/ 132 w 510"/>
                <a:gd name="T103" fmla="*/ 217 h 444"/>
                <a:gd name="T104" fmla="*/ 132 w 510"/>
                <a:gd name="T105" fmla="*/ 246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0" h="444">
                  <a:moveTo>
                    <a:pt x="132" y="180"/>
                  </a:moveTo>
                  <a:lnTo>
                    <a:pt x="284" y="180"/>
                  </a:lnTo>
                  <a:lnTo>
                    <a:pt x="284" y="151"/>
                  </a:lnTo>
                  <a:lnTo>
                    <a:pt x="132" y="151"/>
                  </a:lnTo>
                  <a:lnTo>
                    <a:pt x="132" y="180"/>
                  </a:lnTo>
                  <a:close/>
                  <a:moveTo>
                    <a:pt x="91" y="444"/>
                  </a:moveTo>
                  <a:cubicBezTo>
                    <a:pt x="83" y="444"/>
                    <a:pt x="76" y="437"/>
                    <a:pt x="76" y="429"/>
                  </a:cubicBezTo>
                  <a:lnTo>
                    <a:pt x="76" y="268"/>
                  </a:lnTo>
                  <a:cubicBezTo>
                    <a:pt x="69" y="271"/>
                    <a:pt x="61" y="273"/>
                    <a:pt x="52" y="273"/>
                  </a:cubicBezTo>
                  <a:cubicBezTo>
                    <a:pt x="24" y="273"/>
                    <a:pt x="0" y="250"/>
                    <a:pt x="0" y="221"/>
                  </a:cubicBezTo>
                  <a:lnTo>
                    <a:pt x="0" y="52"/>
                  </a:lnTo>
                  <a:cubicBezTo>
                    <a:pt x="0" y="23"/>
                    <a:pt x="24" y="0"/>
                    <a:pt x="54" y="0"/>
                  </a:cubicBezTo>
                  <a:lnTo>
                    <a:pt x="459" y="0"/>
                  </a:lnTo>
                  <a:cubicBezTo>
                    <a:pt x="488" y="0"/>
                    <a:pt x="510" y="23"/>
                    <a:pt x="510" y="52"/>
                  </a:cubicBezTo>
                  <a:lnTo>
                    <a:pt x="510" y="221"/>
                  </a:lnTo>
                  <a:cubicBezTo>
                    <a:pt x="510" y="250"/>
                    <a:pt x="487" y="273"/>
                    <a:pt x="458" y="273"/>
                  </a:cubicBezTo>
                  <a:cubicBezTo>
                    <a:pt x="449" y="273"/>
                    <a:pt x="442" y="271"/>
                    <a:pt x="435" y="267"/>
                  </a:cubicBezTo>
                  <a:lnTo>
                    <a:pt x="435" y="429"/>
                  </a:lnTo>
                  <a:cubicBezTo>
                    <a:pt x="435" y="437"/>
                    <a:pt x="430" y="444"/>
                    <a:pt x="422" y="444"/>
                  </a:cubicBezTo>
                  <a:lnTo>
                    <a:pt x="91" y="444"/>
                  </a:lnTo>
                  <a:close/>
                  <a:moveTo>
                    <a:pt x="406" y="416"/>
                  </a:moveTo>
                  <a:lnTo>
                    <a:pt x="406" y="124"/>
                  </a:lnTo>
                  <a:lnTo>
                    <a:pt x="110" y="124"/>
                  </a:lnTo>
                  <a:cubicBezTo>
                    <a:pt x="108" y="124"/>
                    <a:pt x="105" y="125"/>
                    <a:pt x="105" y="127"/>
                  </a:cubicBezTo>
                  <a:lnTo>
                    <a:pt x="105" y="416"/>
                  </a:lnTo>
                  <a:lnTo>
                    <a:pt x="406" y="416"/>
                  </a:lnTo>
                  <a:close/>
                  <a:moveTo>
                    <a:pt x="435" y="221"/>
                  </a:moveTo>
                  <a:cubicBezTo>
                    <a:pt x="435" y="234"/>
                    <a:pt x="445" y="245"/>
                    <a:pt x="458" y="245"/>
                  </a:cubicBezTo>
                  <a:cubicBezTo>
                    <a:pt x="471" y="245"/>
                    <a:pt x="481" y="234"/>
                    <a:pt x="481" y="221"/>
                  </a:cubicBezTo>
                  <a:lnTo>
                    <a:pt x="481" y="52"/>
                  </a:lnTo>
                  <a:cubicBezTo>
                    <a:pt x="481" y="39"/>
                    <a:pt x="472" y="29"/>
                    <a:pt x="459" y="29"/>
                  </a:cubicBezTo>
                  <a:lnTo>
                    <a:pt x="54" y="29"/>
                  </a:lnTo>
                  <a:cubicBezTo>
                    <a:pt x="40" y="29"/>
                    <a:pt x="29" y="39"/>
                    <a:pt x="29" y="52"/>
                  </a:cubicBezTo>
                  <a:lnTo>
                    <a:pt x="29" y="221"/>
                  </a:lnTo>
                  <a:cubicBezTo>
                    <a:pt x="29" y="234"/>
                    <a:pt x="40" y="245"/>
                    <a:pt x="52" y="245"/>
                  </a:cubicBezTo>
                  <a:cubicBezTo>
                    <a:pt x="65" y="245"/>
                    <a:pt x="76" y="234"/>
                    <a:pt x="76" y="221"/>
                  </a:cubicBezTo>
                  <a:lnTo>
                    <a:pt x="76" y="124"/>
                  </a:lnTo>
                  <a:lnTo>
                    <a:pt x="57" y="124"/>
                  </a:lnTo>
                  <a:lnTo>
                    <a:pt x="57" y="95"/>
                  </a:lnTo>
                  <a:lnTo>
                    <a:pt x="454" y="95"/>
                  </a:lnTo>
                  <a:lnTo>
                    <a:pt x="454" y="124"/>
                  </a:lnTo>
                  <a:lnTo>
                    <a:pt x="435" y="124"/>
                  </a:lnTo>
                  <a:lnTo>
                    <a:pt x="435" y="221"/>
                  </a:lnTo>
                  <a:close/>
                  <a:moveTo>
                    <a:pt x="132" y="312"/>
                  </a:moveTo>
                  <a:lnTo>
                    <a:pt x="331" y="312"/>
                  </a:lnTo>
                  <a:lnTo>
                    <a:pt x="331" y="284"/>
                  </a:lnTo>
                  <a:lnTo>
                    <a:pt x="132" y="284"/>
                  </a:lnTo>
                  <a:lnTo>
                    <a:pt x="132" y="312"/>
                  </a:lnTo>
                  <a:close/>
                  <a:moveTo>
                    <a:pt x="132" y="246"/>
                  </a:moveTo>
                  <a:lnTo>
                    <a:pt x="331" y="246"/>
                  </a:lnTo>
                  <a:lnTo>
                    <a:pt x="331" y="217"/>
                  </a:lnTo>
                  <a:lnTo>
                    <a:pt x="132" y="217"/>
                  </a:lnTo>
                  <a:lnTo>
                    <a:pt x="132" y="246"/>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p>
          </p:txBody>
        </p:sp>
        <p:sp>
          <p:nvSpPr>
            <p:cNvPr id="22" name="Freeform 7">
              <a:extLst>
                <a:ext uri="{FF2B5EF4-FFF2-40B4-BE49-F238E27FC236}">
                  <a16:creationId xmlns:a16="http://schemas.microsoft.com/office/drawing/2014/main" id="{6EF7D67B-8E72-40BC-B6D4-E1217D1005C1}"/>
                </a:ext>
              </a:extLst>
            </p:cNvPr>
            <p:cNvSpPr>
              <a:spLocks noEditPoints="1"/>
            </p:cNvSpPr>
            <p:nvPr userDrawn="1"/>
          </p:nvSpPr>
          <p:spPr bwMode="auto">
            <a:xfrm>
              <a:off x="406401" y="2788271"/>
              <a:ext cx="252201" cy="234186"/>
            </a:xfrm>
            <a:custGeom>
              <a:avLst/>
              <a:gdLst>
                <a:gd name="T0" fmla="*/ 412 w 517"/>
                <a:gd name="T1" fmla="*/ 510 h 510"/>
                <a:gd name="T2" fmla="*/ 337 w 517"/>
                <a:gd name="T3" fmla="*/ 494 h 510"/>
                <a:gd name="T4" fmla="*/ 150 w 517"/>
                <a:gd name="T5" fmla="*/ 366 h 510"/>
                <a:gd name="T6" fmla="*/ 22 w 517"/>
                <a:gd name="T7" fmla="*/ 180 h 510"/>
                <a:gd name="T8" fmla="*/ 23 w 517"/>
                <a:gd name="T9" fmla="*/ 52 h 510"/>
                <a:gd name="T10" fmla="*/ 30 w 517"/>
                <a:gd name="T11" fmla="*/ 45 h 510"/>
                <a:gd name="T12" fmla="*/ 103 w 517"/>
                <a:gd name="T13" fmla="*/ 0 h 510"/>
                <a:gd name="T14" fmla="*/ 168 w 517"/>
                <a:gd name="T15" fmla="*/ 39 h 510"/>
                <a:gd name="T16" fmla="*/ 169 w 517"/>
                <a:gd name="T17" fmla="*/ 173 h 510"/>
                <a:gd name="T18" fmla="*/ 164 w 517"/>
                <a:gd name="T19" fmla="*/ 178 h 510"/>
                <a:gd name="T20" fmla="*/ 235 w 517"/>
                <a:gd name="T21" fmla="*/ 281 h 510"/>
                <a:gd name="T22" fmla="*/ 304 w 517"/>
                <a:gd name="T23" fmla="*/ 341 h 510"/>
                <a:gd name="T24" fmla="*/ 334 w 517"/>
                <a:gd name="T25" fmla="*/ 354 h 510"/>
                <a:gd name="T26" fmla="*/ 343 w 517"/>
                <a:gd name="T27" fmla="*/ 347 h 510"/>
                <a:gd name="T28" fmla="*/ 402 w 517"/>
                <a:gd name="T29" fmla="*/ 313 h 510"/>
                <a:gd name="T30" fmla="*/ 477 w 517"/>
                <a:gd name="T31" fmla="*/ 349 h 510"/>
                <a:gd name="T32" fmla="*/ 516 w 517"/>
                <a:gd name="T33" fmla="*/ 411 h 510"/>
                <a:gd name="T34" fmla="*/ 473 w 517"/>
                <a:gd name="T35" fmla="*/ 484 h 510"/>
                <a:gd name="T36" fmla="*/ 464 w 517"/>
                <a:gd name="T37" fmla="*/ 493 h 510"/>
                <a:gd name="T38" fmla="*/ 412 w 517"/>
                <a:gd name="T39" fmla="*/ 510 h 510"/>
                <a:gd name="T40" fmla="*/ 103 w 517"/>
                <a:gd name="T41" fmla="*/ 30 h 510"/>
                <a:gd name="T42" fmla="*/ 54 w 517"/>
                <a:gd name="T43" fmla="*/ 64 h 510"/>
                <a:gd name="T44" fmla="*/ 45 w 517"/>
                <a:gd name="T45" fmla="*/ 74 h 510"/>
                <a:gd name="T46" fmla="*/ 50 w 517"/>
                <a:gd name="T47" fmla="*/ 169 h 510"/>
                <a:gd name="T48" fmla="*/ 171 w 517"/>
                <a:gd name="T49" fmla="*/ 345 h 510"/>
                <a:gd name="T50" fmla="*/ 347 w 517"/>
                <a:gd name="T51" fmla="*/ 466 h 510"/>
                <a:gd name="T52" fmla="*/ 412 w 517"/>
                <a:gd name="T53" fmla="*/ 480 h 510"/>
                <a:gd name="T54" fmla="*/ 443 w 517"/>
                <a:gd name="T55" fmla="*/ 472 h 510"/>
                <a:gd name="T56" fmla="*/ 452 w 517"/>
                <a:gd name="T57" fmla="*/ 462 h 510"/>
                <a:gd name="T58" fmla="*/ 486 w 517"/>
                <a:gd name="T59" fmla="*/ 412 h 510"/>
                <a:gd name="T60" fmla="*/ 458 w 517"/>
                <a:gd name="T61" fmla="*/ 372 h 510"/>
                <a:gd name="T62" fmla="*/ 403 w 517"/>
                <a:gd name="T63" fmla="*/ 343 h 510"/>
                <a:gd name="T64" fmla="*/ 365 w 517"/>
                <a:gd name="T65" fmla="*/ 368 h 510"/>
                <a:gd name="T66" fmla="*/ 359 w 517"/>
                <a:gd name="T67" fmla="*/ 374 h 510"/>
                <a:gd name="T68" fmla="*/ 334 w 517"/>
                <a:gd name="T69" fmla="*/ 384 h 510"/>
                <a:gd name="T70" fmla="*/ 288 w 517"/>
                <a:gd name="T71" fmla="*/ 366 h 510"/>
                <a:gd name="T72" fmla="*/ 214 w 517"/>
                <a:gd name="T73" fmla="*/ 303 h 510"/>
                <a:gd name="T74" fmla="*/ 142 w 517"/>
                <a:gd name="T75" fmla="*/ 157 h 510"/>
                <a:gd name="T76" fmla="*/ 148 w 517"/>
                <a:gd name="T77" fmla="*/ 152 h 510"/>
                <a:gd name="T78" fmla="*/ 144 w 517"/>
                <a:gd name="T79" fmla="*/ 58 h 510"/>
                <a:gd name="T80" fmla="*/ 104 w 517"/>
                <a:gd name="T81" fmla="*/ 30 h 510"/>
                <a:gd name="T82" fmla="*/ 103 w 517"/>
                <a:gd name="T83" fmla="*/ 23 h 510"/>
                <a:gd name="T84" fmla="*/ 103 w 517"/>
                <a:gd name="T85" fmla="*/ 3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7" h="510">
                  <a:moveTo>
                    <a:pt x="412" y="510"/>
                  </a:moveTo>
                  <a:cubicBezTo>
                    <a:pt x="390" y="510"/>
                    <a:pt x="364" y="505"/>
                    <a:pt x="337" y="494"/>
                  </a:cubicBezTo>
                  <a:cubicBezTo>
                    <a:pt x="276" y="471"/>
                    <a:pt x="209" y="426"/>
                    <a:pt x="150" y="366"/>
                  </a:cubicBezTo>
                  <a:cubicBezTo>
                    <a:pt x="90" y="307"/>
                    <a:pt x="45" y="241"/>
                    <a:pt x="22" y="180"/>
                  </a:cubicBezTo>
                  <a:cubicBezTo>
                    <a:pt x="0" y="122"/>
                    <a:pt x="1" y="75"/>
                    <a:pt x="23" y="52"/>
                  </a:cubicBezTo>
                  <a:lnTo>
                    <a:pt x="30" y="45"/>
                  </a:lnTo>
                  <a:cubicBezTo>
                    <a:pt x="52" y="23"/>
                    <a:pt x="73" y="0"/>
                    <a:pt x="103" y="0"/>
                  </a:cubicBezTo>
                  <a:cubicBezTo>
                    <a:pt x="127" y="1"/>
                    <a:pt x="147" y="14"/>
                    <a:pt x="168" y="39"/>
                  </a:cubicBezTo>
                  <a:cubicBezTo>
                    <a:pt x="228" y="115"/>
                    <a:pt x="199" y="143"/>
                    <a:pt x="169" y="173"/>
                  </a:cubicBezTo>
                  <a:lnTo>
                    <a:pt x="164" y="178"/>
                  </a:lnTo>
                  <a:cubicBezTo>
                    <a:pt x="163" y="178"/>
                    <a:pt x="150" y="197"/>
                    <a:pt x="235" y="281"/>
                  </a:cubicBezTo>
                  <a:cubicBezTo>
                    <a:pt x="262" y="309"/>
                    <a:pt x="286" y="329"/>
                    <a:pt x="304" y="341"/>
                  </a:cubicBezTo>
                  <a:cubicBezTo>
                    <a:pt x="317" y="349"/>
                    <a:pt x="328" y="354"/>
                    <a:pt x="334" y="354"/>
                  </a:cubicBezTo>
                  <a:lnTo>
                    <a:pt x="343" y="347"/>
                  </a:lnTo>
                  <a:cubicBezTo>
                    <a:pt x="360" y="331"/>
                    <a:pt x="377" y="313"/>
                    <a:pt x="402" y="313"/>
                  </a:cubicBezTo>
                  <a:cubicBezTo>
                    <a:pt x="423" y="313"/>
                    <a:pt x="447" y="324"/>
                    <a:pt x="477" y="349"/>
                  </a:cubicBezTo>
                  <a:cubicBezTo>
                    <a:pt x="502" y="369"/>
                    <a:pt x="515" y="389"/>
                    <a:pt x="516" y="411"/>
                  </a:cubicBezTo>
                  <a:cubicBezTo>
                    <a:pt x="517" y="442"/>
                    <a:pt x="494" y="464"/>
                    <a:pt x="473" y="484"/>
                  </a:cubicBezTo>
                  <a:lnTo>
                    <a:pt x="464" y="493"/>
                  </a:lnTo>
                  <a:cubicBezTo>
                    <a:pt x="453" y="504"/>
                    <a:pt x="435" y="510"/>
                    <a:pt x="412" y="510"/>
                  </a:cubicBezTo>
                  <a:close/>
                  <a:moveTo>
                    <a:pt x="103" y="30"/>
                  </a:moveTo>
                  <a:cubicBezTo>
                    <a:pt x="86" y="30"/>
                    <a:pt x="69" y="48"/>
                    <a:pt x="54" y="64"/>
                  </a:cubicBezTo>
                  <a:lnTo>
                    <a:pt x="45" y="74"/>
                  </a:lnTo>
                  <a:cubicBezTo>
                    <a:pt x="34" y="85"/>
                    <a:pt x="31" y="118"/>
                    <a:pt x="50" y="169"/>
                  </a:cubicBezTo>
                  <a:cubicBezTo>
                    <a:pt x="72" y="226"/>
                    <a:pt x="115" y="289"/>
                    <a:pt x="171" y="345"/>
                  </a:cubicBezTo>
                  <a:cubicBezTo>
                    <a:pt x="228" y="402"/>
                    <a:pt x="290" y="445"/>
                    <a:pt x="347" y="466"/>
                  </a:cubicBezTo>
                  <a:cubicBezTo>
                    <a:pt x="371" y="475"/>
                    <a:pt x="394" y="480"/>
                    <a:pt x="412" y="480"/>
                  </a:cubicBezTo>
                  <a:cubicBezTo>
                    <a:pt x="426" y="480"/>
                    <a:pt x="437" y="477"/>
                    <a:pt x="443" y="472"/>
                  </a:cubicBezTo>
                  <a:lnTo>
                    <a:pt x="452" y="462"/>
                  </a:lnTo>
                  <a:cubicBezTo>
                    <a:pt x="469" y="447"/>
                    <a:pt x="487" y="429"/>
                    <a:pt x="486" y="412"/>
                  </a:cubicBezTo>
                  <a:cubicBezTo>
                    <a:pt x="486" y="400"/>
                    <a:pt x="476" y="386"/>
                    <a:pt x="458" y="372"/>
                  </a:cubicBezTo>
                  <a:cubicBezTo>
                    <a:pt x="434" y="352"/>
                    <a:pt x="417" y="343"/>
                    <a:pt x="403" y="343"/>
                  </a:cubicBezTo>
                  <a:cubicBezTo>
                    <a:pt x="389" y="343"/>
                    <a:pt x="379" y="354"/>
                    <a:pt x="365" y="368"/>
                  </a:cubicBezTo>
                  <a:lnTo>
                    <a:pt x="359" y="374"/>
                  </a:lnTo>
                  <a:cubicBezTo>
                    <a:pt x="353" y="380"/>
                    <a:pt x="344" y="384"/>
                    <a:pt x="334" y="384"/>
                  </a:cubicBezTo>
                  <a:cubicBezTo>
                    <a:pt x="321" y="384"/>
                    <a:pt x="306" y="378"/>
                    <a:pt x="288" y="366"/>
                  </a:cubicBezTo>
                  <a:cubicBezTo>
                    <a:pt x="267" y="353"/>
                    <a:pt x="243" y="332"/>
                    <a:pt x="214" y="303"/>
                  </a:cubicBezTo>
                  <a:cubicBezTo>
                    <a:pt x="139" y="228"/>
                    <a:pt x="117" y="183"/>
                    <a:pt x="142" y="157"/>
                  </a:cubicBezTo>
                  <a:lnTo>
                    <a:pt x="148" y="152"/>
                  </a:lnTo>
                  <a:cubicBezTo>
                    <a:pt x="175" y="125"/>
                    <a:pt x="188" y="112"/>
                    <a:pt x="144" y="58"/>
                  </a:cubicBezTo>
                  <a:cubicBezTo>
                    <a:pt x="130" y="40"/>
                    <a:pt x="116" y="31"/>
                    <a:pt x="104" y="30"/>
                  </a:cubicBezTo>
                  <a:lnTo>
                    <a:pt x="103" y="23"/>
                  </a:lnTo>
                  <a:lnTo>
                    <a:pt x="103" y="3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p>
          </p:txBody>
        </p:sp>
        <p:sp>
          <p:nvSpPr>
            <p:cNvPr id="23" name="Freeform 8">
              <a:extLst>
                <a:ext uri="{FF2B5EF4-FFF2-40B4-BE49-F238E27FC236}">
                  <a16:creationId xmlns:a16="http://schemas.microsoft.com/office/drawing/2014/main" id="{83FF16C3-062C-48A2-8BF7-A4F26AB18380}"/>
                </a:ext>
              </a:extLst>
            </p:cNvPr>
            <p:cNvSpPr>
              <a:spLocks noEditPoints="1"/>
            </p:cNvSpPr>
            <p:nvPr userDrawn="1"/>
          </p:nvSpPr>
          <p:spPr bwMode="auto">
            <a:xfrm>
              <a:off x="408403" y="3769052"/>
              <a:ext cx="250199" cy="198158"/>
            </a:xfrm>
            <a:custGeom>
              <a:avLst/>
              <a:gdLst>
                <a:gd name="T0" fmla="*/ 504 w 510"/>
                <a:gd name="T1" fmla="*/ 0 h 430"/>
                <a:gd name="T2" fmla="*/ 6 w 510"/>
                <a:gd name="T3" fmla="*/ 0 h 430"/>
                <a:gd name="T4" fmla="*/ 0 w 510"/>
                <a:gd name="T5" fmla="*/ 6 h 430"/>
                <a:gd name="T6" fmla="*/ 0 w 510"/>
                <a:gd name="T7" fmla="*/ 350 h 430"/>
                <a:gd name="T8" fmla="*/ 6 w 510"/>
                <a:gd name="T9" fmla="*/ 356 h 430"/>
                <a:gd name="T10" fmla="*/ 239 w 510"/>
                <a:gd name="T11" fmla="*/ 356 h 430"/>
                <a:gd name="T12" fmla="*/ 239 w 510"/>
                <a:gd name="T13" fmla="*/ 398 h 430"/>
                <a:gd name="T14" fmla="*/ 179 w 510"/>
                <a:gd name="T15" fmla="*/ 398 h 430"/>
                <a:gd name="T16" fmla="*/ 173 w 510"/>
                <a:gd name="T17" fmla="*/ 404 h 430"/>
                <a:gd name="T18" fmla="*/ 173 w 510"/>
                <a:gd name="T19" fmla="*/ 423 h 430"/>
                <a:gd name="T20" fmla="*/ 179 w 510"/>
                <a:gd name="T21" fmla="*/ 430 h 430"/>
                <a:gd name="T22" fmla="*/ 331 w 510"/>
                <a:gd name="T23" fmla="*/ 430 h 430"/>
                <a:gd name="T24" fmla="*/ 338 w 510"/>
                <a:gd name="T25" fmla="*/ 423 h 430"/>
                <a:gd name="T26" fmla="*/ 338 w 510"/>
                <a:gd name="T27" fmla="*/ 404 h 430"/>
                <a:gd name="T28" fmla="*/ 331 w 510"/>
                <a:gd name="T29" fmla="*/ 398 h 430"/>
                <a:gd name="T30" fmla="*/ 272 w 510"/>
                <a:gd name="T31" fmla="*/ 398 h 430"/>
                <a:gd name="T32" fmla="*/ 272 w 510"/>
                <a:gd name="T33" fmla="*/ 356 h 430"/>
                <a:gd name="T34" fmla="*/ 504 w 510"/>
                <a:gd name="T35" fmla="*/ 356 h 430"/>
                <a:gd name="T36" fmla="*/ 510 w 510"/>
                <a:gd name="T37" fmla="*/ 350 h 430"/>
                <a:gd name="T38" fmla="*/ 510 w 510"/>
                <a:gd name="T39" fmla="*/ 6 h 430"/>
                <a:gd name="T40" fmla="*/ 504 w 510"/>
                <a:gd name="T41" fmla="*/ 0 h 430"/>
                <a:gd name="T42" fmla="*/ 477 w 510"/>
                <a:gd name="T43" fmla="*/ 325 h 430"/>
                <a:gd name="T44" fmla="*/ 33 w 510"/>
                <a:gd name="T45" fmla="*/ 325 h 430"/>
                <a:gd name="T46" fmla="*/ 33 w 510"/>
                <a:gd name="T47" fmla="*/ 32 h 430"/>
                <a:gd name="T48" fmla="*/ 477 w 510"/>
                <a:gd name="T49" fmla="*/ 32 h 430"/>
                <a:gd name="T50" fmla="*/ 477 w 510"/>
                <a:gd name="T51" fmla="*/ 32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0" h="430">
                  <a:moveTo>
                    <a:pt x="504" y="0"/>
                  </a:moveTo>
                  <a:lnTo>
                    <a:pt x="6" y="0"/>
                  </a:lnTo>
                  <a:cubicBezTo>
                    <a:pt x="3" y="0"/>
                    <a:pt x="0" y="2"/>
                    <a:pt x="0" y="6"/>
                  </a:cubicBezTo>
                  <a:lnTo>
                    <a:pt x="0" y="350"/>
                  </a:lnTo>
                  <a:cubicBezTo>
                    <a:pt x="0" y="353"/>
                    <a:pt x="3" y="356"/>
                    <a:pt x="6" y="356"/>
                  </a:cubicBezTo>
                  <a:lnTo>
                    <a:pt x="239" y="356"/>
                  </a:lnTo>
                  <a:lnTo>
                    <a:pt x="239" y="398"/>
                  </a:lnTo>
                  <a:lnTo>
                    <a:pt x="179" y="398"/>
                  </a:lnTo>
                  <a:cubicBezTo>
                    <a:pt x="175" y="398"/>
                    <a:pt x="173" y="401"/>
                    <a:pt x="173" y="404"/>
                  </a:cubicBezTo>
                  <a:lnTo>
                    <a:pt x="173" y="423"/>
                  </a:lnTo>
                  <a:cubicBezTo>
                    <a:pt x="173" y="427"/>
                    <a:pt x="175" y="430"/>
                    <a:pt x="179" y="430"/>
                  </a:cubicBezTo>
                  <a:lnTo>
                    <a:pt x="331" y="430"/>
                  </a:lnTo>
                  <a:cubicBezTo>
                    <a:pt x="335" y="430"/>
                    <a:pt x="338" y="427"/>
                    <a:pt x="338" y="423"/>
                  </a:cubicBezTo>
                  <a:lnTo>
                    <a:pt x="338" y="404"/>
                  </a:lnTo>
                  <a:cubicBezTo>
                    <a:pt x="338" y="401"/>
                    <a:pt x="335" y="398"/>
                    <a:pt x="331" y="398"/>
                  </a:cubicBezTo>
                  <a:lnTo>
                    <a:pt x="272" y="398"/>
                  </a:lnTo>
                  <a:lnTo>
                    <a:pt x="272" y="356"/>
                  </a:lnTo>
                  <a:lnTo>
                    <a:pt x="504" y="356"/>
                  </a:lnTo>
                  <a:cubicBezTo>
                    <a:pt x="507" y="356"/>
                    <a:pt x="510" y="353"/>
                    <a:pt x="510" y="350"/>
                  </a:cubicBezTo>
                  <a:lnTo>
                    <a:pt x="510" y="6"/>
                  </a:lnTo>
                  <a:cubicBezTo>
                    <a:pt x="510" y="2"/>
                    <a:pt x="507" y="0"/>
                    <a:pt x="504" y="0"/>
                  </a:cubicBezTo>
                  <a:close/>
                  <a:moveTo>
                    <a:pt x="477" y="325"/>
                  </a:moveTo>
                  <a:lnTo>
                    <a:pt x="33" y="325"/>
                  </a:lnTo>
                  <a:lnTo>
                    <a:pt x="33" y="32"/>
                  </a:lnTo>
                  <a:lnTo>
                    <a:pt x="477" y="32"/>
                  </a:lnTo>
                  <a:lnTo>
                    <a:pt x="477" y="32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de-DE"/>
            </a:p>
          </p:txBody>
        </p:sp>
      </p:grpSp>
    </p:spTree>
    <p:extLst>
      <p:ext uri="{BB962C8B-B14F-4D97-AF65-F5344CB8AC3E}">
        <p14:creationId xmlns:p14="http://schemas.microsoft.com/office/powerpoint/2010/main" val="1622114135"/>
      </p:ext>
    </p:extLst>
  </p:cSld>
  <p:clrMapOvr>
    <a:masterClrMapping/>
  </p:clrMapOvr>
  <p:transition spd="med">
    <p:fade/>
  </p:transition>
  <p:extLst>
    <p:ext uri="{DCECCB84-F9BA-43D5-87BE-67443E8EF086}">
      <p15:sldGuideLst xmlns:p15="http://schemas.microsoft.com/office/powerpoint/2012/main">
        <p15:guide id="1" orient="horz" pos="2478">
          <p15:clr>
            <a:srgbClr val="FBAE40"/>
          </p15:clr>
        </p15:guide>
        <p15:guide id="2" orient="horz" pos="2886">
          <p15:clr>
            <a:srgbClr val="FBAE40"/>
          </p15:clr>
        </p15:guide>
        <p15:guide id="3" orient="horz" pos="295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spaltig">
    <p:spTree>
      <p:nvGrpSpPr>
        <p:cNvPr id="1" name=""/>
        <p:cNvGrpSpPr/>
        <p:nvPr/>
      </p:nvGrpSpPr>
      <p:grpSpPr>
        <a:xfrm>
          <a:off x="0" y="0"/>
          <a:ext cx="0" cy="0"/>
          <a:chOff x="0" y="0"/>
          <a:chExt cx="0" cy="0"/>
        </a:xfrm>
      </p:grpSpPr>
      <p:sp>
        <p:nvSpPr>
          <p:cNvPr id="9" name="Textplatzhalter 11"/>
          <p:cNvSpPr>
            <a:spLocks noGrp="1"/>
          </p:cNvSpPr>
          <p:nvPr>
            <p:ph type="body" sz="quarter" idx="24"/>
          </p:nvPr>
        </p:nvSpPr>
        <p:spPr>
          <a:xfrm>
            <a:off x="767825" y="1711371"/>
            <a:ext cx="10653000" cy="3829005"/>
          </a:xfrm>
          <a:prstGeom prst="rect">
            <a:avLst/>
          </a:prstGeom>
        </p:spPr>
        <p:txBody>
          <a:bodyPr lIns="0" tIns="0" rIns="0" bIns="0"/>
          <a:lstStyle>
            <a:lvl1pPr marL="0" indent="0">
              <a:spcBef>
                <a:spcPts val="0"/>
              </a:spcBef>
              <a:spcAft>
                <a:spcPts val="500"/>
              </a:spcAft>
              <a:buFontTx/>
              <a:buNone/>
              <a:defRPr baseline="0">
                <a:solidFill>
                  <a:schemeClr val="tx1">
                    <a:lumMod val="90000"/>
                    <a:lumOff val="10000"/>
                  </a:schemeClr>
                </a:solidFill>
                <a:latin typeface="Arial" pitchFamily="34" charset="0"/>
                <a:ea typeface="Verdana" pitchFamily="34" charset="0"/>
                <a:cs typeface="Arial" pitchFamily="34" charset="0"/>
              </a:defRPr>
            </a:lvl1pPr>
            <a:lvl2pPr marL="177800" indent="-177800">
              <a:spcBef>
                <a:spcPts val="0"/>
              </a:spcBef>
              <a:spcAft>
                <a:spcPts val="500"/>
              </a:spcAft>
              <a:buClr>
                <a:schemeClr val="tx2"/>
              </a:buClr>
              <a:buFont typeface="Wingdings" panose="05000000000000000000" pitchFamily="2" charset="2"/>
              <a:buChar char="§"/>
              <a:tabLst/>
              <a:defRPr>
                <a:solidFill>
                  <a:schemeClr val="tx1">
                    <a:lumMod val="90000"/>
                    <a:lumOff val="10000"/>
                  </a:schemeClr>
                </a:solidFill>
                <a:latin typeface="Arial" pitchFamily="34" charset="0"/>
                <a:ea typeface="Verdana" pitchFamily="34" charset="0"/>
                <a:cs typeface="Arial" pitchFamily="34" charset="0"/>
              </a:defRPr>
            </a:lvl2pPr>
            <a:lvl3pPr marL="0" indent="0">
              <a:buFontTx/>
              <a:buNone/>
              <a:defRPr>
                <a:solidFill>
                  <a:schemeClr val="tx1">
                    <a:lumMod val="90000"/>
                    <a:lumOff val="10000"/>
                  </a:schemeClr>
                </a:solidFill>
                <a:latin typeface="Verdana" pitchFamily="34" charset="0"/>
                <a:ea typeface="Verdana" pitchFamily="34" charset="0"/>
                <a:cs typeface="Verdana" pitchFamily="34" charset="0"/>
              </a:defRPr>
            </a:lvl3pPr>
            <a:lvl4pPr marL="0" indent="0">
              <a:buFontTx/>
              <a:buNone/>
              <a:defRPr>
                <a:solidFill>
                  <a:schemeClr val="tx1">
                    <a:lumMod val="90000"/>
                    <a:lumOff val="10000"/>
                  </a:schemeClr>
                </a:solidFill>
                <a:latin typeface="Verdana" pitchFamily="34" charset="0"/>
                <a:ea typeface="Verdana" pitchFamily="34" charset="0"/>
                <a:cs typeface="Verdana" pitchFamily="34" charset="0"/>
              </a:defRPr>
            </a:lvl4pPr>
            <a:lvl5pPr marL="0" indent="0">
              <a:buFontTx/>
              <a:buNone/>
              <a:defRPr>
                <a:solidFill>
                  <a:schemeClr val="tx1">
                    <a:lumMod val="90000"/>
                    <a:lumOff val="10000"/>
                  </a:schemeClr>
                </a:solidFill>
                <a:latin typeface="Verdana" pitchFamily="34" charset="0"/>
                <a:ea typeface="Verdana" pitchFamily="34" charset="0"/>
                <a:cs typeface="Verdana" pitchFamily="34" charset="0"/>
              </a:defRPr>
            </a:lvl5pPr>
          </a:lstStyle>
          <a:p>
            <a:pPr lvl="0"/>
            <a:r>
              <a:rPr lang="en-US"/>
              <a:t>Edit Master text styles</a:t>
            </a:r>
          </a:p>
          <a:p>
            <a:pPr lvl="1"/>
            <a:r>
              <a:rPr lang="en-US"/>
              <a:t>Second level</a:t>
            </a:r>
          </a:p>
        </p:txBody>
      </p:sp>
      <p:sp>
        <p:nvSpPr>
          <p:cNvPr id="10" name="Textplatzhalter 50"/>
          <p:cNvSpPr>
            <a:spLocks noGrp="1"/>
          </p:cNvSpPr>
          <p:nvPr>
            <p:ph type="body" sz="quarter" idx="22" hasCustomPrompt="1"/>
          </p:nvPr>
        </p:nvSpPr>
        <p:spPr>
          <a:xfrm>
            <a:off x="780949" y="731146"/>
            <a:ext cx="10639876" cy="243807"/>
          </a:xfrm>
          <a:prstGeom prst="rect">
            <a:avLst/>
          </a:prstGeom>
        </p:spPr>
        <p:txBody>
          <a:bodyPr lIns="0" tIns="0" rIns="0" bIns="0"/>
          <a:lstStyle>
            <a:lvl1pPr algn="l">
              <a:buFontTx/>
              <a:buNone/>
              <a:defRPr>
                <a:solidFill>
                  <a:schemeClr val="tx1">
                    <a:lumMod val="90000"/>
                    <a:lumOff val="10000"/>
                  </a:schemeClr>
                </a:solidFill>
                <a:latin typeface="Arial" pitchFamily="34" charset="0"/>
                <a:cs typeface="Arial" pitchFamily="34" charset="0"/>
              </a:defRPr>
            </a:lvl1pPr>
            <a:lvl2pPr algn="l">
              <a:buFontTx/>
              <a:buNone/>
              <a:defRPr>
                <a:solidFill>
                  <a:schemeClr val="tx1">
                    <a:lumMod val="90000"/>
                    <a:lumOff val="10000"/>
                  </a:schemeClr>
                </a:solidFill>
              </a:defRPr>
            </a:lvl2pPr>
            <a:lvl3pPr algn="l">
              <a:buFontTx/>
              <a:buNone/>
              <a:defRPr>
                <a:solidFill>
                  <a:schemeClr val="tx1">
                    <a:lumMod val="90000"/>
                    <a:lumOff val="10000"/>
                  </a:schemeClr>
                </a:solidFill>
              </a:defRPr>
            </a:lvl3pPr>
            <a:lvl4pPr algn="l">
              <a:buFontTx/>
              <a:buNone/>
              <a:defRPr>
                <a:solidFill>
                  <a:schemeClr val="tx1">
                    <a:lumMod val="90000"/>
                    <a:lumOff val="10000"/>
                  </a:schemeClr>
                </a:solidFill>
              </a:defRPr>
            </a:lvl4pPr>
            <a:lvl5pPr algn="l">
              <a:buFontTx/>
              <a:buNone/>
              <a:defRPr>
                <a:solidFill>
                  <a:schemeClr val="tx1">
                    <a:lumMod val="90000"/>
                    <a:lumOff val="10000"/>
                  </a:schemeClr>
                </a:solidFill>
              </a:defRPr>
            </a:lvl5pPr>
          </a:lstStyle>
          <a:p>
            <a:pPr lvl="0"/>
            <a:r>
              <a:rPr lang="de-DE" dirty="0" err="1"/>
              <a:t>Topline</a:t>
            </a:r>
            <a:endParaRPr lang="de-DE" dirty="0"/>
          </a:p>
        </p:txBody>
      </p:sp>
      <p:sp>
        <p:nvSpPr>
          <p:cNvPr id="11" name="Textplatzhalter 64"/>
          <p:cNvSpPr>
            <a:spLocks noGrp="1"/>
          </p:cNvSpPr>
          <p:nvPr>
            <p:ph type="body" sz="quarter" idx="33" hasCustomPrompt="1"/>
          </p:nvPr>
        </p:nvSpPr>
        <p:spPr>
          <a:xfrm>
            <a:off x="776009" y="983419"/>
            <a:ext cx="10633528" cy="558800"/>
          </a:xfrm>
          <a:prstGeom prst="rect">
            <a:avLst/>
          </a:prstGeom>
        </p:spPr>
        <p:txBody>
          <a:bodyPr lIns="0" tIns="0" rIns="0" bIns="0"/>
          <a:lstStyle>
            <a:lvl1pPr marL="0" indent="0">
              <a:buFontTx/>
              <a:buNone/>
              <a:defRPr sz="2000">
                <a:solidFill>
                  <a:srgbClr val="004C8B"/>
                </a:solidFill>
                <a:latin typeface="Arial" pitchFamily="34" charset="0"/>
                <a:cs typeface="Arial" pitchFamily="34" charset="0"/>
              </a:defRPr>
            </a:lvl1pPr>
            <a:lvl2pPr>
              <a:buFontTx/>
              <a:buNone/>
              <a:defRPr sz="3000">
                <a:latin typeface="Arial" pitchFamily="34" charset="0"/>
                <a:cs typeface="Arial" pitchFamily="34" charset="0"/>
              </a:defRPr>
            </a:lvl2pPr>
            <a:lvl3pPr>
              <a:buFontTx/>
              <a:buNone/>
              <a:defRPr sz="3000">
                <a:latin typeface="Arial" pitchFamily="34" charset="0"/>
                <a:cs typeface="Arial" pitchFamily="34" charset="0"/>
              </a:defRPr>
            </a:lvl3pPr>
            <a:lvl4pPr>
              <a:buFontTx/>
              <a:buNone/>
              <a:defRPr sz="3000">
                <a:latin typeface="Arial" pitchFamily="34" charset="0"/>
                <a:cs typeface="Arial" pitchFamily="34" charset="0"/>
              </a:defRPr>
            </a:lvl4pPr>
            <a:lvl5pPr>
              <a:buFontTx/>
              <a:buNone/>
              <a:defRPr sz="3000">
                <a:latin typeface="Arial" pitchFamily="34" charset="0"/>
                <a:cs typeface="Arial" pitchFamily="34" charset="0"/>
              </a:defRPr>
            </a:lvl5pPr>
          </a:lstStyle>
          <a:p>
            <a:pPr lvl="0"/>
            <a:r>
              <a:rPr lang="de-DE" dirty="0"/>
              <a:t>Headline einzeilig</a:t>
            </a:r>
            <a:br>
              <a:rPr lang="de-DE" dirty="0"/>
            </a:br>
            <a:endParaRPr lang="de-DE" dirty="0"/>
          </a:p>
        </p:txBody>
      </p:sp>
      <p:sp>
        <p:nvSpPr>
          <p:cNvPr id="15" name="Foliennummernplatzhalter 38"/>
          <p:cNvSpPr>
            <a:spLocks noGrp="1"/>
          </p:cNvSpPr>
          <p:nvPr>
            <p:ph type="sldNum" sz="quarter" idx="35"/>
          </p:nvPr>
        </p:nvSpPr>
        <p:spPr>
          <a:xfrm>
            <a:off x="10963704" y="323024"/>
            <a:ext cx="457384" cy="180000"/>
          </a:xfrm>
          <a:prstGeom prst="rect">
            <a:avLst/>
          </a:prstGeom>
        </p:spPr>
        <p:txBody>
          <a:bodyPr lIns="0" tIns="0" rIns="0" bIns="0" anchor="t"/>
          <a:lstStyle>
            <a:lvl1pPr algn="r">
              <a:defRPr sz="1000">
                <a:solidFill>
                  <a:schemeClr val="tx1">
                    <a:lumMod val="75000"/>
                    <a:lumOff val="25000"/>
                  </a:schemeClr>
                </a:solidFill>
                <a:latin typeface="Arial" pitchFamily="34" charset="0"/>
                <a:cs typeface="Arial" pitchFamily="34" charset="0"/>
              </a:defRPr>
            </a:lvl1pPr>
          </a:lstStyle>
          <a:p>
            <a:r>
              <a:rPr lang="de-DE"/>
              <a:t>| </a:t>
            </a:r>
            <a:fld id="{D9B4299E-9FBB-7F47-A255-6A999A734B94}" type="slidenum">
              <a:rPr lang="de-DE" smtClean="0"/>
              <a:pPr/>
              <a:t>‹#›</a:t>
            </a:fld>
            <a:endParaRPr lang="de-DE" dirty="0"/>
          </a:p>
        </p:txBody>
      </p:sp>
      <p:sp>
        <p:nvSpPr>
          <p:cNvPr id="12" name="Fußzeilenplatzhalter 39"/>
          <p:cNvSpPr>
            <a:spLocks noGrp="1"/>
          </p:cNvSpPr>
          <p:nvPr>
            <p:ph type="ftr" sz="quarter" idx="36"/>
          </p:nvPr>
        </p:nvSpPr>
        <p:spPr>
          <a:xfrm>
            <a:off x="6090974" y="320460"/>
            <a:ext cx="4945827" cy="182564"/>
          </a:xfrm>
          <a:prstGeom prst="rect">
            <a:avLst/>
          </a:prstGeom>
        </p:spPr>
        <p:txBody>
          <a:bodyPr lIns="0" tIns="0" rIns="0" bIns="0" anchor="t"/>
          <a:lstStyle>
            <a:lvl1pPr algn="r">
              <a:defRPr sz="1000">
                <a:solidFill>
                  <a:schemeClr val="tx1">
                    <a:lumMod val="75000"/>
                    <a:lumOff val="25000"/>
                  </a:schemeClr>
                </a:solidFill>
                <a:latin typeface="Arial" pitchFamily="34" charset="0"/>
                <a:cs typeface="Arial" pitchFamily="34" charset="0"/>
              </a:defRPr>
            </a:lvl1pPr>
          </a:lstStyle>
          <a:p>
            <a:r>
              <a:rPr lang="en-GB"/>
              <a:t>NZSUG Auckland Event + SAP Forum</a:t>
            </a:r>
            <a:endParaRPr lang="de-DE" dirty="0"/>
          </a:p>
        </p:txBody>
      </p:sp>
    </p:spTree>
    <p:extLst>
      <p:ext uri="{BB962C8B-B14F-4D97-AF65-F5344CB8AC3E}">
        <p14:creationId xmlns:p14="http://schemas.microsoft.com/office/powerpoint/2010/main" val="1737782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 Agenda">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F26F08FC-2994-470C-85A6-8E80490883A9}"/>
              </a:ext>
            </a:extLst>
          </p:cNvPr>
          <p:cNvSpPr>
            <a:spLocks noGrp="1"/>
          </p:cNvSpPr>
          <p:nvPr>
            <p:ph type="body" sz="quarter" idx="12" hasCustomPrompt="1"/>
          </p:nvPr>
        </p:nvSpPr>
        <p:spPr/>
        <p:txBody>
          <a:bodyPr/>
          <a:lstStyle>
            <a:lvl1pPr marL="0" indent="0">
              <a:spcBef>
                <a:spcPts val="0"/>
              </a:spcBef>
              <a:buFont typeface="+mj-lt"/>
              <a:buNone/>
              <a:defRPr/>
            </a:lvl1pPr>
            <a:lvl2pPr>
              <a:spcBef>
                <a:spcPts val="0"/>
              </a:spcBef>
              <a:defRPr/>
            </a:lvl2pPr>
            <a:lvl3pPr>
              <a:spcBef>
                <a:spcPts val="400"/>
              </a:spcBef>
              <a:defRPr/>
            </a:lvl3pPr>
            <a:lvl4pPr>
              <a:spcBef>
                <a:spcPts val="400"/>
              </a:spcBef>
              <a:defRPr/>
            </a:lvl4pPr>
          </a:lstStyle>
          <a:p>
            <a:pPr lvl="0"/>
            <a:r>
              <a:rPr lang="de-DE"/>
              <a:t>1. Edit format templates of the text master</a:t>
            </a:r>
          </a:p>
          <a:p>
            <a:pPr lvl="1"/>
            <a:r>
              <a:rPr lang="de-DE"/>
              <a:t>Second level</a:t>
            </a:r>
          </a:p>
          <a:p>
            <a:endParaRPr lang="de-DE" dirty="0"/>
          </a:p>
        </p:txBody>
      </p:sp>
      <p:sp>
        <p:nvSpPr>
          <p:cNvPr id="7" name="Datumsplatzhalter 6">
            <a:extLst>
              <a:ext uri="{FF2B5EF4-FFF2-40B4-BE49-F238E27FC236}">
                <a16:creationId xmlns:a16="http://schemas.microsoft.com/office/drawing/2014/main" id="{111E680D-61B2-4F25-B0F8-6EC47A592A86}"/>
              </a:ext>
            </a:extLst>
          </p:cNvPr>
          <p:cNvSpPr>
            <a:spLocks noGrp="1"/>
          </p:cNvSpPr>
          <p:nvPr>
            <p:ph type="dt" sz="half" idx="13"/>
          </p:nvPr>
        </p:nvSpPr>
        <p:spPr/>
        <p:txBody>
          <a:bodyPr/>
          <a:lstStyle/>
          <a:p>
            <a:r>
              <a:rPr lang="en-US"/>
              <a:t>21/08/2019</a:t>
            </a:r>
            <a:endParaRPr lang="de-DE" dirty="0"/>
          </a:p>
        </p:txBody>
      </p:sp>
      <p:sp>
        <p:nvSpPr>
          <p:cNvPr id="8" name="Fußzeilenplatzhalter 7">
            <a:extLst>
              <a:ext uri="{FF2B5EF4-FFF2-40B4-BE49-F238E27FC236}">
                <a16:creationId xmlns:a16="http://schemas.microsoft.com/office/drawing/2014/main" id="{ECFD6BE5-A195-4B7F-A2BA-420A1ADE6757}"/>
              </a:ext>
            </a:extLst>
          </p:cNvPr>
          <p:cNvSpPr>
            <a:spLocks noGrp="1"/>
          </p:cNvSpPr>
          <p:nvPr>
            <p:ph type="ftr" sz="quarter" idx="14"/>
          </p:nvPr>
        </p:nvSpPr>
        <p:spPr/>
        <p:txBody>
          <a:bodyPr/>
          <a:lstStyle/>
          <a:p>
            <a:r>
              <a:rPr lang="en-GB"/>
              <a:t>NZSUG Auckland Event + SAP Forum</a:t>
            </a:r>
            <a:endParaRPr lang="de-DE" dirty="0"/>
          </a:p>
        </p:txBody>
      </p:sp>
      <p:sp>
        <p:nvSpPr>
          <p:cNvPr id="9" name="Foliennummernplatzhalter 8">
            <a:extLst>
              <a:ext uri="{FF2B5EF4-FFF2-40B4-BE49-F238E27FC236}">
                <a16:creationId xmlns:a16="http://schemas.microsoft.com/office/drawing/2014/main" id="{84B8E69F-ABFD-46F9-88B6-251507D35447}"/>
              </a:ext>
            </a:extLst>
          </p:cNvPr>
          <p:cNvSpPr>
            <a:spLocks noGrp="1"/>
          </p:cNvSpPr>
          <p:nvPr>
            <p:ph type="sldNum" sz="quarter" idx="15"/>
          </p:nvPr>
        </p:nvSpPr>
        <p:spPr/>
        <p:txBody>
          <a:bodyPr/>
          <a:lstStyle/>
          <a:p>
            <a:fld id="{221F1D72-F2AC-4B6E-A46C-E63D2CF40C7B}" type="slidenum">
              <a:rPr lang="de-DE" smtClean="0"/>
              <a:pPr/>
              <a:t>‹#›</a:t>
            </a:fld>
            <a:endParaRPr lang="de-DE" dirty="0"/>
          </a:p>
        </p:txBody>
      </p:sp>
      <p:sp>
        <p:nvSpPr>
          <p:cNvPr id="10" name="Titelplatzhalter 1">
            <a:extLst>
              <a:ext uri="{FF2B5EF4-FFF2-40B4-BE49-F238E27FC236}">
                <a16:creationId xmlns:a16="http://schemas.microsoft.com/office/drawing/2014/main" id="{55241778-AF4A-4BCE-9BDE-406C6263FB8C}"/>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688137786"/>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21915D-F099-8947-BBE9-D4847D18F7C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394EFF3-DFA7-BE4A-B551-C2D4FACEC30A}"/>
              </a:ext>
            </a:extLst>
          </p:cNvPr>
          <p:cNvSpPr>
            <a:spLocks noGrp="1"/>
          </p:cNvSpPr>
          <p:nvPr>
            <p:ph type="dt" sz="half" idx="10"/>
          </p:nvPr>
        </p:nvSpPr>
        <p:spPr/>
        <p:txBody>
          <a:bodyPr/>
          <a:lstStyle/>
          <a:p>
            <a:r>
              <a:rPr lang="en-US">
                <a:solidFill>
                  <a:srgbClr val="6F6F6F"/>
                </a:solidFill>
              </a:rPr>
              <a:t>21/08/2019</a:t>
            </a:r>
            <a:endParaRPr lang="de-DE" dirty="0">
              <a:solidFill>
                <a:srgbClr val="6F6F6F"/>
              </a:solidFill>
            </a:endParaRPr>
          </a:p>
        </p:txBody>
      </p:sp>
      <p:sp>
        <p:nvSpPr>
          <p:cNvPr id="4" name="Foliennummernplatzhalter 3">
            <a:extLst>
              <a:ext uri="{FF2B5EF4-FFF2-40B4-BE49-F238E27FC236}">
                <a16:creationId xmlns:a16="http://schemas.microsoft.com/office/drawing/2014/main" id="{D6584E7C-40EF-2243-A561-834A20F9DD3A}"/>
              </a:ext>
            </a:extLst>
          </p:cNvPr>
          <p:cNvSpPr>
            <a:spLocks noGrp="1"/>
          </p:cNvSpPr>
          <p:nvPr>
            <p:ph type="sldNum" sz="quarter" idx="11"/>
          </p:nvPr>
        </p:nvSpPr>
        <p:spPr/>
        <p:txBody>
          <a:bodyPr/>
          <a:lstStyle/>
          <a:p>
            <a:fld id="{221F1D72-F2AC-4B6E-A46C-E63D2CF40C7B}" type="slidenum">
              <a:rPr lang="de-DE" smtClean="0">
                <a:solidFill>
                  <a:srgbClr val="6F6F6F"/>
                </a:solidFill>
              </a:rPr>
              <a:pPr/>
              <a:t>‹#›</a:t>
            </a:fld>
            <a:endParaRPr lang="de-DE" dirty="0">
              <a:solidFill>
                <a:srgbClr val="6F6F6F"/>
              </a:solidFill>
            </a:endParaRPr>
          </a:p>
        </p:txBody>
      </p:sp>
      <p:sp>
        <p:nvSpPr>
          <p:cNvPr id="5" name="Fußzeilenplatzhalter 4">
            <a:extLst>
              <a:ext uri="{FF2B5EF4-FFF2-40B4-BE49-F238E27FC236}">
                <a16:creationId xmlns:a16="http://schemas.microsoft.com/office/drawing/2014/main" id="{89BCFAF2-B4CD-A34B-B63D-832F9BDE5BE7}"/>
              </a:ext>
            </a:extLst>
          </p:cNvPr>
          <p:cNvSpPr>
            <a:spLocks noGrp="1"/>
          </p:cNvSpPr>
          <p:nvPr>
            <p:ph type="ftr" sz="quarter" idx="12"/>
          </p:nvPr>
        </p:nvSpPr>
        <p:spPr/>
        <p:txBody>
          <a:bodyPr/>
          <a:lstStyle/>
          <a:p>
            <a:r>
              <a:rPr lang="en-GB">
                <a:solidFill>
                  <a:srgbClr val="6F6F6F"/>
                </a:solidFill>
              </a:rPr>
              <a:t>NZSUG Auckland Event + SAP Forum</a:t>
            </a:r>
            <a:endParaRPr lang="de-DE" dirty="0">
              <a:solidFill>
                <a:srgbClr val="6F6F6F"/>
              </a:solidFill>
            </a:endParaRPr>
          </a:p>
        </p:txBody>
      </p:sp>
    </p:spTree>
    <p:extLst>
      <p:ext uri="{BB962C8B-B14F-4D97-AF65-F5344CB8AC3E}">
        <p14:creationId xmlns:p14="http://schemas.microsoft.com/office/powerpoint/2010/main" val="1713753354"/>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Ecke links gross">
    <p:spTree>
      <p:nvGrpSpPr>
        <p:cNvPr id="1" name=""/>
        <p:cNvGrpSpPr/>
        <p:nvPr/>
      </p:nvGrpSpPr>
      <p:grpSpPr>
        <a:xfrm>
          <a:off x="0" y="0"/>
          <a:ext cx="0" cy="0"/>
          <a:chOff x="0" y="0"/>
          <a:chExt cx="0" cy="0"/>
        </a:xfrm>
      </p:grpSpPr>
      <p:sp>
        <p:nvSpPr>
          <p:cNvPr id="12" name="Freihandform 67">
            <a:extLst>
              <a:ext uri="{FF2B5EF4-FFF2-40B4-BE49-F238E27FC236}">
                <a16:creationId xmlns:a16="http://schemas.microsoft.com/office/drawing/2014/main" id="{8F5BD8E4-C4B3-4DF2-BD8D-2721608522DA}"/>
              </a:ext>
            </a:extLst>
          </p:cNvPr>
          <p:cNvSpPr/>
          <p:nvPr userDrawn="1"/>
        </p:nvSpPr>
        <p:spPr>
          <a:xfrm>
            <a:off x="-10551" y="1449390"/>
            <a:ext cx="3777854" cy="4895850"/>
          </a:xfrm>
          <a:custGeom>
            <a:avLst/>
            <a:gdLst>
              <a:gd name="connsiteX0" fmla="*/ 0 w 3777854"/>
              <a:gd name="connsiteY0" fmla="*/ 0 h 4895850"/>
              <a:gd name="connsiteX1" fmla="*/ 6286 w 3777854"/>
              <a:gd name="connsiteY1" fmla="*/ 0 h 4895850"/>
              <a:gd name="connsiteX2" fmla="*/ 2169500 w 3777854"/>
              <a:gd name="connsiteY2" fmla="*/ 0 h 4895850"/>
              <a:gd name="connsiteX3" fmla="*/ 2602170 w 3777854"/>
              <a:gd name="connsiteY3" fmla="*/ 242976 h 4895850"/>
              <a:gd name="connsiteX4" fmla="*/ 3718956 w 3777854"/>
              <a:gd name="connsiteY4" fmla="*/ 2184512 h 4895850"/>
              <a:gd name="connsiteX5" fmla="*/ 3777854 w 3777854"/>
              <a:gd name="connsiteY5" fmla="*/ 2434300 h 4895850"/>
              <a:gd name="connsiteX6" fmla="*/ 3718956 w 3777854"/>
              <a:gd name="connsiteY6" fmla="*/ 2686359 h 4895850"/>
              <a:gd name="connsiteX7" fmla="*/ 2602170 w 3777854"/>
              <a:gd name="connsiteY7" fmla="*/ 4636978 h 4895850"/>
              <a:gd name="connsiteX8" fmla="*/ 2169500 w 3777854"/>
              <a:gd name="connsiteY8" fmla="*/ 4895850 h 4895850"/>
              <a:gd name="connsiteX9" fmla="*/ 140908 w 3777854"/>
              <a:gd name="connsiteY9" fmla="*/ 4895850 h 4895850"/>
              <a:gd name="connsiteX10" fmla="*/ 0 w 3777854"/>
              <a:gd name="connsiteY10" fmla="*/ 4895850 h 4895850"/>
              <a:gd name="connsiteX11" fmla="*/ 0 w 3777854"/>
              <a:gd name="connsiteY11"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7854" h="4895850">
                <a:moveTo>
                  <a:pt x="0" y="0"/>
                </a:moveTo>
                <a:lnTo>
                  <a:pt x="6286" y="0"/>
                </a:lnTo>
                <a:cubicBezTo>
                  <a:pt x="156093" y="0"/>
                  <a:pt x="635476" y="0"/>
                  <a:pt x="2169500" y="0"/>
                </a:cubicBezTo>
                <a:cubicBezTo>
                  <a:pt x="2332600" y="0"/>
                  <a:pt x="2525150" y="106727"/>
                  <a:pt x="2602170" y="242976"/>
                </a:cubicBezTo>
                <a:cubicBezTo>
                  <a:pt x="2602170" y="242976"/>
                  <a:pt x="2602170" y="242976"/>
                  <a:pt x="3718956" y="2184512"/>
                </a:cubicBezTo>
                <a:cubicBezTo>
                  <a:pt x="3757466" y="2250365"/>
                  <a:pt x="3777854" y="2338926"/>
                  <a:pt x="3777854" y="2434300"/>
                </a:cubicBezTo>
                <a:cubicBezTo>
                  <a:pt x="3777854" y="2529674"/>
                  <a:pt x="3757466" y="2618235"/>
                  <a:pt x="3718956" y="2686359"/>
                </a:cubicBezTo>
                <a:cubicBezTo>
                  <a:pt x="3718956" y="2686359"/>
                  <a:pt x="3718956" y="2686359"/>
                  <a:pt x="2602170" y="4636978"/>
                </a:cubicBezTo>
                <a:cubicBezTo>
                  <a:pt x="2520619" y="4780039"/>
                  <a:pt x="2325805" y="4895850"/>
                  <a:pt x="2169500" y="4895850"/>
                </a:cubicBezTo>
                <a:cubicBezTo>
                  <a:pt x="2169500" y="4895850"/>
                  <a:pt x="2169500" y="4895850"/>
                  <a:pt x="140908" y="4895850"/>
                </a:cubicBezTo>
                <a:lnTo>
                  <a:pt x="0" y="4895850"/>
                </a:lnTo>
                <a:lnTo>
                  <a:pt x="0" y="0"/>
                </a:lnTo>
                <a:close/>
              </a:path>
            </a:pathLst>
          </a:cu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dirty="0" err="1"/>
          </a:p>
        </p:txBody>
      </p:sp>
      <p:sp>
        <p:nvSpPr>
          <p:cNvPr id="2" name="Titel 1">
            <a:extLst>
              <a:ext uri="{FF2B5EF4-FFF2-40B4-BE49-F238E27FC236}">
                <a16:creationId xmlns:a16="http://schemas.microsoft.com/office/drawing/2014/main" id="{0019B3D4-B842-447E-9ACA-6E492135C453}"/>
              </a:ext>
            </a:extLst>
          </p:cNvPr>
          <p:cNvSpPr>
            <a:spLocks noGrp="1"/>
          </p:cNvSpPr>
          <p:nvPr>
            <p:ph type="title" hasCustomPrompt="1"/>
          </p:nvPr>
        </p:nvSpPr>
        <p:spPr/>
        <p:txBody>
          <a:bodyPr/>
          <a:lstStyle>
            <a:lvl1pPr>
              <a:defRPr/>
            </a:lvl1pPr>
          </a:lstStyle>
          <a:p>
            <a:r>
              <a:rPr lang="en-US" dirty="0"/>
              <a:t>Edit format templates of the text master</a:t>
            </a:r>
            <a:endParaRPr lang="de-DE" dirty="0"/>
          </a:p>
        </p:txBody>
      </p:sp>
      <p:sp>
        <p:nvSpPr>
          <p:cNvPr id="3" name="Datumsplatzhalter 2">
            <a:extLst>
              <a:ext uri="{FF2B5EF4-FFF2-40B4-BE49-F238E27FC236}">
                <a16:creationId xmlns:a16="http://schemas.microsoft.com/office/drawing/2014/main" id="{6FFF3A8A-4A23-4336-81D8-AADCD3588EF0}"/>
              </a:ext>
            </a:extLst>
          </p:cNvPr>
          <p:cNvSpPr>
            <a:spLocks noGrp="1"/>
          </p:cNvSpPr>
          <p:nvPr>
            <p:ph type="dt" sz="half" idx="10"/>
          </p:nvPr>
        </p:nvSpPr>
        <p:spPr/>
        <p:txBody>
          <a:bodyPr/>
          <a:lstStyle/>
          <a:p>
            <a:r>
              <a:rPr lang="en-US">
                <a:solidFill>
                  <a:srgbClr val="6F6F6F"/>
                </a:solidFill>
              </a:rPr>
              <a:t>21/08/2019</a:t>
            </a:r>
            <a:endParaRPr lang="de-DE" dirty="0">
              <a:solidFill>
                <a:srgbClr val="6F6F6F"/>
              </a:solidFill>
            </a:endParaRPr>
          </a:p>
        </p:txBody>
      </p:sp>
      <p:sp>
        <p:nvSpPr>
          <p:cNvPr id="4" name="Foliennummernplatzhalter 3">
            <a:extLst>
              <a:ext uri="{FF2B5EF4-FFF2-40B4-BE49-F238E27FC236}">
                <a16:creationId xmlns:a16="http://schemas.microsoft.com/office/drawing/2014/main" id="{CB9BCACE-1DB2-4469-9262-083C9CF6B23F}"/>
              </a:ext>
            </a:extLst>
          </p:cNvPr>
          <p:cNvSpPr>
            <a:spLocks noGrp="1"/>
          </p:cNvSpPr>
          <p:nvPr>
            <p:ph type="sldNum" sz="quarter" idx="11"/>
          </p:nvPr>
        </p:nvSpPr>
        <p:spPr/>
        <p:txBody>
          <a:bodyPr/>
          <a:lstStyle/>
          <a:p>
            <a:fld id="{221F1D72-F2AC-4B6E-A46C-E63D2CF40C7B}" type="slidenum">
              <a:rPr lang="de-DE" smtClean="0">
                <a:solidFill>
                  <a:srgbClr val="6F6F6F"/>
                </a:solidFill>
              </a:rPr>
              <a:pPr/>
              <a:t>‹#›</a:t>
            </a:fld>
            <a:endParaRPr lang="de-DE" dirty="0">
              <a:solidFill>
                <a:srgbClr val="6F6F6F"/>
              </a:solidFill>
            </a:endParaRPr>
          </a:p>
        </p:txBody>
      </p:sp>
      <p:sp>
        <p:nvSpPr>
          <p:cNvPr id="52" name="Fußzeilenplatzhalter 51">
            <a:extLst>
              <a:ext uri="{FF2B5EF4-FFF2-40B4-BE49-F238E27FC236}">
                <a16:creationId xmlns:a16="http://schemas.microsoft.com/office/drawing/2014/main" id="{B365B52A-322E-4489-8F65-959A57D451F5}"/>
              </a:ext>
            </a:extLst>
          </p:cNvPr>
          <p:cNvSpPr>
            <a:spLocks noGrp="1"/>
          </p:cNvSpPr>
          <p:nvPr>
            <p:ph type="ftr" sz="quarter" idx="12"/>
          </p:nvPr>
        </p:nvSpPr>
        <p:spPr/>
        <p:txBody>
          <a:bodyPr/>
          <a:lstStyle/>
          <a:p>
            <a:r>
              <a:rPr lang="en-GB">
                <a:solidFill>
                  <a:srgbClr val="6F6F6F"/>
                </a:solidFill>
              </a:rPr>
              <a:t>NZSUG Auckland Event + SAP Forum</a:t>
            </a:r>
            <a:endParaRPr lang="de-DE" dirty="0">
              <a:solidFill>
                <a:srgbClr val="6F6F6F"/>
              </a:solidFill>
            </a:endParaRPr>
          </a:p>
        </p:txBody>
      </p:sp>
      <p:sp>
        <p:nvSpPr>
          <p:cNvPr id="10" name="Textplatzhalter 9">
            <a:extLst>
              <a:ext uri="{FF2B5EF4-FFF2-40B4-BE49-F238E27FC236}">
                <a16:creationId xmlns:a16="http://schemas.microsoft.com/office/drawing/2014/main" id="{01748BC9-3EE6-407B-A0EF-150B36AA5D66}"/>
              </a:ext>
            </a:extLst>
          </p:cNvPr>
          <p:cNvSpPr>
            <a:spLocks noGrp="1"/>
          </p:cNvSpPr>
          <p:nvPr>
            <p:ph type="body" sz="quarter" idx="13"/>
          </p:nvPr>
        </p:nvSpPr>
        <p:spPr>
          <a:xfrm>
            <a:off x="406400" y="2097883"/>
            <a:ext cx="2304430" cy="3598863"/>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5008841"/>
      </p:ext>
    </p:extLst>
  </p:cSld>
  <p:clrMapOvr>
    <a:masterClrMapping/>
  </p:clrMapOvr>
  <p:transition spd="med">
    <p:fade/>
  </p:transition>
  <p:extLst>
    <p:ext uri="{DCECCB84-F9BA-43D5-87BE-67443E8EF086}">
      <p15:sldGuideLst xmlns:p15="http://schemas.microsoft.com/office/powerpoint/2012/main">
        <p15:guide id="1" pos="868">
          <p15:clr>
            <a:srgbClr val="FBAE40"/>
          </p15:clr>
        </p15:guide>
        <p15:guide id="2" pos="1299">
          <p15:clr>
            <a:srgbClr val="FBAE40"/>
          </p15:clr>
        </p15:guide>
        <p15:guide id="3" pos="1481">
          <p15:clr>
            <a:srgbClr val="FBAE40"/>
          </p15:clr>
        </p15:guide>
        <p15:guide id="4" pos="1912">
          <p15:clr>
            <a:srgbClr val="FBAE40"/>
          </p15:clr>
        </p15:guide>
        <p15:guide id="5" pos="2093">
          <p15:clr>
            <a:srgbClr val="FBAE40"/>
          </p15:clr>
        </p15:guide>
        <p15:guide id="6" pos="2524">
          <p15:clr>
            <a:srgbClr val="FBAE40"/>
          </p15:clr>
        </p15:guide>
        <p15:guide id="7" pos="2706">
          <p15:clr>
            <a:srgbClr val="FBAE40"/>
          </p15:clr>
        </p15:guide>
        <p15:guide id="8" pos="3136">
          <p15:clr>
            <a:srgbClr val="FBAE40"/>
          </p15:clr>
        </p15:guide>
        <p15:guide id="9" pos="3318">
          <p15:clr>
            <a:srgbClr val="FBAE40"/>
          </p15:clr>
        </p15:guide>
        <p15:guide id="10" pos="3749">
          <p15:clr>
            <a:srgbClr val="FBAE40"/>
          </p15:clr>
        </p15:guide>
        <p15:guide id="11" pos="3930">
          <p15:clr>
            <a:srgbClr val="FBAE40"/>
          </p15:clr>
        </p15:guide>
        <p15:guide id="12" pos="4361">
          <p15:clr>
            <a:srgbClr val="FBAE40"/>
          </p15:clr>
        </p15:guide>
        <p15:guide id="13" pos="4543">
          <p15:clr>
            <a:srgbClr val="FBAE40"/>
          </p15:clr>
        </p15:guide>
        <p15:guide id="14" pos="4973">
          <p15:clr>
            <a:srgbClr val="FBAE40"/>
          </p15:clr>
        </p15:guide>
        <p15:guide id="15" pos="5155">
          <p15:clr>
            <a:srgbClr val="FBAE40"/>
          </p15:clr>
        </p15:guide>
        <p15:guide id="16" pos="5586">
          <p15:clr>
            <a:srgbClr val="FBAE40"/>
          </p15:clr>
        </p15:guide>
        <p15:guide id="17" pos="5767">
          <p15:clr>
            <a:srgbClr val="FBAE40"/>
          </p15:clr>
        </p15:guide>
        <p15:guide id="18" pos="6198">
          <p15:clr>
            <a:srgbClr val="FBAE40"/>
          </p15:clr>
        </p15:guide>
        <p15:guide id="19" pos="6380">
          <p15:clr>
            <a:srgbClr val="FBAE40"/>
          </p15:clr>
        </p15:guide>
        <p15:guide id="20" pos="6811">
          <p15:clr>
            <a:srgbClr val="FBAE40"/>
          </p15:clr>
        </p15:guide>
        <p15:guide id="21" pos="6992">
          <p15:clr>
            <a:srgbClr val="FBAE40"/>
          </p15:clr>
        </p15:guide>
        <p15:guide id="22" orient="horz" pos="1548">
          <p15:clr>
            <a:srgbClr val="FBAE40"/>
          </p15:clr>
        </p15:guide>
        <p15:guide id="23" orient="horz" pos="1729">
          <p15:clr>
            <a:srgbClr val="FBAE40"/>
          </p15:clr>
        </p15:guide>
        <p15:guide id="24" orient="horz" pos="2364">
          <p15:clr>
            <a:srgbClr val="FBAE40"/>
          </p15:clr>
        </p15:guide>
        <p15:guide id="25" orient="horz" pos="2546">
          <p15:clr>
            <a:srgbClr val="FBAE40"/>
          </p15:clr>
        </p15:guide>
        <p15:guide id="26" orient="horz" pos="3181">
          <p15:clr>
            <a:srgbClr val="FBAE40"/>
          </p15:clr>
        </p15:guide>
        <p15:guide id="27" orient="horz" pos="336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 Titel +  1x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181445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109"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10" name="Textplatzhalter 9">
            <a:extLst>
              <a:ext uri="{FF2B5EF4-FFF2-40B4-BE49-F238E27FC236}">
                <a16:creationId xmlns:a16="http://schemas.microsoft.com/office/drawing/2014/main" id="{0BE7FF8C-1F49-4ECD-9FEA-B62A5E2458A3}"/>
              </a:ext>
            </a:extLst>
          </p:cNvPr>
          <p:cNvSpPr>
            <a:spLocks noGrp="1"/>
          </p:cNvSpPr>
          <p:nvPr>
            <p:ph type="body" sz="quarter" idx="12" hasCustomPrompt="1"/>
          </p:nvPr>
        </p:nvSpPr>
        <p:spPr/>
        <p:txBody>
          <a:bodyPr/>
          <a:lstStyle>
            <a:lvl1pPr>
              <a:defRPr/>
            </a:lvl1pPr>
            <a:lvl2pPr>
              <a:defRPr/>
            </a:lvl2pPr>
            <a:lvl3pPr>
              <a:defRPr/>
            </a:lvl3pPr>
            <a:lvl4pPr>
              <a:defRPr/>
            </a:lvl4pPr>
            <a:lvl5pP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2" name="Fußzeilenplatzhalter 1">
            <a:extLst>
              <a:ext uri="{FF2B5EF4-FFF2-40B4-BE49-F238E27FC236}">
                <a16:creationId xmlns:a16="http://schemas.microsoft.com/office/drawing/2014/main" id="{7737D0C8-2340-4C4D-B0E0-2FF3A5A0A4A7}"/>
              </a:ext>
            </a:extLst>
          </p:cNvPr>
          <p:cNvSpPr>
            <a:spLocks noGrp="1"/>
          </p:cNvSpPr>
          <p:nvPr>
            <p:ph type="ftr" sz="quarter" idx="13"/>
          </p:nvPr>
        </p:nvSpPr>
        <p:spPr/>
        <p:txBody>
          <a:bodyPr/>
          <a:lstStyle/>
          <a:p>
            <a:r>
              <a:rPr lang="en-GB"/>
              <a:t>NZSUG Auckland Event + SAP Forum</a:t>
            </a:r>
            <a:endParaRPr lang="de-DE" dirty="0"/>
          </a:p>
        </p:txBody>
      </p:sp>
      <p:sp>
        <p:nvSpPr>
          <p:cNvPr id="13" name="Titelplatzhalter 1">
            <a:extLst>
              <a:ext uri="{FF2B5EF4-FFF2-40B4-BE49-F238E27FC236}">
                <a16:creationId xmlns:a16="http://schemas.microsoft.com/office/drawing/2014/main" id="{C9020EC7-2ED4-4B57-B837-B0187FEC43BA}"/>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230055714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6 2xTex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10" name="Textplatzhalter 9">
            <a:extLst>
              <a:ext uri="{FF2B5EF4-FFF2-40B4-BE49-F238E27FC236}">
                <a16:creationId xmlns:a16="http://schemas.microsoft.com/office/drawing/2014/main" id="{0BE7FF8C-1F49-4ECD-9FEA-B62A5E2458A3}"/>
              </a:ext>
            </a:extLst>
          </p:cNvPr>
          <p:cNvSpPr>
            <a:spLocks noGrp="1"/>
          </p:cNvSpPr>
          <p:nvPr>
            <p:ph type="body" sz="quarter" idx="12" hasCustomPrompt="1"/>
          </p:nvPr>
        </p:nvSpPr>
        <p:spPr>
          <a:xfrm>
            <a:off x="406401" y="1449388"/>
            <a:ext cx="5545138" cy="4895850"/>
          </a:xfrm>
        </p:spPr>
        <p:txBody>
          <a:bodyPr/>
          <a:lstStyle>
            <a:lvl1pPr>
              <a:defRPr/>
            </a:lvl1pPr>
            <a:lvl2pPr>
              <a:defRPr/>
            </a:lvl2pPr>
            <a:lvl3pPr>
              <a:defRPr/>
            </a:lvl3pPr>
            <a:lvl4pPr>
              <a:defRPr/>
            </a:lvl4pPr>
            <a:lvl5pP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Textplatzhalter 9">
            <a:extLst>
              <a:ext uri="{FF2B5EF4-FFF2-40B4-BE49-F238E27FC236}">
                <a16:creationId xmlns:a16="http://schemas.microsoft.com/office/drawing/2014/main" id="{777B26E0-F556-41D0-92BA-AB5BF488CC3A}"/>
              </a:ext>
            </a:extLst>
          </p:cNvPr>
          <p:cNvSpPr>
            <a:spLocks noGrp="1"/>
          </p:cNvSpPr>
          <p:nvPr>
            <p:ph type="body" sz="quarter" idx="13" hasCustomPrompt="1"/>
          </p:nvPr>
        </p:nvSpPr>
        <p:spPr>
          <a:xfrm>
            <a:off x="6234457" y="1449388"/>
            <a:ext cx="5545138" cy="4895850"/>
          </a:xfrm>
        </p:spPr>
        <p:txBody>
          <a:bodyPr/>
          <a:lstStyle>
            <a:lvl1pPr>
              <a:defRPr/>
            </a:lvl1pPr>
            <a:lvl2pPr>
              <a:defRPr/>
            </a:lvl2pPr>
            <a:lvl3pPr>
              <a:defRPr/>
            </a:lvl3pPr>
            <a:lvl4pPr>
              <a:defRPr/>
            </a:lvl4pPr>
            <a:lvl5pP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2" name="Fußzeilenplatzhalter 1">
            <a:extLst>
              <a:ext uri="{FF2B5EF4-FFF2-40B4-BE49-F238E27FC236}">
                <a16:creationId xmlns:a16="http://schemas.microsoft.com/office/drawing/2014/main" id="{EA4A6E89-3FE5-4B1D-BDA0-CE7E7F069FCF}"/>
              </a:ext>
            </a:extLst>
          </p:cNvPr>
          <p:cNvSpPr>
            <a:spLocks noGrp="1"/>
          </p:cNvSpPr>
          <p:nvPr>
            <p:ph type="ftr" sz="quarter" idx="14"/>
          </p:nvPr>
        </p:nvSpPr>
        <p:spPr/>
        <p:txBody>
          <a:bodyPr/>
          <a:lstStyle/>
          <a:p>
            <a:r>
              <a:rPr lang="en-GB"/>
              <a:t>NZSUG Auckland Event + SAP Forum</a:t>
            </a:r>
            <a:endParaRPr lang="de-DE" dirty="0"/>
          </a:p>
        </p:txBody>
      </p:sp>
      <p:sp>
        <p:nvSpPr>
          <p:cNvPr id="13" name="Titelplatzhalter 1">
            <a:extLst>
              <a:ext uri="{FF2B5EF4-FFF2-40B4-BE49-F238E27FC236}">
                <a16:creationId xmlns:a16="http://schemas.microsoft.com/office/drawing/2014/main" id="{AA404F7E-C093-4614-A997-8A079AB37B6E}"/>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1069345828"/>
      </p:ext>
    </p:extLst>
  </p:cSld>
  <p:clrMapOvr>
    <a:masterClrMapping/>
  </p:clrMapOvr>
  <p:transition spd="med">
    <p:fade/>
  </p:transition>
  <p:extLst>
    <p:ext uri="{DCECCB84-F9BA-43D5-87BE-67443E8EF086}">
      <p15:sldGuideLst xmlns:p15="http://schemas.microsoft.com/office/powerpoint/2012/main">
        <p15:guide id="1" pos="3749" userDrawn="1">
          <p15:clr>
            <a:srgbClr val="FBAE40"/>
          </p15:clr>
        </p15:guide>
        <p15:guide id="2" pos="393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7 Nur Titel">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FF3A8A-4A23-4336-81D8-AADCD3588EF0}"/>
              </a:ext>
            </a:extLst>
          </p:cNvPr>
          <p:cNvSpPr>
            <a:spLocks noGrp="1"/>
          </p:cNvSpPr>
          <p:nvPr>
            <p:ph type="dt" sz="half" idx="10"/>
          </p:nvPr>
        </p:nvSpPr>
        <p:spPr/>
        <p:txBody>
          <a:bodyPr/>
          <a:lstStyle/>
          <a:p>
            <a:r>
              <a:rPr lang="en-US"/>
              <a:t>21/08/2019</a:t>
            </a:r>
            <a:endParaRPr lang="de-DE" dirty="0"/>
          </a:p>
        </p:txBody>
      </p:sp>
      <p:sp>
        <p:nvSpPr>
          <p:cNvPr id="4" name="Foliennummernplatzhalter 3">
            <a:extLst>
              <a:ext uri="{FF2B5EF4-FFF2-40B4-BE49-F238E27FC236}">
                <a16:creationId xmlns:a16="http://schemas.microsoft.com/office/drawing/2014/main" id="{CB9BCACE-1DB2-4469-9262-083C9CF6B23F}"/>
              </a:ext>
            </a:extLst>
          </p:cNvPr>
          <p:cNvSpPr>
            <a:spLocks noGrp="1"/>
          </p:cNvSpPr>
          <p:nvPr>
            <p:ph type="sldNum" sz="quarter" idx="11"/>
          </p:nvPr>
        </p:nvSpPr>
        <p:spPr/>
        <p:txBody>
          <a:bodyPr/>
          <a:lstStyle/>
          <a:p>
            <a:fld id="{221F1D72-F2AC-4B6E-A46C-E63D2CF40C7B}" type="slidenum">
              <a:rPr lang="de-DE" smtClean="0"/>
              <a:pPr/>
              <a:t>‹#›</a:t>
            </a:fld>
            <a:endParaRPr lang="de-DE" dirty="0"/>
          </a:p>
        </p:txBody>
      </p:sp>
      <p:sp>
        <p:nvSpPr>
          <p:cNvPr id="52" name="Fußzeilenplatzhalter 51">
            <a:extLst>
              <a:ext uri="{FF2B5EF4-FFF2-40B4-BE49-F238E27FC236}">
                <a16:creationId xmlns:a16="http://schemas.microsoft.com/office/drawing/2014/main" id="{B365B52A-322E-4489-8F65-959A57D451F5}"/>
              </a:ext>
            </a:extLst>
          </p:cNvPr>
          <p:cNvSpPr>
            <a:spLocks noGrp="1"/>
          </p:cNvSpPr>
          <p:nvPr>
            <p:ph type="ftr" sz="quarter" idx="12"/>
          </p:nvPr>
        </p:nvSpPr>
        <p:spPr/>
        <p:txBody>
          <a:bodyPr/>
          <a:lstStyle/>
          <a:p>
            <a:r>
              <a:rPr lang="en-GB"/>
              <a:t>NZSUG Auckland Event + SAP Forum</a:t>
            </a:r>
            <a:endParaRPr lang="de-DE" dirty="0"/>
          </a:p>
        </p:txBody>
      </p:sp>
      <p:sp>
        <p:nvSpPr>
          <p:cNvPr id="9" name="Titelplatzhalter 1">
            <a:extLst>
              <a:ext uri="{FF2B5EF4-FFF2-40B4-BE49-F238E27FC236}">
                <a16:creationId xmlns:a16="http://schemas.microsoft.com/office/drawing/2014/main" id="{AA33B54D-5181-40E3-85CA-A7019CD4745D}"/>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384741372"/>
      </p:ext>
    </p:extLst>
  </p:cSld>
  <p:clrMapOvr>
    <a:masterClrMapping/>
  </p:clrMapOvr>
  <p:transition spd="med">
    <p:fade/>
  </p:transition>
  <p:extLst>
    <p:ext uri="{DCECCB84-F9BA-43D5-87BE-67443E8EF086}">
      <p15:sldGuideLst xmlns:p15="http://schemas.microsoft.com/office/powerpoint/2012/main">
        <p15:guide id="1" pos="687" userDrawn="1">
          <p15:clr>
            <a:srgbClr val="FBAE40"/>
          </p15:clr>
        </p15:guide>
        <p15:guide id="2" pos="868" userDrawn="1">
          <p15:clr>
            <a:srgbClr val="FBAE40"/>
          </p15:clr>
        </p15:guide>
        <p15:guide id="3" pos="1299" userDrawn="1">
          <p15:clr>
            <a:srgbClr val="FBAE40"/>
          </p15:clr>
        </p15:guide>
        <p15:guide id="4" pos="1481" userDrawn="1">
          <p15:clr>
            <a:srgbClr val="FBAE40"/>
          </p15:clr>
        </p15:guide>
        <p15:guide id="5" pos="1912" userDrawn="1">
          <p15:clr>
            <a:srgbClr val="FBAE40"/>
          </p15:clr>
        </p15:guide>
        <p15:guide id="6" pos="2093" userDrawn="1">
          <p15:clr>
            <a:srgbClr val="FBAE40"/>
          </p15:clr>
        </p15:guide>
        <p15:guide id="7" pos="2524" userDrawn="1">
          <p15:clr>
            <a:srgbClr val="FBAE40"/>
          </p15:clr>
        </p15:guide>
        <p15:guide id="8" pos="2706" userDrawn="1">
          <p15:clr>
            <a:srgbClr val="FBAE40"/>
          </p15:clr>
        </p15:guide>
        <p15:guide id="9" pos="3136" userDrawn="1">
          <p15:clr>
            <a:srgbClr val="FBAE40"/>
          </p15:clr>
        </p15:guide>
        <p15:guide id="10" pos="3318" userDrawn="1">
          <p15:clr>
            <a:srgbClr val="FBAE40"/>
          </p15:clr>
        </p15:guide>
        <p15:guide id="11" pos="3749" userDrawn="1">
          <p15:clr>
            <a:srgbClr val="FBAE40"/>
          </p15:clr>
        </p15:guide>
        <p15:guide id="12" pos="3930" userDrawn="1">
          <p15:clr>
            <a:srgbClr val="FBAE40"/>
          </p15:clr>
        </p15:guide>
        <p15:guide id="13" pos="4361" userDrawn="1">
          <p15:clr>
            <a:srgbClr val="FBAE40"/>
          </p15:clr>
        </p15:guide>
        <p15:guide id="14" pos="4543" userDrawn="1">
          <p15:clr>
            <a:srgbClr val="FBAE40"/>
          </p15:clr>
        </p15:guide>
        <p15:guide id="15" pos="4973" userDrawn="1">
          <p15:clr>
            <a:srgbClr val="FBAE40"/>
          </p15:clr>
        </p15:guide>
        <p15:guide id="16" pos="5155" userDrawn="1">
          <p15:clr>
            <a:srgbClr val="FBAE40"/>
          </p15:clr>
        </p15:guide>
        <p15:guide id="17" pos="5586" userDrawn="1">
          <p15:clr>
            <a:srgbClr val="FBAE40"/>
          </p15:clr>
        </p15:guide>
        <p15:guide id="18" pos="5767" userDrawn="1">
          <p15:clr>
            <a:srgbClr val="FBAE40"/>
          </p15:clr>
        </p15:guide>
        <p15:guide id="19" pos="6198" userDrawn="1">
          <p15:clr>
            <a:srgbClr val="FBAE40"/>
          </p15:clr>
        </p15:guide>
        <p15:guide id="20" pos="6380" userDrawn="1">
          <p15:clr>
            <a:srgbClr val="FBAE40"/>
          </p15:clr>
        </p15:guide>
        <p15:guide id="21" pos="6811" userDrawn="1">
          <p15:clr>
            <a:srgbClr val="FBAE40"/>
          </p15:clr>
        </p15:guide>
        <p15:guide id="22" pos="6992" userDrawn="1">
          <p15:clr>
            <a:srgbClr val="FBAE40"/>
          </p15:clr>
        </p15:guide>
        <p15:guide id="23" orient="horz" pos="1548" userDrawn="1">
          <p15:clr>
            <a:srgbClr val="FBAE40"/>
          </p15:clr>
        </p15:guide>
        <p15:guide id="24" orient="horz" pos="1729" userDrawn="1">
          <p15:clr>
            <a:srgbClr val="FBAE40"/>
          </p15:clr>
        </p15:guide>
        <p15:guide id="25" orient="horz" pos="2364" userDrawn="1">
          <p15:clr>
            <a:srgbClr val="FBAE40"/>
          </p15:clr>
        </p15:guide>
        <p15:guide id="26" orient="horz" pos="2546" userDrawn="1">
          <p15:clr>
            <a:srgbClr val="FBAE40"/>
          </p15:clr>
        </p15:guide>
        <p15:guide id="27" orient="horz" pos="3181" userDrawn="1">
          <p15:clr>
            <a:srgbClr val="FBAE40"/>
          </p15:clr>
        </p15:guide>
        <p15:guide id="28" orient="horz" pos="336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8 Le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FF3A8A-4A23-4336-81D8-AADCD3588EF0}"/>
              </a:ext>
            </a:extLst>
          </p:cNvPr>
          <p:cNvSpPr>
            <a:spLocks noGrp="1"/>
          </p:cNvSpPr>
          <p:nvPr>
            <p:ph type="dt" sz="half" idx="10"/>
          </p:nvPr>
        </p:nvSpPr>
        <p:spPr/>
        <p:txBody>
          <a:bodyPr/>
          <a:lstStyle/>
          <a:p>
            <a:r>
              <a:rPr lang="en-US"/>
              <a:t>21/08/2019</a:t>
            </a:r>
            <a:endParaRPr lang="de-DE" dirty="0"/>
          </a:p>
        </p:txBody>
      </p:sp>
      <p:sp>
        <p:nvSpPr>
          <p:cNvPr id="4" name="Foliennummernplatzhalter 3">
            <a:extLst>
              <a:ext uri="{FF2B5EF4-FFF2-40B4-BE49-F238E27FC236}">
                <a16:creationId xmlns:a16="http://schemas.microsoft.com/office/drawing/2014/main" id="{CB9BCACE-1DB2-4469-9262-083C9CF6B23F}"/>
              </a:ext>
            </a:extLst>
          </p:cNvPr>
          <p:cNvSpPr>
            <a:spLocks noGrp="1"/>
          </p:cNvSpPr>
          <p:nvPr>
            <p:ph type="sldNum" sz="quarter" idx="11"/>
          </p:nvPr>
        </p:nvSpPr>
        <p:spPr/>
        <p:txBody>
          <a:bodyPr/>
          <a:lstStyle/>
          <a:p>
            <a:fld id="{221F1D72-F2AC-4B6E-A46C-E63D2CF40C7B}" type="slidenum">
              <a:rPr lang="de-DE" smtClean="0"/>
              <a:pPr/>
              <a:t>‹#›</a:t>
            </a:fld>
            <a:endParaRPr lang="de-DE" dirty="0"/>
          </a:p>
        </p:txBody>
      </p:sp>
      <p:sp>
        <p:nvSpPr>
          <p:cNvPr id="52" name="Fußzeilenplatzhalter 51">
            <a:extLst>
              <a:ext uri="{FF2B5EF4-FFF2-40B4-BE49-F238E27FC236}">
                <a16:creationId xmlns:a16="http://schemas.microsoft.com/office/drawing/2014/main" id="{B365B52A-322E-4489-8F65-959A57D451F5}"/>
              </a:ext>
            </a:extLst>
          </p:cNvPr>
          <p:cNvSpPr>
            <a:spLocks noGrp="1"/>
          </p:cNvSpPr>
          <p:nvPr>
            <p:ph type="ftr" sz="quarter" idx="12"/>
          </p:nvPr>
        </p:nvSpPr>
        <p:spPr/>
        <p:txBody>
          <a:bodyPr/>
          <a:lstStyle/>
          <a:p>
            <a:r>
              <a:rPr lang="en-GB"/>
              <a:t>NZSUG Auckland Event + SAP Forum</a:t>
            </a:r>
            <a:endParaRPr lang="de-DE" dirty="0"/>
          </a:p>
        </p:txBody>
      </p:sp>
    </p:spTree>
    <p:extLst>
      <p:ext uri="{BB962C8B-B14F-4D97-AF65-F5344CB8AC3E}">
        <p14:creationId xmlns:p14="http://schemas.microsoft.com/office/powerpoint/2010/main" val="2697188774"/>
      </p:ext>
    </p:extLst>
  </p:cSld>
  <p:clrMapOvr>
    <a:masterClrMapping/>
  </p:clrMapOvr>
  <p:transition spd="med">
    <p:fade/>
  </p:transition>
  <p:extLst>
    <p:ext uri="{DCECCB84-F9BA-43D5-87BE-67443E8EF086}">
      <p15:sldGuideLst xmlns:p15="http://schemas.microsoft.com/office/powerpoint/2012/main">
        <p15:guide id="1" pos="687">
          <p15:clr>
            <a:srgbClr val="FBAE40"/>
          </p15:clr>
        </p15:guide>
        <p15:guide id="2" pos="868">
          <p15:clr>
            <a:srgbClr val="FBAE40"/>
          </p15:clr>
        </p15:guide>
        <p15:guide id="3" pos="1299">
          <p15:clr>
            <a:srgbClr val="FBAE40"/>
          </p15:clr>
        </p15:guide>
        <p15:guide id="4" pos="1481">
          <p15:clr>
            <a:srgbClr val="FBAE40"/>
          </p15:clr>
        </p15:guide>
        <p15:guide id="5" pos="1912">
          <p15:clr>
            <a:srgbClr val="FBAE40"/>
          </p15:clr>
        </p15:guide>
        <p15:guide id="6" pos="2093">
          <p15:clr>
            <a:srgbClr val="FBAE40"/>
          </p15:clr>
        </p15:guide>
        <p15:guide id="7" pos="2524">
          <p15:clr>
            <a:srgbClr val="FBAE40"/>
          </p15:clr>
        </p15:guide>
        <p15:guide id="8" pos="2706">
          <p15:clr>
            <a:srgbClr val="FBAE40"/>
          </p15:clr>
        </p15:guide>
        <p15:guide id="9" pos="3136">
          <p15:clr>
            <a:srgbClr val="FBAE40"/>
          </p15:clr>
        </p15:guide>
        <p15:guide id="10" pos="3318">
          <p15:clr>
            <a:srgbClr val="FBAE40"/>
          </p15:clr>
        </p15:guide>
        <p15:guide id="11" pos="3749">
          <p15:clr>
            <a:srgbClr val="FBAE40"/>
          </p15:clr>
        </p15:guide>
        <p15:guide id="12" pos="3930">
          <p15:clr>
            <a:srgbClr val="FBAE40"/>
          </p15:clr>
        </p15:guide>
        <p15:guide id="13" pos="4361">
          <p15:clr>
            <a:srgbClr val="FBAE40"/>
          </p15:clr>
        </p15:guide>
        <p15:guide id="14" pos="4543">
          <p15:clr>
            <a:srgbClr val="FBAE40"/>
          </p15:clr>
        </p15:guide>
        <p15:guide id="15" pos="4973">
          <p15:clr>
            <a:srgbClr val="FBAE40"/>
          </p15:clr>
        </p15:guide>
        <p15:guide id="16" pos="5155">
          <p15:clr>
            <a:srgbClr val="FBAE40"/>
          </p15:clr>
        </p15:guide>
        <p15:guide id="17" pos="5586">
          <p15:clr>
            <a:srgbClr val="FBAE40"/>
          </p15:clr>
        </p15:guide>
        <p15:guide id="18" pos="5767">
          <p15:clr>
            <a:srgbClr val="FBAE40"/>
          </p15:clr>
        </p15:guide>
        <p15:guide id="19" pos="6198">
          <p15:clr>
            <a:srgbClr val="FBAE40"/>
          </p15:clr>
        </p15:guide>
        <p15:guide id="20" pos="6380">
          <p15:clr>
            <a:srgbClr val="FBAE40"/>
          </p15:clr>
        </p15:guide>
        <p15:guide id="21" pos="6811">
          <p15:clr>
            <a:srgbClr val="FBAE40"/>
          </p15:clr>
        </p15:guide>
        <p15:guide id="22" pos="6992">
          <p15:clr>
            <a:srgbClr val="FBAE40"/>
          </p15:clr>
        </p15:guide>
        <p15:guide id="23" orient="horz" pos="1548">
          <p15:clr>
            <a:srgbClr val="FBAE40"/>
          </p15:clr>
        </p15:guide>
        <p15:guide id="24" orient="horz" pos="1729">
          <p15:clr>
            <a:srgbClr val="FBAE40"/>
          </p15:clr>
        </p15:guide>
        <p15:guide id="25" orient="horz" pos="2364">
          <p15:clr>
            <a:srgbClr val="FBAE40"/>
          </p15:clr>
        </p15:guide>
        <p15:guide id="26" orient="horz" pos="2546">
          <p15:clr>
            <a:srgbClr val="FBAE40"/>
          </p15:clr>
        </p15:guide>
        <p15:guide id="27" orient="horz" pos="3181">
          <p15:clr>
            <a:srgbClr val="FBAE40"/>
          </p15:clr>
        </p15:guide>
        <p15:guide id="28" orient="horz" pos="336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9 4xBild + 1xText">
    <p:spTree>
      <p:nvGrpSpPr>
        <p:cNvPr id="1" name=""/>
        <p:cNvGrpSpPr/>
        <p:nvPr/>
      </p:nvGrpSpPr>
      <p:grpSpPr>
        <a:xfrm>
          <a:off x="0" y="0"/>
          <a:ext cx="0" cy="0"/>
          <a:chOff x="0" y="0"/>
          <a:chExt cx="0" cy="0"/>
        </a:xfrm>
      </p:grpSpPr>
      <p:sp>
        <p:nvSpPr>
          <p:cNvPr id="3" name="Bildplatzhalter 2">
            <a:extLst>
              <a:ext uri="{FF2B5EF4-FFF2-40B4-BE49-F238E27FC236}">
                <a16:creationId xmlns:a16="http://schemas.microsoft.com/office/drawing/2014/main" id="{9FD4D581-B214-4105-9B3F-853859D31976}"/>
              </a:ext>
            </a:extLst>
          </p:cNvPr>
          <p:cNvSpPr>
            <a:spLocks noGrp="1"/>
          </p:cNvSpPr>
          <p:nvPr>
            <p:ph type="pic" sz="quarter" idx="12"/>
          </p:nvPr>
        </p:nvSpPr>
        <p:spPr>
          <a:xfrm>
            <a:off x="406400" y="1449388"/>
            <a:ext cx="3600000" cy="2303462"/>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dirty="0"/>
          </a:p>
        </p:txBody>
      </p:sp>
      <p:sp>
        <p:nvSpPr>
          <p:cNvPr id="7" name="Datumsplatzhalter 6"/>
          <p:cNvSpPr>
            <a:spLocks noGrp="1"/>
          </p:cNvSpPr>
          <p:nvPr>
            <p:ph type="dt" sz="half" idx="10"/>
          </p:nvPr>
        </p:nvSpPr>
        <p:spPr/>
        <p:txBody>
          <a:bodyPr/>
          <a:lstStyle/>
          <a:p>
            <a:r>
              <a:rPr lang="en-US"/>
              <a:t>21/08/2019</a:t>
            </a:r>
            <a:endParaRPr lang="de-DE" dirty="0"/>
          </a:p>
        </p:txBody>
      </p:sp>
      <p:sp>
        <p:nvSpPr>
          <p:cNvPr id="8" name="Foliennummernplatzhalter 7"/>
          <p:cNvSpPr>
            <a:spLocks noGrp="1"/>
          </p:cNvSpPr>
          <p:nvPr>
            <p:ph type="sldNum" sz="quarter" idx="11"/>
          </p:nvPr>
        </p:nvSpPr>
        <p:spPr/>
        <p:txBody>
          <a:bodyPr/>
          <a:lstStyle/>
          <a:p>
            <a:fld id="{221F1D72-F2AC-4B6E-A46C-E63D2CF40C7B}" type="slidenum">
              <a:rPr lang="de-DE" smtClean="0"/>
              <a:pPr/>
              <a:t>‹#›</a:t>
            </a:fld>
            <a:endParaRPr lang="de-DE"/>
          </a:p>
        </p:txBody>
      </p:sp>
      <p:sp>
        <p:nvSpPr>
          <p:cNvPr id="9" name="Bildplatzhalter 2">
            <a:extLst>
              <a:ext uri="{FF2B5EF4-FFF2-40B4-BE49-F238E27FC236}">
                <a16:creationId xmlns:a16="http://schemas.microsoft.com/office/drawing/2014/main" id="{61AC15E0-610D-49D1-BC41-D0135EFD22D4}"/>
              </a:ext>
            </a:extLst>
          </p:cNvPr>
          <p:cNvSpPr>
            <a:spLocks noGrp="1"/>
          </p:cNvSpPr>
          <p:nvPr>
            <p:ph type="pic" sz="quarter" idx="13"/>
          </p:nvPr>
        </p:nvSpPr>
        <p:spPr>
          <a:xfrm>
            <a:off x="406400" y="4037314"/>
            <a:ext cx="3600000" cy="2303462"/>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11" name="Bildplatzhalter 2">
            <a:extLst>
              <a:ext uri="{FF2B5EF4-FFF2-40B4-BE49-F238E27FC236}">
                <a16:creationId xmlns:a16="http://schemas.microsoft.com/office/drawing/2014/main" id="{FEB4D4E8-7A71-4264-A547-049D6364A68D}"/>
              </a:ext>
            </a:extLst>
          </p:cNvPr>
          <p:cNvSpPr>
            <a:spLocks noGrp="1"/>
          </p:cNvSpPr>
          <p:nvPr>
            <p:ph type="pic" sz="quarter" idx="14"/>
          </p:nvPr>
        </p:nvSpPr>
        <p:spPr>
          <a:xfrm>
            <a:off x="4295206" y="1449388"/>
            <a:ext cx="3600000" cy="2303462"/>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12" name="Bildplatzhalter 2">
            <a:extLst>
              <a:ext uri="{FF2B5EF4-FFF2-40B4-BE49-F238E27FC236}">
                <a16:creationId xmlns:a16="http://schemas.microsoft.com/office/drawing/2014/main" id="{1A851129-D13C-48F5-B11E-4EAFC4C4CD8D}"/>
              </a:ext>
            </a:extLst>
          </p:cNvPr>
          <p:cNvSpPr>
            <a:spLocks noGrp="1"/>
          </p:cNvSpPr>
          <p:nvPr>
            <p:ph type="pic" sz="quarter" idx="15"/>
          </p:nvPr>
        </p:nvSpPr>
        <p:spPr>
          <a:xfrm>
            <a:off x="4295206" y="4037314"/>
            <a:ext cx="3600000" cy="2303462"/>
          </a:xfrm>
          <a:solidFill>
            <a:schemeClr val="bg1">
              <a:lumMod val="95000"/>
            </a:schemeClr>
          </a:solidFill>
        </p:spPr>
        <p:txBody>
          <a:bodyPr anchor="ctr" anchorCtr="0"/>
          <a:lstStyle>
            <a:lvl1pPr algn="ctr">
              <a:defRPr sz="1800" b="0">
                <a:solidFill>
                  <a:schemeClr val="bg1">
                    <a:lumMod val="75000"/>
                  </a:schemeClr>
                </a:solidFill>
              </a:defRPr>
            </a:lvl1pPr>
          </a:lstStyle>
          <a:p>
            <a:r>
              <a:rPr lang="en-US"/>
              <a:t>Click icon to add picture</a:t>
            </a:r>
            <a:endParaRPr lang="de-DE"/>
          </a:p>
        </p:txBody>
      </p:sp>
      <p:sp>
        <p:nvSpPr>
          <p:cNvPr id="2" name="Fußzeilenplatzhalter 1">
            <a:extLst>
              <a:ext uri="{FF2B5EF4-FFF2-40B4-BE49-F238E27FC236}">
                <a16:creationId xmlns:a16="http://schemas.microsoft.com/office/drawing/2014/main" id="{75A44F73-BD5C-472B-9ADE-F8C4AD15565E}"/>
              </a:ext>
            </a:extLst>
          </p:cNvPr>
          <p:cNvSpPr>
            <a:spLocks noGrp="1"/>
          </p:cNvSpPr>
          <p:nvPr>
            <p:ph type="ftr" sz="quarter" idx="17"/>
          </p:nvPr>
        </p:nvSpPr>
        <p:spPr/>
        <p:txBody>
          <a:bodyPr/>
          <a:lstStyle/>
          <a:p>
            <a:r>
              <a:rPr lang="en-GB"/>
              <a:t>NZSUG Auckland Event + SAP Forum</a:t>
            </a:r>
            <a:endParaRPr lang="de-DE" dirty="0"/>
          </a:p>
        </p:txBody>
      </p:sp>
      <p:sp>
        <p:nvSpPr>
          <p:cNvPr id="10" name="Textplatzhalter 9">
            <a:extLst>
              <a:ext uri="{FF2B5EF4-FFF2-40B4-BE49-F238E27FC236}">
                <a16:creationId xmlns:a16="http://schemas.microsoft.com/office/drawing/2014/main" id="{6D116EF7-6D39-443A-94BF-B34217122731}"/>
              </a:ext>
            </a:extLst>
          </p:cNvPr>
          <p:cNvSpPr>
            <a:spLocks noGrp="1"/>
          </p:cNvSpPr>
          <p:nvPr>
            <p:ph type="body" sz="quarter" idx="18" hasCustomPrompt="1"/>
          </p:nvPr>
        </p:nvSpPr>
        <p:spPr>
          <a:xfrm>
            <a:off x="8183563" y="1449388"/>
            <a:ext cx="3600450" cy="4895850"/>
          </a:xfrm>
        </p:spPr>
        <p:txBody>
          <a:bodyPr/>
          <a:lstStyle>
            <a:lvl1pPr>
              <a:defRPr/>
            </a:lvl1pPr>
            <a:lvl2pPr>
              <a:defRPr/>
            </a:lvl2pPr>
            <a:lvl3pPr>
              <a:defRPr/>
            </a:lvl3pPr>
            <a:lvl4pPr>
              <a:defRPr/>
            </a:lvl4pPr>
            <a:lvl5pPr>
              <a:defRPr/>
            </a:lvl5pPr>
          </a:lstStyle>
          <a:p>
            <a:pPr lvl="0"/>
            <a:r>
              <a:rPr lang="de-DE" dirty="0"/>
              <a:t>Edit </a:t>
            </a:r>
            <a:r>
              <a:rPr lang="de-DE" dirty="0" err="1"/>
              <a:t>format</a:t>
            </a:r>
            <a:r>
              <a:rPr lang="de-DE" dirty="0"/>
              <a:t> </a:t>
            </a:r>
            <a:r>
              <a:rPr lang="de-DE" dirty="0" err="1"/>
              <a:t>templates</a:t>
            </a:r>
            <a:r>
              <a:rPr lang="de-DE" dirty="0"/>
              <a:t> </a:t>
            </a:r>
            <a:r>
              <a:rPr lang="de-DE" dirty="0" err="1"/>
              <a:t>of</a:t>
            </a:r>
            <a:r>
              <a:rPr lang="de-DE" dirty="0"/>
              <a:t> </a:t>
            </a:r>
            <a:r>
              <a:rPr lang="de-DE" dirty="0" err="1"/>
              <a:t>the</a:t>
            </a:r>
            <a:r>
              <a:rPr lang="de-DE" dirty="0"/>
              <a:t> </a:t>
            </a:r>
            <a:r>
              <a:rPr lang="de-DE" dirty="0" err="1"/>
              <a:t>text</a:t>
            </a:r>
            <a:r>
              <a:rPr lang="de-DE" dirty="0"/>
              <a:t> </a:t>
            </a:r>
            <a:r>
              <a:rPr lang="de-DE" dirty="0" err="1"/>
              <a:t>master</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6" name="Titelplatzhalter 1">
            <a:extLst>
              <a:ext uri="{FF2B5EF4-FFF2-40B4-BE49-F238E27FC236}">
                <a16:creationId xmlns:a16="http://schemas.microsoft.com/office/drawing/2014/main" id="{169862BA-A151-484A-B0AB-E144EA115AD8}"/>
              </a:ext>
            </a:extLst>
          </p:cNvPr>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en-US" noProof="0"/>
              <a:t>Click to edit Master title style</a:t>
            </a:r>
            <a:endParaRPr lang="de-DE" noProof="0" dirty="0"/>
          </a:p>
        </p:txBody>
      </p:sp>
    </p:spTree>
    <p:extLst>
      <p:ext uri="{BB962C8B-B14F-4D97-AF65-F5344CB8AC3E}">
        <p14:creationId xmlns:p14="http://schemas.microsoft.com/office/powerpoint/2010/main" val="3790655180"/>
      </p:ext>
    </p:extLst>
  </p:cSld>
  <p:clrMapOvr>
    <a:masterClrMapping/>
  </p:clrMapOvr>
  <p:transition spd="med">
    <p:fade/>
  </p:transition>
  <p:extLst>
    <p:ext uri="{DCECCB84-F9BA-43D5-87BE-67443E8EF086}">
      <p15:sldGuideLst xmlns:p15="http://schemas.microsoft.com/office/powerpoint/2012/main">
        <p15:guide id="1" orient="horz" pos="2364" userDrawn="1">
          <p15:clr>
            <a:srgbClr val="FBAE40"/>
          </p15:clr>
        </p15:guide>
        <p15:guide id="2" pos="2524" userDrawn="1">
          <p15:clr>
            <a:srgbClr val="FBAE40"/>
          </p15:clr>
        </p15:guide>
        <p15:guide id="3" pos="2706" userDrawn="1">
          <p15:clr>
            <a:srgbClr val="FBAE40"/>
          </p15:clr>
        </p15:guide>
        <p15:guide id="4" pos="4973" userDrawn="1">
          <p15:clr>
            <a:srgbClr val="FBAE40"/>
          </p15:clr>
        </p15:guide>
        <p15:guide id="5" pos="5155" userDrawn="1">
          <p15:clr>
            <a:srgbClr val="FBAE40"/>
          </p15:clr>
        </p15:guide>
        <p15:guide id="6" orient="horz" pos="254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vmlDrawing" Target="../drawings/vmlDrawing3.v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oleObject" Target="../embeddings/oleObject3.bin"/><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5"/>
            </p:custDataLst>
            <p:extLst>
              <p:ext uri="{D42A27DB-BD31-4B8C-83A1-F6EECF244321}">
                <p14:modId xmlns:p14="http://schemas.microsoft.com/office/powerpoint/2010/main" val="348702608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5" name="think-cell Slide" r:id="rId26" imgW="360" imgH="360" progId="TCLayout.ActiveDocument.1">
                  <p:embed/>
                </p:oleObj>
              </mc:Choice>
              <mc:Fallback>
                <p:oleObj name="think-cell Slide" r:id="rId26" imgW="360" imgH="360" progId="TCLayout.ActiveDocument.1">
                  <p:embed/>
                  <p:pic>
                    <p:nvPicPr>
                      <p:cNvPr id="5" name="Object 4"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de-DE" noProof="0" dirty="0"/>
              <a:t>Click </a:t>
            </a:r>
            <a:r>
              <a:rPr lang="de-DE" noProof="0" dirty="0" err="1"/>
              <a:t>to</a:t>
            </a:r>
            <a:r>
              <a:rPr lang="de-DE" noProof="0" dirty="0"/>
              <a:t> </a:t>
            </a:r>
            <a:r>
              <a:rPr lang="de-DE" noProof="0" dirty="0" err="1"/>
              <a:t>edit</a:t>
            </a:r>
            <a:r>
              <a:rPr lang="de-DE" noProof="0" dirty="0"/>
              <a:t> title </a:t>
            </a:r>
            <a:r>
              <a:rPr lang="de-DE" noProof="0" dirty="0" err="1"/>
              <a:t>master</a:t>
            </a:r>
            <a:r>
              <a:rPr lang="de-DE" noProof="0" dirty="0"/>
              <a:t> </a:t>
            </a:r>
            <a:r>
              <a:rPr lang="de-DE" noProof="0" dirty="0" err="1"/>
              <a:t>format</a:t>
            </a:r>
            <a:endParaRPr lang="de-DE" noProof="0" dirty="0"/>
          </a:p>
        </p:txBody>
      </p:sp>
      <p:sp>
        <p:nvSpPr>
          <p:cNvPr id="4" name="Datumsplatzhalter 3"/>
          <p:cNvSpPr>
            <a:spLocks noGrp="1"/>
          </p:cNvSpPr>
          <p:nvPr>
            <p:ph type="dt" sz="half" idx="2"/>
          </p:nvPr>
        </p:nvSpPr>
        <p:spPr>
          <a:xfrm>
            <a:off x="406400" y="6501507"/>
            <a:ext cx="648000" cy="180000"/>
          </a:xfrm>
          <a:prstGeom prst="rect">
            <a:avLst/>
          </a:prstGeom>
        </p:spPr>
        <p:txBody>
          <a:bodyPr vert="horz" lIns="0" tIns="0" rIns="0" bIns="0" rtlCol="0" anchor="ctr"/>
          <a:lstStyle>
            <a:lvl1pPr algn="l">
              <a:defRPr sz="900">
                <a:solidFill>
                  <a:schemeClr val="bg1">
                    <a:lumMod val="50000"/>
                  </a:schemeClr>
                </a:solidFill>
                <a:latin typeface="+mn-lt"/>
              </a:defRPr>
            </a:lvl1pPr>
          </a:lstStyle>
          <a:p>
            <a:r>
              <a:rPr lang="en-US"/>
              <a:t>21/08/2019</a:t>
            </a:r>
            <a:endParaRPr lang="de-DE" dirty="0"/>
          </a:p>
        </p:txBody>
      </p:sp>
      <p:sp>
        <p:nvSpPr>
          <p:cNvPr id="6" name="Foliennummernplatzhalter 5"/>
          <p:cNvSpPr>
            <a:spLocks noGrp="1"/>
          </p:cNvSpPr>
          <p:nvPr>
            <p:ph type="sldNum" sz="quarter" idx="4"/>
          </p:nvPr>
        </p:nvSpPr>
        <p:spPr>
          <a:xfrm>
            <a:off x="11111017" y="6501507"/>
            <a:ext cx="672996" cy="180000"/>
          </a:xfrm>
          <a:prstGeom prst="rect">
            <a:avLst/>
          </a:prstGeom>
        </p:spPr>
        <p:txBody>
          <a:bodyPr vert="horz" lIns="0" tIns="0" rIns="0" bIns="0" rtlCol="0" anchor="ctr"/>
          <a:lstStyle>
            <a:lvl1pPr algn="r">
              <a:defRPr sz="900">
                <a:solidFill>
                  <a:schemeClr val="bg1">
                    <a:lumMod val="50000"/>
                  </a:schemeClr>
                </a:solidFill>
                <a:latin typeface="+mn-lt"/>
              </a:defRPr>
            </a:lvl1pPr>
          </a:lstStyle>
          <a:p>
            <a:fld id="{221F1D72-F2AC-4B6E-A46C-E63D2CF40C7B}" type="slidenum">
              <a:rPr lang="de-DE" smtClean="0"/>
              <a:pPr/>
              <a:t>‹#›</a:t>
            </a:fld>
            <a:endParaRPr lang="de-DE" dirty="0"/>
          </a:p>
        </p:txBody>
      </p:sp>
      <p:sp>
        <p:nvSpPr>
          <p:cNvPr id="55" name="Textplatzhalter 54">
            <a:extLst>
              <a:ext uri="{FF2B5EF4-FFF2-40B4-BE49-F238E27FC236}">
                <a16:creationId xmlns:a16="http://schemas.microsoft.com/office/drawing/2014/main" id="{52D962C4-E196-43D8-8B20-9BE9B84019FF}"/>
              </a:ext>
            </a:extLst>
          </p:cNvPr>
          <p:cNvSpPr>
            <a:spLocks noGrp="1"/>
          </p:cNvSpPr>
          <p:nvPr>
            <p:ph type="body" idx="1"/>
          </p:nvPr>
        </p:nvSpPr>
        <p:spPr>
          <a:xfrm>
            <a:off x="406400" y="1449388"/>
            <a:ext cx="11377613" cy="4895850"/>
          </a:xfrm>
          <a:prstGeom prst="rect">
            <a:avLst/>
          </a:prstGeom>
        </p:spPr>
        <p:txBody>
          <a:bodyPr vert="horz" lIns="0" tIns="0" rIns="0" bIns="0" rtlCol="0">
            <a:noAutofit/>
          </a:bodyPr>
          <a:lstStyle/>
          <a:p>
            <a:pPr lvl="0"/>
            <a:r>
              <a:rPr lang="de-DE" noProof="0" dirty="0"/>
              <a:t>First </a:t>
            </a:r>
            <a:r>
              <a:rPr lang="de-DE" noProof="0" dirty="0" err="1"/>
              <a:t>level</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3" name="Fußzeilenplatzhalter 2">
            <a:extLst>
              <a:ext uri="{FF2B5EF4-FFF2-40B4-BE49-F238E27FC236}">
                <a16:creationId xmlns:a16="http://schemas.microsoft.com/office/drawing/2014/main" id="{37D1C0C6-44A3-4320-869F-F33A71647D17}"/>
              </a:ext>
            </a:extLst>
          </p:cNvPr>
          <p:cNvSpPr>
            <a:spLocks noGrp="1"/>
          </p:cNvSpPr>
          <p:nvPr>
            <p:ph type="ftr" sz="quarter" idx="3"/>
          </p:nvPr>
        </p:nvSpPr>
        <p:spPr>
          <a:xfrm>
            <a:off x="1054646" y="6501507"/>
            <a:ext cx="4896000" cy="180000"/>
          </a:xfrm>
          <a:prstGeom prst="rect">
            <a:avLst/>
          </a:prstGeom>
        </p:spPr>
        <p:txBody>
          <a:bodyPr vert="horz" lIns="0" tIns="45720" rIns="91440" bIns="45720" rtlCol="0" anchor="ctr"/>
          <a:lstStyle>
            <a:lvl1pPr algn="l">
              <a:defRPr sz="900">
                <a:solidFill>
                  <a:schemeClr val="bg1">
                    <a:lumMod val="50000"/>
                  </a:schemeClr>
                </a:solidFill>
                <a:latin typeface="+mn-lt"/>
              </a:defRPr>
            </a:lvl1pPr>
          </a:lstStyle>
          <a:p>
            <a:r>
              <a:rPr lang="en-GB"/>
              <a:t>NZSUG Auckland Event + SAP Forum</a:t>
            </a:r>
            <a:endParaRPr lang="de-DE" dirty="0"/>
          </a:p>
        </p:txBody>
      </p:sp>
      <p:sp>
        <p:nvSpPr>
          <p:cNvPr id="8" name="Freeform 5">
            <a:extLst>
              <a:ext uri="{FF2B5EF4-FFF2-40B4-BE49-F238E27FC236}">
                <a16:creationId xmlns:a16="http://schemas.microsoft.com/office/drawing/2014/main" id="{586EBCE8-7567-4236-B209-215F5F111D30}"/>
              </a:ext>
            </a:extLst>
          </p:cNvPr>
          <p:cNvSpPr>
            <a:spLocks noEditPoints="1"/>
          </p:cNvSpPr>
          <p:nvPr userDrawn="1"/>
        </p:nvSpPr>
        <p:spPr bwMode="auto">
          <a:xfrm>
            <a:off x="11378399" y="248372"/>
            <a:ext cx="564809" cy="547340"/>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p>
        </p:txBody>
      </p:sp>
    </p:spTree>
    <p:extLst>
      <p:ext uri="{BB962C8B-B14F-4D97-AF65-F5344CB8AC3E}">
        <p14:creationId xmlns:p14="http://schemas.microsoft.com/office/powerpoint/2010/main" val="4052663594"/>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5" r:id="rId17"/>
    <p:sldLayoutId id="2147483794" r:id="rId18"/>
    <p:sldLayoutId id="2147483798" r:id="rId19"/>
    <p:sldLayoutId id="2147483799" r:id="rId20"/>
    <p:sldLayoutId id="2147483800" r:id="rId21"/>
    <p:sldLayoutId id="2147483801" r:id="rId22"/>
  </p:sldLayoutIdLst>
  <p:transition spd="med">
    <p:fade/>
  </p:transition>
  <p:hf hdr="0"/>
  <p:txStyles>
    <p:titleStyle>
      <a:lvl1pPr algn="l" defTabSz="1219078" rtl="0" eaLnBrk="1" latinLnBrk="0" hangingPunct="1">
        <a:lnSpc>
          <a:spcPct val="90000"/>
        </a:lnSpc>
        <a:spcBef>
          <a:spcPct val="0"/>
        </a:spcBef>
        <a:buNone/>
        <a:defRPr sz="2400" b="0" kern="1200">
          <a:solidFill>
            <a:srgbClr val="706F6F"/>
          </a:solidFill>
          <a:latin typeface="+mj-lt"/>
          <a:ea typeface="+mj-ea"/>
          <a:cs typeface="+mj-cs"/>
        </a:defRPr>
      </a:lvl1pPr>
    </p:titleStyle>
    <p:bodyStyle>
      <a:lvl1pPr marL="0" indent="0" algn="l" defTabSz="1219078" rtl="0" eaLnBrk="1" latinLnBrk="0" hangingPunct="1">
        <a:lnSpc>
          <a:spcPct val="100000"/>
        </a:lnSpc>
        <a:spcBef>
          <a:spcPts val="0"/>
        </a:spcBef>
        <a:buFont typeface="Arial" panose="020B0604020202020204" pitchFamily="34" charset="0"/>
        <a:buNone/>
        <a:defRPr sz="1800" b="1" kern="1200">
          <a:solidFill>
            <a:schemeClr val="accent3"/>
          </a:solidFill>
          <a:latin typeface="+mn-lt"/>
          <a:ea typeface="+mn-ea"/>
          <a:cs typeface="+mn-cs"/>
        </a:defRPr>
      </a:lvl1pPr>
      <a:lvl2pPr marL="0" indent="0" algn="l" defTabSz="1219078" rtl="0" eaLnBrk="1" latinLnBrk="0" hangingPunct="1">
        <a:lnSpc>
          <a:spcPct val="100000"/>
        </a:lnSpc>
        <a:spcBef>
          <a:spcPts val="0"/>
        </a:spcBef>
        <a:buFont typeface="Arial" panose="020B0604020202020204" pitchFamily="34" charset="0"/>
        <a:buNone/>
        <a:defRPr sz="1800" kern="1200">
          <a:solidFill>
            <a:schemeClr val="bg2"/>
          </a:solidFill>
          <a:latin typeface="+mn-lt"/>
          <a:ea typeface="+mn-ea"/>
          <a:cs typeface="+mn-cs"/>
        </a:defRPr>
      </a:lvl2pPr>
      <a:lvl3pPr marL="216000" indent="-216000" algn="l" defTabSz="1219078" rtl="0" eaLnBrk="1" latinLnBrk="0" hangingPunct="1">
        <a:lnSpc>
          <a:spcPct val="100000"/>
        </a:lnSpc>
        <a:spcBef>
          <a:spcPts val="600"/>
        </a:spcBef>
        <a:buClr>
          <a:schemeClr val="accent3"/>
        </a:buClr>
        <a:buFont typeface="Wingdings 2" panose="05020102010507070707" pitchFamily="18" charset="2"/>
        <a:buChar char=""/>
        <a:defRPr sz="1800" kern="1200">
          <a:solidFill>
            <a:schemeClr val="bg2"/>
          </a:solidFill>
          <a:latin typeface="+mn-lt"/>
          <a:ea typeface="+mn-ea"/>
          <a:cs typeface="+mn-cs"/>
        </a:defRPr>
      </a:lvl3pPr>
      <a:lvl4pPr marL="432000" indent="-216000" algn="l" defTabSz="1219078" rtl="0" eaLnBrk="1" latinLnBrk="0" hangingPunct="1">
        <a:lnSpc>
          <a:spcPct val="100000"/>
        </a:lnSpc>
        <a:spcBef>
          <a:spcPts val="600"/>
        </a:spcBef>
        <a:buClr>
          <a:schemeClr val="accent3"/>
        </a:buClr>
        <a:buFont typeface="Symbol" panose="05050102010706020507" pitchFamily="18" charset="2"/>
        <a:buChar char="-"/>
        <a:defRPr sz="1800" kern="1200">
          <a:solidFill>
            <a:schemeClr val="bg2"/>
          </a:solidFill>
          <a:latin typeface="+mn-lt"/>
          <a:ea typeface="+mn-ea"/>
          <a:cs typeface="+mn-cs"/>
        </a:defRPr>
      </a:lvl4pPr>
      <a:lvl5pPr marL="648000" indent="-216000" algn="l" defTabSz="1219078" rtl="0" eaLnBrk="1" latinLnBrk="0" hangingPunct="1">
        <a:lnSpc>
          <a:spcPct val="100000"/>
        </a:lnSpc>
        <a:spcBef>
          <a:spcPts val="600"/>
        </a:spcBef>
        <a:buClr>
          <a:schemeClr val="accent3"/>
        </a:buClr>
        <a:buFont typeface="Wingdings 2" panose="05020102010507070707" pitchFamily="18" charset="2"/>
        <a:buChar char="¡"/>
        <a:defRPr lang="de-DE" sz="1800" kern="1200" dirty="0">
          <a:solidFill>
            <a:schemeClr val="bg2"/>
          </a:solidFill>
          <a:latin typeface="+mn-lt"/>
          <a:ea typeface="+mn-ea"/>
          <a:cs typeface="+mn-cs"/>
        </a:defRPr>
      </a:lvl5pPr>
      <a:lvl6pPr marL="1008000" indent="-252000" algn="l" defTabSz="1219078" rtl="0" eaLnBrk="1" latinLnBrk="0" hangingPunct="1">
        <a:spcBef>
          <a:spcPts val="400"/>
        </a:spcBef>
        <a:buClr>
          <a:schemeClr val="tx2"/>
        </a:buClr>
        <a:buFont typeface="Symbol" panose="05050102010706020507" pitchFamily="18" charset="2"/>
        <a:buChar char="-"/>
        <a:defRPr sz="2200" kern="1200">
          <a:solidFill>
            <a:schemeClr val="bg2"/>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6" userDrawn="1">
          <p15:clr>
            <a:srgbClr val="F26B43"/>
          </p15:clr>
        </p15:guide>
        <p15:guide id="3" pos="7423" userDrawn="1">
          <p15:clr>
            <a:srgbClr val="F26B43"/>
          </p15:clr>
        </p15:guide>
        <p15:guide id="4" orient="horz" pos="210" userDrawn="1">
          <p15:clr>
            <a:srgbClr val="F26B43"/>
          </p15:clr>
        </p15:guide>
        <p15:guide id="5" orient="horz" pos="3997" userDrawn="1">
          <p15:clr>
            <a:srgbClr val="F26B43"/>
          </p15:clr>
        </p15:guide>
        <p15:guide id="6" orient="horz" pos="91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33" name="think-cell Slide" r:id="rId23" imgW="360" imgH="360" progId="TCLayout.ActiveDocument.1">
                  <p:embed/>
                </p:oleObj>
              </mc:Choice>
              <mc:Fallback>
                <p:oleObj name="think-cell Slide" r:id="rId23" imgW="360" imgH="360" progId="TCLayout.ActiveDocument.1">
                  <p:embed/>
                  <p:pic>
                    <p:nvPicPr>
                      <p:cNvPr id="5" name="Object 4"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nvPr>
        </p:nvSpPr>
        <p:spPr>
          <a:xfrm>
            <a:off x="406400" y="512762"/>
            <a:ext cx="10704617" cy="765824"/>
          </a:xfrm>
          <a:prstGeom prst="rect">
            <a:avLst/>
          </a:prstGeom>
        </p:spPr>
        <p:txBody>
          <a:bodyPr vert="horz" lIns="0" tIns="0" rIns="0" bIns="0" rtlCol="0" anchor="t" anchorCtr="0">
            <a:noAutofit/>
          </a:bodyPr>
          <a:lstStyle/>
          <a:p>
            <a:r>
              <a:rPr lang="de-DE" noProof="0" dirty="0"/>
              <a:t>Click </a:t>
            </a:r>
            <a:r>
              <a:rPr lang="de-DE" noProof="0" dirty="0" err="1"/>
              <a:t>to</a:t>
            </a:r>
            <a:r>
              <a:rPr lang="de-DE" noProof="0" dirty="0"/>
              <a:t> </a:t>
            </a:r>
            <a:r>
              <a:rPr lang="de-DE" noProof="0" dirty="0" err="1"/>
              <a:t>edit</a:t>
            </a:r>
            <a:r>
              <a:rPr lang="de-DE" noProof="0" dirty="0"/>
              <a:t> title </a:t>
            </a:r>
            <a:r>
              <a:rPr lang="de-DE" noProof="0" dirty="0" err="1"/>
              <a:t>master</a:t>
            </a:r>
            <a:r>
              <a:rPr lang="de-DE" noProof="0" dirty="0"/>
              <a:t> </a:t>
            </a:r>
            <a:r>
              <a:rPr lang="de-DE" noProof="0" dirty="0" err="1"/>
              <a:t>format</a:t>
            </a:r>
            <a:endParaRPr lang="de-DE" noProof="0" dirty="0"/>
          </a:p>
        </p:txBody>
      </p:sp>
      <p:sp>
        <p:nvSpPr>
          <p:cNvPr id="4" name="Datumsplatzhalter 3"/>
          <p:cNvSpPr>
            <a:spLocks noGrp="1"/>
          </p:cNvSpPr>
          <p:nvPr>
            <p:ph type="dt" sz="half" idx="2"/>
          </p:nvPr>
        </p:nvSpPr>
        <p:spPr>
          <a:xfrm>
            <a:off x="406400" y="6501507"/>
            <a:ext cx="648000" cy="180000"/>
          </a:xfrm>
          <a:prstGeom prst="rect">
            <a:avLst/>
          </a:prstGeom>
        </p:spPr>
        <p:txBody>
          <a:bodyPr vert="horz" lIns="0" tIns="0" rIns="0" bIns="0" rtlCol="0" anchor="ctr"/>
          <a:lstStyle>
            <a:lvl1pPr algn="l">
              <a:defRPr sz="900">
                <a:solidFill>
                  <a:schemeClr val="bg1">
                    <a:lumMod val="50000"/>
                  </a:schemeClr>
                </a:solidFill>
                <a:latin typeface="+mn-lt"/>
              </a:defRPr>
            </a:lvl1pPr>
          </a:lstStyle>
          <a:p>
            <a:r>
              <a:rPr lang="en-US"/>
              <a:t>21/08/2019</a:t>
            </a:r>
            <a:endParaRPr lang="de-DE" dirty="0"/>
          </a:p>
        </p:txBody>
      </p:sp>
      <p:sp>
        <p:nvSpPr>
          <p:cNvPr id="6" name="Foliennummernplatzhalter 5"/>
          <p:cNvSpPr>
            <a:spLocks noGrp="1"/>
          </p:cNvSpPr>
          <p:nvPr>
            <p:ph type="sldNum" sz="quarter" idx="4"/>
          </p:nvPr>
        </p:nvSpPr>
        <p:spPr>
          <a:xfrm>
            <a:off x="11111017" y="6501507"/>
            <a:ext cx="672996" cy="180000"/>
          </a:xfrm>
          <a:prstGeom prst="rect">
            <a:avLst/>
          </a:prstGeom>
        </p:spPr>
        <p:txBody>
          <a:bodyPr vert="horz" lIns="0" tIns="0" rIns="0" bIns="0" rtlCol="0" anchor="ctr"/>
          <a:lstStyle>
            <a:lvl1pPr algn="r">
              <a:defRPr sz="900">
                <a:solidFill>
                  <a:schemeClr val="bg1">
                    <a:lumMod val="50000"/>
                  </a:schemeClr>
                </a:solidFill>
                <a:latin typeface="+mn-lt"/>
              </a:defRPr>
            </a:lvl1pPr>
          </a:lstStyle>
          <a:p>
            <a:fld id="{221F1D72-F2AC-4B6E-A46C-E63D2CF40C7B}" type="slidenum">
              <a:rPr lang="de-DE" smtClean="0"/>
              <a:pPr/>
              <a:t>‹#›</a:t>
            </a:fld>
            <a:endParaRPr lang="de-DE" dirty="0"/>
          </a:p>
        </p:txBody>
      </p:sp>
      <p:sp>
        <p:nvSpPr>
          <p:cNvPr id="55" name="Textplatzhalter 54">
            <a:extLst>
              <a:ext uri="{FF2B5EF4-FFF2-40B4-BE49-F238E27FC236}">
                <a16:creationId xmlns:a16="http://schemas.microsoft.com/office/drawing/2014/main" id="{52D962C4-E196-43D8-8B20-9BE9B84019FF}"/>
              </a:ext>
            </a:extLst>
          </p:cNvPr>
          <p:cNvSpPr>
            <a:spLocks noGrp="1"/>
          </p:cNvSpPr>
          <p:nvPr>
            <p:ph type="body" idx="1"/>
          </p:nvPr>
        </p:nvSpPr>
        <p:spPr>
          <a:xfrm>
            <a:off x="406400" y="1449388"/>
            <a:ext cx="11377613" cy="4895850"/>
          </a:xfrm>
          <a:prstGeom prst="rect">
            <a:avLst/>
          </a:prstGeom>
        </p:spPr>
        <p:txBody>
          <a:bodyPr vert="horz" lIns="0" tIns="0" rIns="0" bIns="0" rtlCol="0">
            <a:noAutofit/>
          </a:bodyPr>
          <a:lstStyle/>
          <a:p>
            <a:pPr lvl="0"/>
            <a:r>
              <a:rPr lang="de-DE" noProof="0" dirty="0"/>
              <a:t>First </a:t>
            </a:r>
            <a:r>
              <a:rPr lang="de-DE" noProof="0" dirty="0" err="1"/>
              <a:t>level</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3" name="Fußzeilenplatzhalter 2">
            <a:extLst>
              <a:ext uri="{FF2B5EF4-FFF2-40B4-BE49-F238E27FC236}">
                <a16:creationId xmlns:a16="http://schemas.microsoft.com/office/drawing/2014/main" id="{37D1C0C6-44A3-4320-869F-F33A71647D17}"/>
              </a:ext>
            </a:extLst>
          </p:cNvPr>
          <p:cNvSpPr>
            <a:spLocks noGrp="1"/>
          </p:cNvSpPr>
          <p:nvPr>
            <p:ph type="ftr" sz="quarter" idx="3"/>
          </p:nvPr>
        </p:nvSpPr>
        <p:spPr>
          <a:xfrm>
            <a:off x="1054646" y="6501507"/>
            <a:ext cx="4896000" cy="180000"/>
          </a:xfrm>
          <a:prstGeom prst="rect">
            <a:avLst/>
          </a:prstGeom>
        </p:spPr>
        <p:txBody>
          <a:bodyPr vert="horz" lIns="0" tIns="45720" rIns="91440" bIns="45720" rtlCol="0" anchor="ctr"/>
          <a:lstStyle>
            <a:lvl1pPr algn="l">
              <a:defRPr sz="900">
                <a:solidFill>
                  <a:schemeClr val="bg1">
                    <a:lumMod val="50000"/>
                  </a:schemeClr>
                </a:solidFill>
                <a:latin typeface="+mn-lt"/>
              </a:defRPr>
            </a:lvl1pPr>
          </a:lstStyle>
          <a:p>
            <a:r>
              <a:rPr lang="en-GB"/>
              <a:t>NZSUG Auckland Event + SAP Forum</a:t>
            </a:r>
            <a:endParaRPr lang="de-DE" dirty="0"/>
          </a:p>
        </p:txBody>
      </p:sp>
      <p:sp>
        <p:nvSpPr>
          <p:cNvPr id="8" name="Freeform 5">
            <a:extLst>
              <a:ext uri="{FF2B5EF4-FFF2-40B4-BE49-F238E27FC236}">
                <a16:creationId xmlns:a16="http://schemas.microsoft.com/office/drawing/2014/main" id="{586EBCE8-7567-4236-B209-215F5F111D30}"/>
              </a:ext>
            </a:extLst>
          </p:cNvPr>
          <p:cNvSpPr>
            <a:spLocks noEditPoints="1"/>
          </p:cNvSpPr>
          <p:nvPr userDrawn="1"/>
        </p:nvSpPr>
        <p:spPr bwMode="auto">
          <a:xfrm>
            <a:off x="11378399" y="248372"/>
            <a:ext cx="564809" cy="547340"/>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1"/>
            <a:endParaRPr lang="de-DE"/>
          </a:p>
        </p:txBody>
      </p:sp>
    </p:spTree>
    <p:extLst>
      <p:ext uri="{BB962C8B-B14F-4D97-AF65-F5344CB8AC3E}">
        <p14:creationId xmlns:p14="http://schemas.microsoft.com/office/powerpoint/2010/main" val="225021402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8" r:id="rId17"/>
    <p:sldLayoutId id="2147483795" r:id="rId18"/>
    <p:sldLayoutId id="2147483797" r:id="rId19"/>
  </p:sldLayoutIdLst>
  <p:transition spd="med">
    <p:fade/>
  </p:transition>
  <p:hf hdr="0"/>
  <p:txStyles>
    <p:titleStyle>
      <a:lvl1pPr algn="l" defTabSz="1219078" rtl="0" eaLnBrk="1" latinLnBrk="0" hangingPunct="1">
        <a:lnSpc>
          <a:spcPct val="90000"/>
        </a:lnSpc>
        <a:spcBef>
          <a:spcPct val="0"/>
        </a:spcBef>
        <a:buNone/>
        <a:defRPr sz="2400" b="0" kern="1200">
          <a:solidFill>
            <a:srgbClr val="706F6F"/>
          </a:solidFill>
          <a:latin typeface="+mj-lt"/>
          <a:ea typeface="+mj-ea"/>
          <a:cs typeface="+mj-cs"/>
        </a:defRPr>
      </a:lvl1pPr>
    </p:titleStyle>
    <p:bodyStyle>
      <a:lvl1pPr marL="0" indent="0" algn="l" defTabSz="1219078" rtl="0" eaLnBrk="1" latinLnBrk="0" hangingPunct="1">
        <a:lnSpc>
          <a:spcPct val="100000"/>
        </a:lnSpc>
        <a:spcBef>
          <a:spcPts val="0"/>
        </a:spcBef>
        <a:buFont typeface="Arial" panose="020B0604020202020204" pitchFamily="34" charset="0"/>
        <a:buNone/>
        <a:defRPr sz="1800" b="1" kern="1200">
          <a:solidFill>
            <a:schemeClr val="accent3"/>
          </a:solidFill>
          <a:latin typeface="+mn-lt"/>
          <a:ea typeface="+mn-ea"/>
          <a:cs typeface="+mn-cs"/>
        </a:defRPr>
      </a:lvl1pPr>
      <a:lvl2pPr marL="0" indent="0" algn="l" defTabSz="1219078" rtl="0" eaLnBrk="1" latinLnBrk="0" hangingPunct="1">
        <a:lnSpc>
          <a:spcPct val="100000"/>
        </a:lnSpc>
        <a:spcBef>
          <a:spcPts val="0"/>
        </a:spcBef>
        <a:buFont typeface="Arial" panose="020B0604020202020204" pitchFamily="34" charset="0"/>
        <a:buNone/>
        <a:defRPr sz="1800" kern="1200">
          <a:solidFill>
            <a:schemeClr val="bg2"/>
          </a:solidFill>
          <a:latin typeface="+mn-lt"/>
          <a:ea typeface="+mn-ea"/>
          <a:cs typeface="+mn-cs"/>
        </a:defRPr>
      </a:lvl2pPr>
      <a:lvl3pPr marL="216000" indent="-216000" algn="l" defTabSz="1219078" rtl="0" eaLnBrk="1" latinLnBrk="0" hangingPunct="1">
        <a:lnSpc>
          <a:spcPct val="100000"/>
        </a:lnSpc>
        <a:spcBef>
          <a:spcPts val="600"/>
        </a:spcBef>
        <a:buClr>
          <a:schemeClr val="accent3"/>
        </a:buClr>
        <a:buFont typeface="Wingdings 2" panose="05020102010507070707" pitchFamily="18" charset="2"/>
        <a:buChar char=""/>
        <a:defRPr sz="1800" kern="1200">
          <a:solidFill>
            <a:schemeClr val="bg2"/>
          </a:solidFill>
          <a:latin typeface="+mn-lt"/>
          <a:ea typeface="+mn-ea"/>
          <a:cs typeface="+mn-cs"/>
        </a:defRPr>
      </a:lvl3pPr>
      <a:lvl4pPr marL="432000" indent="-216000" algn="l" defTabSz="1219078" rtl="0" eaLnBrk="1" latinLnBrk="0" hangingPunct="1">
        <a:lnSpc>
          <a:spcPct val="100000"/>
        </a:lnSpc>
        <a:spcBef>
          <a:spcPts val="600"/>
        </a:spcBef>
        <a:buClr>
          <a:schemeClr val="accent3"/>
        </a:buClr>
        <a:buFont typeface="Symbol" panose="05050102010706020507" pitchFamily="18" charset="2"/>
        <a:buChar char="-"/>
        <a:defRPr sz="1800" kern="1200">
          <a:solidFill>
            <a:schemeClr val="bg2"/>
          </a:solidFill>
          <a:latin typeface="+mn-lt"/>
          <a:ea typeface="+mn-ea"/>
          <a:cs typeface="+mn-cs"/>
        </a:defRPr>
      </a:lvl4pPr>
      <a:lvl5pPr marL="648000" indent="-216000" algn="l" defTabSz="1219078" rtl="0" eaLnBrk="1" latinLnBrk="0" hangingPunct="1">
        <a:lnSpc>
          <a:spcPct val="100000"/>
        </a:lnSpc>
        <a:spcBef>
          <a:spcPts val="600"/>
        </a:spcBef>
        <a:buClr>
          <a:schemeClr val="accent3"/>
        </a:buClr>
        <a:buFont typeface="Wingdings 2" panose="05020102010507070707" pitchFamily="18" charset="2"/>
        <a:buChar char="¡"/>
        <a:defRPr lang="de-DE" sz="1800" kern="1200" dirty="0">
          <a:solidFill>
            <a:schemeClr val="bg2"/>
          </a:solidFill>
          <a:latin typeface="+mn-lt"/>
          <a:ea typeface="+mn-ea"/>
          <a:cs typeface="+mn-cs"/>
        </a:defRPr>
      </a:lvl5pPr>
      <a:lvl6pPr marL="1008000" indent="-252000" algn="l" defTabSz="1219078" rtl="0" eaLnBrk="1" latinLnBrk="0" hangingPunct="1">
        <a:spcBef>
          <a:spcPts val="400"/>
        </a:spcBef>
        <a:buClr>
          <a:schemeClr val="tx2"/>
        </a:buClr>
        <a:buFont typeface="Symbol" panose="05050102010706020507" pitchFamily="18" charset="2"/>
        <a:buChar char="-"/>
        <a:defRPr sz="2200" kern="1200">
          <a:solidFill>
            <a:schemeClr val="bg2"/>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6">
          <p15:clr>
            <a:srgbClr val="F26B43"/>
          </p15:clr>
        </p15:guide>
        <p15:guide id="3" pos="7423">
          <p15:clr>
            <a:srgbClr val="F26B43"/>
          </p15:clr>
        </p15:guide>
        <p15:guide id="4" orient="horz" pos="210">
          <p15:clr>
            <a:srgbClr val="F26B43"/>
          </p15:clr>
        </p15:guide>
        <p15:guide id="5" orient="horz" pos="3997">
          <p15:clr>
            <a:srgbClr val="F26B43"/>
          </p15:clr>
        </p15:guide>
        <p15:guide id="6" orient="horz" pos="91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21.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e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Layout" Target="../slideLayouts/slideLayout20.xml"/><Relationship Id="rId5" Type="http://schemas.openxmlformats.org/officeDocument/2006/relationships/image" Target="../media/image4.png"/><Relationship Id="rId4" Type="http://schemas.openxmlformats.org/officeDocument/2006/relationships/image" Target="../media/image24.emf"/></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jp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4.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svg"/><Relationship Id="rId2" Type="http://schemas.openxmlformats.org/officeDocument/2006/relationships/image" Target="../media/image26.emf"/><Relationship Id="rId1" Type="http://schemas.openxmlformats.org/officeDocument/2006/relationships/slideLayout" Target="../slideLayouts/slideLayout20.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png"/><Relationship Id="rId9" Type="http://schemas.openxmlformats.org/officeDocument/2006/relationships/image" Target="../media/image33.png"/></Relationships>
</file>

<file path=ppt/slides/_rels/slide1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sv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40.xml"/><Relationship Id="rId6" Type="http://schemas.openxmlformats.org/officeDocument/2006/relationships/image" Target="../media/image41.png"/><Relationship Id="rId5" Type="http://schemas.openxmlformats.org/officeDocument/2006/relationships/image" Target="../media/image40.svg"/><Relationship Id="rId4" Type="http://schemas.openxmlformats.org/officeDocument/2006/relationships/image" Target="../media/image39.png"/><Relationship Id="rId9" Type="http://schemas.openxmlformats.org/officeDocument/2006/relationships/image" Target="../media/image4.png"/></Relationships>
</file>

<file path=ppt/slides/_rels/slide19.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png"/><Relationship Id="rId18" Type="http://schemas.openxmlformats.org/officeDocument/2006/relationships/image" Target="../media/image60.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png"/><Relationship Id="rId2" Type="http://schemas.openxmlformats.org/officeDocument/2006/relationships/image" Target="../media/image44.png"/><Relationship Id="rId16" Type="http://schemas.openxmlformats.org/officeDocument/2006/relationships/image" Target="../media/image58.png"/><Relationship Id="rId20" Type="http://schemas.openxmlformats.org/officeDocument/2006/relationships/image" Target="../media/image4.png"/><Relationship Id="rId1" Type="http://schemas.openxmlformats.org/officeDocument/2006/relationships/slideLayout" Target="../slideLayouts/slideLayout41.xml"/><Relationship Id="rId6" Type="http://schemas.openxmlformats.org/officeDocument/2006/relationships/image" Target="../media/image48.jpeg"/><Relationship Id="rId11" Type="http://schemas.openxmlformats.org/officeDocument/2006/relationships/image" Target="../media/image53.jpe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png"/><Relationship Id="rId19" Type="http://schemas.openxmlformats.org/officeDocument/2006/relationships/image" Target="../media/image61.png"/><Relationship Id="rId4" Type="http://schemas.openxmlformats.org/officeDocument/2006/relationships/image" Target="../media/image46.jpeg"/><Relationship Id="rId9" Type="http://schemas.openxmlformats.org/officeDocument/2006/relationships/image" Target="../media/image51.png"/><Relationship Id="rId14" Type="http://schemas.openxmlformats.org/officeDocument/2006/relationships/image" Target="../media/image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 Target="slide22.xml"/><Relationship Id="rId1" Type="http://schemas.openxmlformats.org/officeDocument/2006/relationships/slideLayout" Target="../slideLayouts/slideLayout27.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8" Type="http://schemas.openxmlformats.org/officeDocument/2006/relationships/hyperlink" Target="https://www.crystalbridge.com/" TargetMode="External"/><Relationship Id="rId13" Type="http://schemas.openxmlformats.org/officeDocument/2006/relationships/image" Target="../media/image4.png"/><Relationship Id="rId3" Type="http://schemas.openxmlformats.org/officeDocument/2006/relationships/image" Target="../media/image64.png"/><Relationship Id="rId7" Type="http://schemas.openxmlformats.org/officeDocument/2006/relationships/image" Target="../media/image68.png"/><Relationship Id="rId12" Type="http://schemas.openxmlformats.org/officeDocument/2006/relationships/image" Target="../media/image18.png"/><Relationship Id="rId2" Type="http://schemas.openxmlformats.org/officeDocument/2006/relationships/image" Target="../media/image63.png"/><Relationship Id="rId1" Type="http://schemas.openxmlformats.org/officeDocument/2006/relationships/slideLayout" Target="../slideLayouts/slideLayout27.xml"/><Relationship Id="rId6" Type="http://schemas.openxmlformats.org/officeDocument/2006/relationships/image" Target="../media/image67.png"/><Relationship Id="rId11" Type="http://schemas.microsoft.com/office/2007/relationships/hdphoto" Target="../media/hdphoto1.wdp"/><Relationship Id="rId5" Type="http://schemas.openxmlformats.org/officeDocument/2006/relationships/image" Target="../media/image66.png"/><Relationship Id="rId10" Type="http://schemas.openxmlformats.org/officeDocument/2006/relationships/image" Target="../media/image17.png"/><Relationship Id="rId4" Type="http://schemas.openxmlformats.org/officeDocument/2006/relationships/image" Target="../media/image65.png"/><Relationship Id="rId9" Type="http://schemas.openxmlformats.org/officeDocument/2006/relationships/image" Target="../media/image69.png"/></Relationships>
</file>

<file path=ppt/slides/_rels/slide2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71.png"/><Relationship Id="rId7" Type="http://schemas.openxmlformats.org/officeDocument/2006/relationships/image" Target="../media/image75.svg"/><Relationship Id="rId2" Type="http://schemas.openxmlformats.org/officeDocument/2006/relationships/image" Target="../media/image70.png"/><Relationship Id="rId1" Type="http://schemas.openxmlformats.org/officeDocument/2006/relationships/slideLayout" Target="../slideLayouts/slideLayout27.xml"/><Relationship Id="rId6" Type="http://schemas.openxmlformats.org/officeDocument/2006/relationships/image" Target="../media/image74.svg"/><Relationship Id="rId11" Type="http://schemas.openxmlformats.org/officeDocument/2006/relationships/image" Target="../media/image4.png"/><Relationship Id="rId5" Type="http://schemas.openxmlformats.org/officeDocument/2006/relationships/image" Target="../media/image73.png"/><Relationship Id="rId10" Type="http://schemas.openxmlformats.org/officeDocument/2006/relationships/image" Target="../media/image18.png"/><Relationship Id="rId4" Type="http://schemas.openxmlformats.org/officeDocument/2006/relationships/image" Target="../media/image72.svg"/><Relationship Id="rId9" Type="http://schemas.microsoft.com/office/2007/relationships/hdphoto" Target="../media/hdphoto1.wdp"/></Relationships>
</file>

<file path=ppt/slides/_rels/slide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77.png"/><Relationship Id="rId7" Type="http://schemas.openxmlformats.org/officeDocument/2006/relationships/image" Target="../media/image18.png"/><Relationship Id="rId2" Type="http://schemas.openxmlformats.org/officeDocument/2006/relationships/image" Target="../media/image76.png"/><Relationship Id="rId1" Type="http://schemas.openxmlformats.org/officeDocument/2006/relationships/slideLayout" Target="../slideLayouts/slideLayout27.xml"/><Relationship Id="rId6" Type="http://schemas.microsoft.com/office/2007/relationships/hdphoto" Target="../media/hdphoto1.wdp"/><Relationship Id="rId5" Type="http://schemas.openxmlformats.org/officeDocument/2006/relationships/image" Target="../media/image17.png"/><Relationship Id="rId4" Type="http://schemas.openxmlformats.org/officeDocument/2006/relationships/image" Target="../media/image78.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9.png"/><Relationship Id="rId1" Type="http://schemas.openxmlformats.org/officeDocument/2006/relationships/slideLayout" Target="../slideLayouts/slideLayout27.xml"/><Relationship Id="rId6" Type="http://schemas.openxmlformats.org/officeDocument/2006/relationships/image" Target="../media/image4.png"/><Relationship Id="rId5" Type="http://schemas.openxmlformats.org/officeDocument/2006/relationships/image" Target="../media/image18.png"/><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4.png"/><Relationship Id="rId2" Type="http://schemas.openxmlformats.org/officeDocument/2006/relationships/image" Target="../media/image80.png"/><Relationship Id="rId1" Type="http://schemas.openxmlformats.org/officeDocument/2006/relationships/slideLayout" Target="../slideLayouts/slideLayout27.xml"/><Relationship Id="rId6" Type="http://schemas.openxmlformats.org/officeDocument/2006/relationships/image" Target="../media/image18.png"/><Relationship Id="rId5" Type="http://schemas.microsoft.com/office/2007/relationships/hdphoto" Target="../media/hdphoto1.wdp"/><Relationship Id="rId4" Type="http://schemas.openxmlformats.org/officeDocument/2006/relationships/image" Target="../media/image17.png"/></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2.jpeg"/><Relationship Id="rId1" Type="http://schemas.openxmlformats.org/officeDocument/2006/relationships/slideLayout" Target="../slideLayouts/slideLayout27.xml"/><Relationship Id="rId6" Type="http://schemas.openxmlformats.org/officeDocument/2006/relationships/image" Target="../media/image4.png"/><Relationship Id="rId5" Type="http://schemas.openxmlformats.org/officeDocument/2006/relationships/image" Target="../media/image18.png"/><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84.jpeg"/><Relationship Id="rId7" Type="http://schemas.openxmlformats.org/officeDocument/2006/relationships/image" Target="../media/image18.png"/><Relationship Id="rId2" Type="http://schemas.openxmlformats.org/officeDocument/2006/relationships/image" Target="../media/image83.png"/><Relationship Id="rId1" Type="http://schemas.openxmlformats.org/officeDocument/2006/relationships/slideLayout" Target="../slideLayouts/slideLayout27.xml"/><Relationship Id="rId6" Type="http://schemas.microsoft.com/office/2007/relationships/hdphoto" Target="../media/hdphoto1.wdp"/><Relationship Id="rId5" Type="http://schemas.openxmlformats.org/officeDocument/2006/relationships/image" Target="../media/image17.png"/><Relationship Id="rId4" Type="http://schemas.openxmlformats.org/officeDocument/2006/relationships/image" Target="../media/image85.pn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6.png"/><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7.jpeg"/><Relationship Id="rId4" Type="http://schemas.openxmlformats.org/officeDocument/2006/relationships/image" Target="../media/image6.jpeg"/></Relationships>
</file>

<file path=ppt/slides/_rels/slide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image" Target="../media/image7.jpeg"/><Relationship Id="rId4" Type="http://schemas.openxmlformats.org/officeDocument/2006/relationships/image" Target="../media/image6.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gif"/><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jpeg"/><Relationship Id="rId10" Type="http://schemas.openxmlformats.org/officeDocument/2006/relationships/image" Target="../media/image15.gif"/><Relationship Id="rId4" Type="http://schemas.openxmlformats.org/officeDocument/2006/relationships/image" Target="../media/image9.pn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D70A578B-4172-2745-97B4-2F551C02B8B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743" t="32668" r="-51"/>
          <a:stretch/>
        </p:blipFill>
        <p:spPr>
          <a:xfrm>
            <a:off x="-1" y="0"/>
            <a:ext cx="12190413" cy="6859264"/>
          </a:xfrm>
          <a:prstGeom prst="rect">
            <a:avLst/>
          </a:prstGeom>
        </p:spPr>
      </p:pic>
      <p:pic>
        <p:nvPicPr>
          <p:cNvPr id="16" name="Bildplatzhalter 15">
            <a:extLst>
              <a:ext uri="{FF2B5EF4-FFF2-40B4-BE49-F238E27FC236}">
                <a16:creationId xmlns:a16="http://schemas.microsoft.com/office/drawing/2014/main" id="{3FC3D976-2858-4C81-9528-E7F54C308F6E}"/>
              </a:ext>
            </a:extLst>
          </p:cNvPr>
          <p:cNvPicPr>
            <a:picLocks noGrp="1" noChangeAspect="1"/>
          </p:cNvPicPr>
          <p:nvPr>
            <p:ph type="pic" sz="quarter" idx="16"/>
          </p:nvPr>
        </p:nvPicPr>
        <p:blipFill>
          <a:blip r:embed="rId4" cstate="screen">
            <a:extLst>
              <a:ext uri="{28A0092B-C50C-407E-A947-70E740481C1C}">
                <a14:useLocalDpi xmlns:a14="http://schemas.microsoft.com/office/drawing/2010/main"/>
              </a:ext>
            </a:extLst>
          </a:blip>
          <a:srcRect l="497" r="497"/>
          <a:stretch>
            <a:fillRect/>
          </a:stretch>
        </p:blipFill>
        <p:spPr/>
      </p:pic>
      <p:sp>
        <p:nvSpPr>
          <p:cNvPr id="12" name="Freihandform 11">
            <a:extLst>
              <a:ext uri="{FF2B5EF4-FFF2-40B4-BE49-F238E27FC236}">
                <a16:creationId xmlns:a16="http://schemas.microsoft.com/office/drawing/2014/main" id="{DDAA0B7C-CFE9-EA46-B5DE-832A6166A5A9}"/>
              </a:ext>
            </a:extLst>
          </p:cNvPr>
          <p:cNvSpPr/>
          <p:nvPr/>
        </p:nvSpPr>
        <p:spPr>
          <a:xfrm>
            <a:off x="0" y="2496814"/>
            <a:ext cx="3366259" cy="4362450"/>
          </a:xfrm>
          <a:custGeom>
            <a:avLst/>
            <a:gdLst>
              <a:gd name="connsiteX0" fmla="*/ 0 w 3777854"/>
              <a:gd name="connsiteY0" fmla="*/ 0 h 4895850"/>
              <a:gd name="connsiteX1" fmla="*/ 6286 w 3777854"/>
              <a:gd name="connsiteY1" fmla="*/ 0 h 4895850"/>
              <a:gd name="connsiteX2" fmla="*/ 2169500 w 3777854"/>
              <a:gd name="connsiteY2" fmla="*/ 0 h 4895850"/>
              <a:gd name="connsiteX3" fmla="*/ 2602170 w 3777854"/>
              <a:gd name="connsiteY3" fmla="*/ 242976 h 4895850"/>
              <a:gd name="connsiteX4" fmla="*/ 3718956 w 3777854"/>
              <a:gd name="connsiteY4" fmla="*/ 2184512 h 4895850"/>
              <a:gd name="connsiteX5" fmla="*/ 3777854 w 3777854"/>
              <a:gd name="connsiteY5" fmla="*/ 2434300 h 4895850"/>
              <a:gd name="connsiteX6" fmla="*/ 3718956 w 3777854"/>
              <a:gd name="connsiteY6" fmla="*/ 2686359 h 4895850"/>
              <a:gd name="connsiteX7" fmla="*/ 2602170 w 3777854"/>
              <a:gd name="connsiteY7" fmla="*/ 4636978 h 4895850"/>
              <a:gd name="connsiteX8" fmla="*/ 2169500 w 3777854"/>
              <a:gd name="connsiteY8" fmla="*/ 4895850 h 4895850"/>
              <a:gd name="connsiteX9" fmla="*/ 140908 w 3777854"/>
              <a:gd name="connsiteY9" fmla="*/ 4895850 h 4895850"/>
              <a:gd name="connsiteX10" fmla="*/ 0 w 3777854"/>
              <a:gd name="connsiteY10" fmla="*/ 4895850 h 4895850"/>
              <a:gd name="connsiteX11" fmla="*/ 0 w 3777854"/>
              <a:gd name="connsiteY11"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7854" h="4895850">
                <a:moveTo>
                  <a:pt x="0" y="0"/>
                </a:moveTo>
                <a:lnTo>
                  <a:pt x="6286" y="0"/>
                </a:lnTo>
                <a:cubicBezTo>
                  <a:pt x="156093" y="0"/>
                  <a:pt x="635476" y="0"/>
                  <a:pt x="2169500" y="0"/>
                </a:cubicBezTo>
                <a:cubicBezTo>
                  <a:pt x="2332600" y="0"/>
                  <a:pt x="2525150" y="106727"/>
                  <a:pt x="2602170" y="242976"/>
                </a:cubicBezTo>
                <a:cubicBezTo>
                  <a:pt x="2602170" y="242976"/>
                  <a:pt x="2602170" y="242976"/>
                  <a:pt x="3718956" y="2184512"/>
                </a:cubicBezTo>
                <a:cubicBezTo>
                  <a:pt x="3757466" y="2250365"/>
                  <a:pt x="3777854" y="2338926"/>
                  <a:pt x="3777854" y="2434300"/>
                </a:cubicBezTo>
                <a:cubicBezTo>
                  <a:pt x="3777854" y="2529674"/>
                  <a:pt x="3757466" y="2618235"/>
                  <a:pt x="3718956" y="2686359"/>
                </a:cubicBezTo>
                <a:cubicBezTo>
                  <a:pt x="3718956" y="2686359"/>
                  <a:pt x="3718956" y="2686359"/>
                  <a:pt x="2602170" y="4636978"/>
                </a:cubicBezTo>
                <a:cubicBezTo>
                  <a:pt x="2520619" y="4780039"/>
                  <a:pt x="2325805" y="4895850"/>
                  <a:pt x="2169500" y="4895850"/>
                </a:cubicBezTo>
                <a:cubicBezTo>
                  <a:pt x="2169500" y="4895850"/>
                  <a:pt x="2169500" y="4895850"/>
                  <a:pt x="140908" y="4895850"/>
                </a:cubicBezTo>
                <a:lnTo>
                  <a:pt x="0" y="4895850"/>
                </a:lnTo>
                <a:lnTo>
                  <a:pt x="0" y="0"/>
                </a:lnTo>
                <a:close/>
              </a:path>
            </a:pathLst>
          </a:custGeom>
          <a:solidFill>
            <a:schemeClr val="tx1">
              <a:alpha val="84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9" name="Textplatzhalter 14">
            <a:extLst>
              <a:ext uri="{FF2B5EF4-FFF2-40B4-BE49-F238E27FC236}">
                <a16:creationId xmlns:a16="http://schemas.microsoft.com/office/drawing/2014/main" id="{C94A1796-F7AA-ED4E-A51C-74F36D552B7D}"/>
              </a:ext>
            </a:extLst>
          </p:cNvPr>
          <p:cNvSpPr txBox="1">
            <a:spLocks/>
          </p:cNvSpPr>
          <p:nvPr/>
        </p:nvSpPr>
        <p:spPr>
          <a:xfrm>
            <a:off x="262558" y="4040569"/>
            <a:ext cx="3719089" cy="1274940"/>
          </a:xfrm>
          <a:prstGeom prst="rect">
            <a:avLst/>
          </a:prstGeom>
        </p:spPr>
        <p:txBody>
          <a:bodyPr vert="horz" lIns="0" tIns="0" rIns="0" bIns="0" rtlCol="0">
            <a:noAutofit/>
          </a:bodyPr>
          <a:lstStyle>
            <a:lvl1pPr marL="0" indent="0" algn="r" defTabSz="1219078" rtl="0" eaLnBrk="1" latinLnBrk="0" hangingPunct="1">
              <a:lnSpc>
                <a:spcPct val="100000"/>
              </a:lnSpc>
              <a:spcBef>
                <a:spcPts val="0"/>
              </a:spcBef>
              <a:buFont typeface="Arial" panose="020B0604020202020204" pitchFamily="34" charset="0"/>
              <a:buNone/>
              <a:defRPr sz="3600" b="0" kern="1200">
                <a:solidFill>
                  <a:schemeClr val="bg1"/>
                </a:solidFill>
                <a:latin typeface="Univers" panose="020B0503020202020204" pitchFamily="34" charset="0"/>
                <a:ea typeface="+mn-ea"/>
                <a:cs typeface="+mn-cs"/>
              </a:defRPr>
            </a:lvl1pPr>
            <a:lvl2pPr marL="0" indent="0" algn="l" defTabSz="1219078" rtl="0" eaLnBrk="1" latinLnBrk="0" hangingPunct="1">
              <a:lnSpc>
                <a:spcPct val="100000"/>
              </a:lnSpc>
              <a:spcBef>
                <a:spcPts val="0"/>
              </a:spcBef>
              <a:buFont typeface="Arial" panose="020B0604020202020204" pitchFamily="34" charset="0"/>
              <a:buNone/>
              <a:defRPr sz="2800" kern="1200">
                <a:solidFill>
                  <a:schemeClr val="bg1"/>
                </a:solidFill>
                <a:latin typeface="Univers" panose="020B0503020202020204" pitchFamily="34" charset="0"/>
                <a:ea typeface="+mn-ea"/>
                <a:cs typeface="+mn-cs"/>
              </a:defRPr>
            </a:lvl2pPr>
            <a:lvl3pPr marL="216000" indent="-216000" algn="l" defTabSz="1219078" rtl="0" eaLnBrk="1" latinLnBrk="0" hangingPunct="1">
              <a:lnSpc>
                <a:spcPct val="100000"/>
              </a:lnSpc>
              <a:spcBef>
                <a:spcPts val="600"/>
              </a:spcBef>
              <a:buClr>
                <a:schemeClr val="tx1"/>
              </a:buClr>
              <a:buFont typeface="Wingdings 2" panose="05020102010507070707" pitchFamily="18" charset="2"/>
              <a:buChar char=""/>
              <a:defRPr sz="2800" kern="1200">
                <a:solidFill>
                  <a:schemeClr val="bg1"/>
                </a:solidFill>
                <a:latin typeface="Univers" panose="020B0503020202020204" pitchFamily="34" charset="0"/>
                <a:ea typeface="+mn-ea"/>
                <a:cs typeface="+mn-cs"/>
              </a:defRPr>
            </a:lvl3pPr>
            <a:lvl4pPr marL="432000" indent="-216000" algn="l" defTabSz="1219078" rtl="0" eaLnBrk="1" latinLnBrk="0" hangingPunct="1">
              <a:lnSpc>
                <a:spcPct val="100000"/>
              </a:lnSpc>
              <a:spcBef>
                <a:spcPts val="600"/>
              </a:spcBef>
              <a:buClr>
                <a:schemeClr val="tx1"/>
              </a:buClr>
              <a:buFont typeface="Symbol" panose="05050102010706020507" pitchFamily="18" charset="2"/>
              <a:buChar char="-"/>
              <a:defRPr sz="2800" kern="1200">
                <a:solidFill>
                  <a:schemeClr val="bg1"/>
                </a:solidFill>
                <a:latin typeface="Univers" panose="020B0503020202020204" pitchFamily="34" charset="0"/>
                <a:ea typeface="+mn-ea"/>
                <a:cs typeface="+mn-cs"/>
              </a:defRPr>
            </a:lvl4pPr>
            <a:lvl5pPr marL="648000" indent="-216000" algn="l" defTabSz="1219078" rtl="0" eaLnBrk="1" latinLnBrk="0" hangingPunct="1">
              <a:lnSpc>
                <a:spcPct val="100000"/>
              </a:lnSpc>
              <a:spcBef>
                <a:spcPts val="600"/>
              </a:spcBef>
              <a:buClr>
                <a:schemeClr val="tx1"/>
              </a:buClr>
              <a:buFont typeface="Wingdings 2" panose="05020102010507070707" pitchFamily="18" charset="2"/>
              <a:buChar char="¡"/>
              <a:defRPr lang="de-DE" sz="2800" kern="1200">
                <a:solidFill>
                  <a:schemeClr val="bg1"/>
                </a:solidFill>
                <a:latin typeface="Univers" panose="020B0503020202020204" pitchFamily="34" charset="0"/>
                <a:ea typeface="+mn-ea"/>
                <a:cs typeface="+mn-cs"/>
              </a:defRPr>
            </a:lvl5pPr>
            <a:lvl6pPr marL="1008000" indent="-252000" algn="l" defTabSz="1219078" rtl="0" eaLnBrk="1" latinLnBrk="0" hangingPunct="1">
              <a:spcBef>
                <a:spcPts val="400"/>
              </a:spcBef>
              <a:buClr>
                <a:schemeClr val="tx2"/>
              </a:buClr>
              <a:buFont typeface="Symbol" panose="05050102010706020507" pitchFamily="18" charset="2"/>
              <a:buChar char="-"/>
              <a:defRPr sz="2200" kern="1200">
                <a:solidFill>
                  <a:schemeClr val="bg2"/>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algn="l"/>
            <a:r>
              <a:rPr lang="en-US" sz="2500" dirty="0"/>
              <a:t>Choose </a:t>
            </a:r>
          </a:p>
          <a:p>
            <a:pPr algn="l"/>
            <a:r>
              <a:rPr lang="en-US" sz="2500" b="1" dirty="0">
                <a:solidFill>
                  <a:srgbClr val="0033CC"/>
                </a:solidFill>
              </a:rPr>
              <a:t>SNP BLUEFIELD™</a:t>
            </a:r>
            <a:br>
              <a:rPr lang="en-US" sz="2500" b="1" dirty="0">
                <a:solidFill>
                  <a:srgbClr val="0033CC"/>
                </a:solidFill>
              </a:rPr>
            </a:br>
            <a:r>
              <a:rPr lang="en-US" sz="2500" dirty="0"/>
              <a:t>for SAP S/4HANA</a:t>
            </a:r>
          </a:p>
        </p:txBody>
      </p:sp>
      <p:sp>
        <p:nvSpPr>
          <p:cNvPr id="6" name="Freeform 9">
            <a:extLst>
              <a:ext uri="{FF2B5EF4-FFF2-40B4-BE49-F238E27FC236}">
                <a16:creationId xmlns:a16="http://schemas.microsoft.com/office/drawing/2014/main" id="{112E7896-9E9B-4711-8D7D-A1A3DE20B43F}"/>
              </a:ext>
            </a:extLst>
          </p:cNvPr>
          <p:cNvSpPr>
            <a:spLocks/>
          </p:cNvSpPr>
          <p:nvPr/>
        </p:nvSpPr>
        <p:spPr bwMode="auto">
          <a:xfrm>
            <a:off x="5375938" y="92982"/>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C5C5C5"/>
          </a:solidFill>
          <a:ln w="50800">
            <a:noFill/>
          </a:ln>
        </p:spPr>
        <p:txBody>
          <a:bodyPr vert="horz" wrap="square" lIns="91440" tIns="45720" rIns="91440" bIns="45720" numCol="1" anchor="ctr" anchorCtr="0" compatLnSpc="1">
            <a:prstTxWarp prst="textNoShape">
              <a:avLst/>
            </a:prstTxWarp>
          </a:bodyPr>
          <a:lstStyle/>
          <a:p>
            <a:pPr algn="ctr"/>
            <a:r>
              <a:rPr lang="en-GB" sz="1400" b="1" dirty="0"/>
              <a:t>Digital Data Transformation Powered by SNP BLUEFIELD</a:t>
            </a:r>
            <a:r>
              <a:rPr lang="en-GB" sz="1400" b="1" baseline="30000" dirty="0"/>
              <a:t>TM</a:t>
            </a:r>
            <a:r>
              <a:rPr lang="en-GB" sz="1400" b="1" dirty="0"/>
              <a:t> Approach</a:t>
            </a:r>
          </a:p>
        </p:txBody>
      </p:sp>
      <p:sp>
        <p:nvSpPr>
          <p:cNvPr id="7" name="Untertitel 2">
            <a:extLst>
              <a:ext uri="{FF2B5EF4-FFF2-40B4-BE49-F238E27FC236}">
                <a16:creationId xmlns:a16="http://schemas.microsoft.com/office/drawing/2014/main" id="{75AB3F98-01AE-464F-9167-5B670FEB7E5A}"/>
              </a:ext>
            </a:extLst>
          </p:cNvPr>
          <p:cNvSpPr>
            <a:spLocks noGrp="1"/>
          </p:cNvSpPr>
          <p:nvPr>
            <p:ph type="subTitle" idx="1"/>
          </p:nvPr>
        </p:nvSpPr>
        <p:spPr>
          <a:xfrm>
            <a:off x="251934" y="6540760"/>
            <a:ext cx="6190828" cy="317240"/>
          </a:xfrm>
        </p:spPr>
        <p:txBody>
          <a:bodyPr/>
          <a:lstStyle/>
          <a:p>
            <a:r>
              <a:rPr lang="en-SG" sz="1000" dirty="0"/>
              <a:t>Marcus Scott, Managing Director</a:t>
            </a:r>
          </a:p>
        </p:txBody>
      </p:sp>
      <p:pic>
        <p:nvPicPr>
          <p:cNvPr id="2" name="Picture 1">
            <a:extLst>
              <a:ext uri="{FF2B5EF4-FFF2-40B4-BE49-F238E27FC236}">
                <a16:creationId xmlns:a16="http://schemas.microsoft.com/office/drawing/2014/main" id="{B05A4300-AE9E-4419-BE7D-81946488B439}"/>
              </a:ext>
            </a:extLst>
          </p:cNvPr>
          <p:cNvPicPr>
            <a:picLocks noChangeAspect="1"/>
          </p:cNvPicPr>
          <p:nvPr/>
        </p:nvPicPr>
        <p:blipFill>
          <a:blip r:embed="rId5"/>
          <a:stretch>
            <a:fillRect/>
          </a:stretch>
        </p:blipFill>
        <p:spPr>
          <a:xfrm>
            <a:off x="262558" y="532179"/>
            <a:ext cx="2219635" cy="695422"/>
          </a:xfrm>
          <a:prstGeom prst="rect">
            <a:avLst/>
          </a:prstGeom>
        </p:spPr>
      </p:pic>
    </p:spTree>
    <p:extLst>
      <p:ext uri="{BB962C8B-B14F-4D97-AF65-F5344CB8AC3E}">
        <p14:creationId xmlns:p14="http://schemas.microsoft.com/office/powerpoint/2010/main" val="55525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92615CB7-BCA1-1045-8AFF-ED8FE1E4474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2743" t="32668" r="-51"/>
          <a:stretch/>
        </p:blipFill>
        <p:spPr>
          <a:xfrm>
            <a:off x="0" y="0"/>
            <a:ext cx="12190413" cy="6859264"/>
          </a:xfrm>
          <a:prstGeom prst="rect">
            <a:avLst/>
          </a:prstGeom>
        </p:spPr>
      </p:pic>
      <p:sp>
        <p:nvSpPr>
          <p:cNvPr id="3" name="Datumsplatzhalter 2">
            <a:extLst>
              <a:ext uri="{FF2B5EF4-FFF2-40B4-BE49-F238E27FC236}">
                <a16:creationId xmlns:a16="http://schemas.microsoft.com/office/drawing/2014/main" id="{CD8665FA-2D0C-1C4C-8019-C3EF06572AF5}"/>
              </a:ext>
            </a:extLst>
          </p:cNvPr>
          <p:cNvSpPr>
            <a:spLocks noGrp="1"/>
          </p:cNvSpPr>
          <p:nvPr>
            <p:ph type="dt" sz="half" idx="10"/>
          </p:nvPr>
        </p:nvSpPr>
        <p:spPr/>
        <p:txBody>
          <a:bodyPr/>
          <a:lstStyle/>
          <a:p>
            <a:r>
              <a:rPr lang="en-US">
                <a:solidFill>
                  <a:schemeClr val="bg1"/>
                </a:solidFill>
              </a:rPr>
              <a:t>21/08/2019</a:t>
            </a:r>
            <a:endParaRPr lang="en-US" dirty="0">
              <a:solidFill>
                <a:schemeClr val="bg1"/>
              </a:solidFill>
            </a:endParaRPr>
          </a:p>
        </p:txBody>
      </p:sp>
      <p:sp>
        <p:nvSpPr>
          <p:cNvPr id="4" name="Foliennummernplatzhalter 3">
            <a:extLst>
              <a:ext uri="{FF2B5EF4-FFF2-40B4-BE49-F238E27FC236}">
                <a16:creationId xmlns:a16="http://schemas.microsoft.com/office/drawing/2014/main" id="{94DFFD80-BC43-FC41-9687-309D9FC42EF7}"/>
              </a:ext>
            </a:extLst>
          </p:cNvPr>
          <p:cNvSpPr>
            <a:spLocks noGrp="1"/>
          </p:cNvSpPr>
          <p:nvPr>
            <p:ph type="sldNum" sz="quarter" idx="11"/>
          </p:nvPr>
        </p:nvSpPr>
        <p:spPr/>
        <p:txBody>
          <a:bodyPr/>
          <a:lstStyle/>
          <a:p>
            <a:fld id="{221F1D72-F2AC-4B6E-A46C-E63D2CF40C7B}" type="slidenum">
              <a:rPr lang="en-US" smtClean="0">
                <a:solidFill>
                  <a:schemeClr val="bg1"/>
                </a:solidFill>
              </a:rPr>
              <a:pPr/>
              <a:t>10</a:t>
            </a:fld>
            <a:endParaRPr lang="en-US" dirty="0">
              <a:solidFill>
                <a:schemeClr val="bg1"/>
              </a:solidFill>
            </a:endParaRPr>
          </a:p>
        </p:txBody>
      </p:sp>
      <p:sp>
        <p:nvSpPr>
          <p:cNvPr id="5" name="Fußzeilenplatzhalter 4">
            <a:extLst>
              <a:ext uri="{FF2B5EF4-FFF2-40B4-BE49-F238E27FC236}">
                <a16:creationId xmlns:a16="http://schemas.microsoft.com/office/drawing/2014/main" id="{B60E61C7-787E-D145-A5E8-3ECAB397B8D7}"/>
              </a:ext>
            </a:extLst>
          </p:cNvPr>
          <p:cNvSpPr>
            <a:spLocks noGrp="1"/>
          </p:cNvSpPr>
          <p:nvPr>
            <p:ph type="ftr" sz="quarter" idx="12"/>
          </p:nvPr>
        </p:nvSpPr>
        <p:spPr/>
        <p:txBody>
          <a:bodyPr/>
          <a:lstStyle/>
          <a:p>
            <a:r>
              <a:rPr lang="en-US" dirty="0">
                <a:solidFill>
                  <a:schemeClr val="bg1"/>
                </a:solidFill>
              </a:rPr>
              <a:t>NZSUG Auckland Event + SAP Forum</a:t>
            </a:r>
          </a:p>
        </p:txBody>
      </p:sp>
      <p:sp>
        <p:nvSpPr>
          <p:cNvPr id="7" name="Textfeld 6">
            <a:extLst>
              <a:ext uri="{FF2B5EF4-FFF2-40B4-BE49-F238E27FC236}">
                <a16:creationId xmlns:a16="http://schemas.microsoft.com/office/drawing/2014/main" id="{D1254769-F4BD-0A49-A3D0-287A778EE8AB}"/>
              </a:ext>
            </a:extLst>
          </p:cNvPr>
          <p:cNvSpPr txBox="1"/>
          <p:nvPr/>
        </p:nvSpPr>
        <p:spPr>
          <a:xfrm>
            <a:off x="13822017" y="3935896"/>
            <a:ext cx="0" cy="0"/>
          </a:xfrm>
          <a:prstGeom prst="rect">
            <a:avLst/>
          </a:prstGeom>
          <a:noFill/>
        </p:spPr>
        <p:txBody>
          <a:bodyPr wrap="none" lIns="36000" tIns="36000" rIns="36000" bIns="36000" rtlCol="0" anchor="t" anchorCtr="0">
            <a:noAutofit/>
          </a:bodyPr>
          <a:lstStyle/>
          <a:p>
            <a:pPr algn="l"/>
            <a:endParaRPr lang="en-US" sz="1800" dirty="0">
              <a:solidFill>
                <a:schemeClr val="bg2">
                  <a:lumMod val="25000"/>
                </a:schemeClr>
              </a:solidFill>
            </a:endParaRPr>
          </a:p>
        </p:txBody>
      </p:sp>
      <p:sp>
        <p:nvSpPr>
          <p:cNvPr id="11" name="Textfeld 10">
            <a:extLst>
              <a:ext uri="{FF2B5EF4-FFF2-40B4-BE49-F238E27FC236}">
                <a16:creationId xmlns:a16="http://schemas.microsoft.com/office/drawing/2014/main" id="{E6BE1532-A401-9441-80B4-F0CBDF03B41A}"/>
              </a:ext>
            </a:extLst>
          </p:cNvPr>
          <p:cNvSpPr txBox="1"/>
          <p:nvPr/>
        </p:nvSpPr>
        <p:spPr>
          <a:xfrm>
            <a:off x="551007" y="931644"/>
            <a:ext cx="4424436" cy="3744416"/>
          </a:xfrm>
          <a:prstGeom prst="rect">
            <a:avLst/>
          </a:prstGeom>
          <a:noFill/>
        </p:spPr>
        <p:txBody>
          <a:bodyPr wrap="square" lIns="36000" tIns="36000" rIns="36000" bIns="3600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dirty="0">
                <a:ln>
                  <a:noFill/>
                </a:ln>
                <a:solidFill>
                  <a:srgbClr val="FFFFFF"/>
                </a:solidFill>
                <a:effectLst/>
                <a:uLnTx/>
                <a:uFillTx/>
              </a:rPr>
              <a:t>GREENFIELD</a:t>
            </a:r>
          </a:p>
          <a:p>
            <a:pPr marL="342900" marR="0" lvl="0" indent="-34290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200" b="0" i="0" u="none" strike="noStrike" kern="0" cap="none" spc="0" normalizeH="0" baseline="0" dirty="0">
              <a:ln>
                <a:noFill/>
              </a:ln>
              <a:solidFill>
                <a:srgbClr val="FFFFFF"/>
              </a:solidFill>
              <a:effectLst/>
              <a:uLnTx/>
              <a:uFillTx/>
            </a:endParaRPr>
          </a:p>
          <a:p>
            <a:pPr marL="182563" marR="0" lvl="0" indent="-182563" defTabSz="914400" eaLnBrk="1" fontAlgn="auto" latinLnBrk="0" hangingPunct="1">
              <a:lnSpc>
                <a:spcPct val="100000"/>
              </a:lnSpc>
              <a:spcBef>
                <a:spcPts val="0"/>
              </a:spcBef>
              <a:spcAft>
                <a:spcPts val="0"/>
              </a:spcAft>
              <a:buClrTx/>
              <a:buSzTx/>
              <a:buFont typeface="Wingdings" panose="05000000000000000000" pitchFamily="2" charset="2"/>
              <a:buChar char="§"/>
              <a:defRPr/>
            </a:pPr>
            <a:r>
              <a:rPr kumimoji="0" lang="en-US" sz="2200" b="0" i="0" u="none" strike="noStrike" kern="0" cap="none" spc="0" normalizeH="0" baseline="0" dirty="0">
                <a:ln>
                  <a:noFill/>
                </a:ln>
                <a:solidFill>
                  <a:srgbClr val="FFFFFF"/>
                </a:solidFill>
                <a:effectLst/>
                <a:uLnTx/>
                <a:uFillTx/>
              </a:rPr>
              <a:t>START WITH AN EMPTY SYSTEM</a:t>
            </a:r>
          </a:p>
          <a:p>
            <a:pPr marL="182563" marR="0" lvl="0" indent="-182563" defTabSz="914400" eaLnBrk="1" fontAlgn="auto" latinLnBrk="0" hangingPunct="1">
              <a:lnSpc>
                <a:spcPct val="100000"/>
              </a:lnSpc>
              <a:spcBef>
                <a:spcPts val="0"/>
              </a:spcBef>
              <a:spcAft>
                <a:spcPts val="0"/>
              </a:spcAft>
              <a:buClrTx/>
              <a:buSzTx/>
              <a:buFont typeface="Wingdings" panose="05000000000000000000" pitchFamily="2" charset="2"/>
              <a:buChar char="§"/>
              <a:defRPr/>
            </a:pPr>
            <a:endParaRPr kumimoji="0" lang="en-US" sz="2200" b="0" i="0" u="none" strike="noStrike" kern="0" cap="none" spc="0" normalizeH="0" baseline="0" dirty="0">
              <a:ln>
                <a:noFill/>
              </a:ln>
              <a:solidFill>
                <a:srgbClr val="FFFFFF"/>
              </a:solidFill>
              <a:effectLst/>
              <a:uLnTx/>
              <a:uFillTx/>
            </a:endParaRPr>
          </a:p>
          <a:p>
            <a:pPr marL="182563" marR="0" lvl="0" indent="-182563" defTabSz="914400" eaLnBrk="1" fontAlgn="auto" latinLnBrk="0" hangingPunct="1">
              <a:lnSpc>
                <a:spcPct val="100000"/>
              </a:lnSpc>
              <a:spcBef>
                <a:spcPts val="0"/>
              </a:spcBef>
              <a:spcAft>
                <a:spcPts val="0"/>
              </a:spcAft>
              <a:buClrTx/>
              <a:buSzTx/>
              <a:buFont typeface="Wingdings" panose="05000000000000000000" pitchFamily="2" charset="2"/>
              <a:buChar char="§"/>
              <a:defRPr/>
            </a:pPr>
            <a:r>
              <a:rPr kumimoji="0" lang="en-US" sz="2200" b="0" i="0" u="none" strike="noStrike" kern="0" cap="none" spc="0" normalizeH="0" baseline="0" dirty="0">
                <a:ln>
                  <a:noFill/>
                </a:ln>
                <a:solidFill>
                  <a:srgbClr val="FFFFFF"/>
                </a:solidFill>
                <a:effectLst/>
                <a:uLnTx/>
                <a:uFillTx/>
              </a:rPr>
              <a:t>START FROM SCRATCH AND RE-INVENT EVERYTHING</a:t>
            </a:r>
          </a:p>
          <a:p>
            <a:pPr marL="182563" marR="0" lvl="0" indent="-182563" defTabSz="914400" eaLnBrk="1" fontAlgn="auto" latinLnBrk="0" hangingPunct="1">
              <a:lnSpc>
                <a:spcPct val="100000"/>
              </a:lnSpc>
              <a:spcBef>
                <a:spcPts val="0"/>
              </a:spcBef>
              <a:spcAft>
                <a:spcPts val="0"/>
              </a:spcAft>
              <a:buClrTx/>
              <a:buSzTx/>
              <a:buFont typeface="Wingdings" panose="05000000000000000000" pitchFamily="2" charset="2"/>
              <a:buChar char="§"/>
              <a:defRPr/>
            </a:pPr>
            <a:endParaRPr kumimoji="0" lang="en-US" sz="2200" b="0" i="0" u="none" strike="noStrike" kern="0" cap="none" spc="0" normalizeH="0" baseline="0" dirty="0">
              <a:ln>
                <a:noFill/>
              </a:ln>
              <a:solidFill>
                <a:srgbClr val="FFFFFF"/>
              </a:solidFill>
              <a:effectLst/>
              <a:uLnTx/>
              <a:uFillTx/>
            </a:endParaRPr>
          </a:p>
          <a:p>
            <a:pPr marL="182563" marR="0" lvl="0" indent="-182563" defTabSz="914400" eaLnBrk="1" fontAlgn="auto" latinLnBrk="0" hangingPunct="1">
              <a:lnSpc>
                <a:spcPct val="100000"/>
              </a:lnSpc>
              <a:spcBef>
                <a:spcPts val="0"/>
              </a:spcBef>
              <a:spcAft>
                <a:spcPts val="0"/>
              </a:spcAft>
              <a:buClrTx/>
              <a:buSzTx/>
              <a:buFont typeface="Wingdings" panose="05000000000000000000" pitchFamily="2" charset="2"/>
              <a:buChar char="§"/>
              <a:defRPr/>
            </a:pPr>
            <a:r>
              <a:rPr kumimoji="0" lang="en-US" sz="2200" b="0" i="0" u="none" strike="noStrike" kern="0" cap="none" spc="0" normalizeH="0" baseline="0" dirty="0">
                <a:ln>
                  <a:noFill/>
                </a:ln>
                <a:solidFill>
                  <a:srgbClr val="FFFFFF"/>
                </a:solidFill>
                <a:effectLst/>
                <a:uLnTx/>
                <a:uFillTx/>
              </a:rPr>
              <a:t>ADAPT ALL PROCESSES TO THE NEW SYSTEM</a:t>
            </a:r>
          </a:p>
        </p:txBody>
      </p:sp>
      <p:sp>
        <p:nvSpPr>
          <p:cNvPr id="12" name="Textfeld 11">
            <a:extLst>
              <a:ext uri="{FF2B5EF4-FFF2-40B4-BE49-F238E27FC236}">
                <a16:creationId xmlns:a16="http://schemas.microsoft.com/office/drawing/2014/main" id="{9EEB3B97-E4B8-6D44-9443-2C831132E1C7}"/>
              </a:ext>
            </a:extLst>
          </p:cNvPr>
          <p:cNvSpPr txBox="1"/>
          <p:nvPr/>
        </p:nvSpPr>
        <p:spPr>
          <a:xfrm>
            <a:off x="7194680" y="931644"/>
            <a:ext cx="4746121" cy="4814606"/>
          </a:xfrm>
          <a:prstGeom prst="rect">
            <a:avLst/>
          </a:prstGeom>
          <a:noFill/>
        </p:spPr>
        <p:txBody>
          <a:bodyPr wrap="square" lIns="36000" tIns="36000" rIns="36000" bIns="3600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dirty="0">
                <a:ln>
                  <a:noFill/>
                </a:ln>
                <a:solidFill>
                  <a:srgbClr val="FFFFFF"/>
                </a:solidFill>
                <a:effectLst/>
                <a:uLnTx/>
                <a:uFillTx/>
              </a:rPr>
              <a:t>BROWNFIELD</a:t>
            </a:r>
          </a:p>
          <a:p>
            <a:pPr marL="342900" marR="0" lvl="0" indent="-342900"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200" b="0" i="0" u="none" strike="noStrike" kern="0" cap="none" spc="0" normalizeH="0" baseline="0" dirty="0">
              <a:ln>
                <a:noFill/>
              </a:ln>
              <a:solidFill>
                <a:srgbClr val="FFFFFF"/>
              </a:solidFill>
              <a:effectLst/>
              <a:uLnTx/>
              <a:uFillTx/>
            </a:endParaRPr>
          </a:p>
          <a:p>
            <a:pPr marL="182563" marR="0" lvl="0" indent="-182563" defTabSz="914400" eaLnBrk="1" fontAlgn="auto" latinLnBrk="0" hangingPunct="1">
              <a:lnSpc>
                <a:spcPct val="100000"/>
              </a:lnSpc>
              <a:spcBef>
                <a:spcPts val="0"/>
              </a:spcBef>
              <a:spcAft>
                <a:spcPts val="0"/>
              </a:spcAft>
              <a:buClrTx/>
              <a:buSzTx/>
              <a:buFont typeface="Wingdings" panose="05000000000000000000" pitchFamily="2" charset="2"/>
              <a:buChar char="§"/>
              <a:defRPr/>
            </a:pPr>
            <a:r>
              <a:rPr kumimoji="0" lang="en-US" sz="2200" b="0" i="0" u="none" strike="noStrike" kern="0" cap="none" spc="0" normalizeH="0" baseline="0" dirty="0">
                <a:ln>
                  <a:noFill/>
                </a:ln>
                <a:solidFill>
                  <a:srgbClr val="FFFFFF"/>
                </a:solidFill>
                <a:effectLst/>
                <a:uLnTx/>
                <a:uFillTx/>
              </a:rPr>
              <a:t>IN-PLACE TECHNICAL UPGRADE OF YOUR EXISTING SYSTEM</a:t>
            </a:r>
          </a:p>
          <a:p>
            <a:pPr marL="182563" marR="0" lvl="0" indent="-182563" defTabSz="914400" eaLnBrk="1" fontAlgn="auto" latinLnBrk="0" hangingPunct="1">
              <a:lnSpc>
                <a:spcPct val="100000"/>
              </a:lnSpc>
              <a:spcBef>
                <a:spcPts val="0"/>
              </a:spcBef>
              <a:spcAft>
                <a:spcPts val="0"/>
              </a:spcAft>
              <a:buClrTx/>
              <a:buSzTx/>
              <a:buFont typeface="Wingdings" panose="05000000000000000000" pitchFamily="2" charset="2"/>
              <a:buChar char="§"/>
              <a:defRPr/>
            </a:pPr>
            <a:endParaRPr kumimoji="0" lang="en-US" sz="2200" b="0" i="0" u="none" strike="noStrike" kern="0" cap="none" spc="0" normalizeH="0" baseline="0" dirty="0">
              <a:ln>
                <a:noFill/>
              </a:ln>
              <a:solidFill>
                <a:srgbClr val="FFFFFF"/>
              </a:solidFill>
              <a:effectLst/>
              <a:uLnTx/>
              <a:uFillTx/>
            </a:endParaRPr>
          </a:p>
          <a:p>
            <a:pPr marL="182563" marR="0" lvl="0" indent="-182563" defTabSz="914400" eaLnBrk="1" fontAlgn="auto" latinLnBrk="0" hangingPunct="1">
              <a:lnSpc>
                <a:spcPct val="100000"/>
              </a:lnSpc>
              <a:spcBef>
                <a:spcPts val="0"/>
              </a:spcBef>
              <a:spcAft>
                <a:spcPts val="0"/>
              </a:spcAft>
              <a:buClrTx/>
              <a:buSzTx/>
              <a:buFont typeface="Wingdings" panose="05000000000000000000" pitchFamily="2" charset="2"/>
              <a:buChar char="§"/>
              <a:defRPr/>
            </a:pPr>
            <a:r>
              <a:rPr kumimoji="0" lang="en-US" sz="2200" b="0" i="0" u="none" strike="noStrike" kern="0" cap="none" spc="0" normalizeH="0" baseline="0" dirty="0">
                <a:ln>
                  <a:noFill/>
                </a:ln>
                <a:solidFill>
                  <a:srgbClr val="FFFFFF"/>
                </a:solidFill>
                <a:effectLst/>
                <a:uLnTx/>
                <a:uFillTx/>
              </a:rPr>
              <a:t>GIVES YOU YOUR SAME R/3 SYSTEM RUNNING ON S/4HANA</a:t>
            </a:r>
          </a:p>
          <a:p>
            <a:pPr marL="182563" marR="0" lvl="0" indent="-182563" defTabSz="914400" eaLnBrk="1" fontAlgn="auto" latinLnBrk="0" hangingPunct="1">
              <a:lnSpc>
                <a:spcPct val="100000"/>
              </a:lnSpc>
              <a:spcBef>
                <a:spcPts val="0"/>
              </a:spcBef>
              <a:spcAft>
                <a:spcPts val="0"/>
              </a:spcAft>
              <a:buClrTx/>
              <a:buSzTx/>
              <a:buFont typeface="Wingdings" panose="05000000000000000000" pitchFamily="2" charset="2"/>
              <a:buChar char="§"/>
              <a:defRPr/>
            </a:pPr>
            <a:endParaRPr kumimoji="0" lang="en-US" sz="2200" b="0" i="0" u="none" strike="noStrike" kern="0" cap="none" spc="0" normalizeH="0" baseline="0" dirty="0">
              <a:ln>
                <a:noFill/>
              </a:ln>
              <a:solidFill>
                <a:srgbClr val="FFFFFF"/>
              </a:solidFill>
              <a:effectLst/>
              <a:uLnTx/>
              <a:uFillTx/>
            </a:endParaRPr>
          </a:p>
          <a:p>
            <a:pPr marL="182563" marR="0" lvl="0" indent="-182563" defTabSz="914400" eaLnBrk="1" fontAlgn="auto" latinLnBrk="0" hangingPunct="1">
              <a:lnSpc>
                <a:spcPct val="100000"/>
              </a:lnSpc>
              <a:spcBef>
                <a:spcPts val="0"/>
              </a:spcBef>
              <a:spcAft>
                <a:spcPts val="0"/>
              </a:spcAft>
              <a:buClrTx/>
              <a:buSzTx/>
              <a:buFont typeface="Wingdings" panose="05000000000000000000" pitchFamily="2" charset="2"/>
              <a:buChar char="§"/>
              <a:defRPr/>
            </a:pPr>
            <a:r>
              <a:rPr kumimoji="0" lang="en-US" sz="2200" b="0" i="0" u="none" strike="noStrike" kern="0" cap="none" spc="0" normalizeH="0" baseline="0" dirty="0">
                <a:ln>
                  <a:noFill/>
                </a:ln>
                <a:solidFill>
                  <a:srgbClr val="FFFFFF"/>
                </a:solidFill>
                <a:effectLst/>
                <a:uLnTx/>
                <a:uFillTx/>
              </a:rPr>
              <a:t>SAME BROKEN PROCESSES, SAME UNUSED CUSTOMIZATION</a:t>
            </a:r>
          </a:p>
        </p:txBody>
      </p:sp>
      <p:sp>
        <p:nvSpPr>
          <p:cNvPr id="13" name="Rectangle 6">
            <a:extLst>
              <a:ext uri="{FF2B5EF4-FFF2-40B4-BE49-F238E27FC236}">
                <a16:creationId xmlns:a16="http://schemas.microsoft.com/office/drawing/2014/main" id="{17EE6611-8466-3C47-ACBE-FDD099769441}"/>
              </a:ext>
            </a:extLst>
          </p:cNvPr>
          <p:cNvSpPr/>
          <p:nvPr/>
        </p:nvSpPr>
        <p:spPr>
          <a:xfrm>
            <a:off x="491316" y="5847225"/>
            <a:ext cx="11305431" cy="523220"/>
          </a:xfrm>
          <a:prstGeom prst="rect">
            <a:avLst/>
          </a:prstGeom>
          <a:noFill/>
        </p:spPr>
        <p:txBody>
          <a:bodyPr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dirty="0">
                <a:ln>
                  <a:noFill/>
                </a:ln>
                <a:solidFill>
                  <a:srgbClr val="E7FAF8"/>
                </a:solidFill>
                <a:effectLst>
                  <a:glow rad="228600">
                    <a:srgbClr val="10A0CB">
                      <a:satMod val="175000"/>
                      <a:alpha val="40000"/>
                    </a:srgbClr>
                  </a:glow>
                  <a:outerShdw blurRad="38100" dist="38100" dir="2700000" algn="tl">
                    <a:srgbClr val="000000">
                      <a:alpha val="43137"/>
                    </a:srgbClr>
                  </a:outerShdw>
                </a:effectLst>
                <a:uLnTx/>
                <a:uFillTx/>
              </a:rPr>
              <a:t>ENCOMPASSES BOTH GREENFIELD AND BROWNFIELD</a:t>
            </a:r>
          </a:p>
        </p:txBody>
      </p:sp>
      <p:sp>
        <p:nvSpPr>
          <p:cNvPr id="15" name="Freeform 5">
            <a:extLst>
              <a:ext uri="{FF2B5EF4-FFF2-40B4-BE49-F238E27FC236}">
                <a16:creationId xmlns:a16="http://schemas.microsoft.com/office/drawing/2014/main" id="{92E6F0B5-CEF0-FD47-A8A0-F2B294CE4241}"/>
              </a:ext>
            </a:extLst>
          </p:cNvPr>
          <p:cNvSpPr>
            <a:spLocks noEditPoints="1"/>
          </p:cNvSpPr>
          <p:nvPr/>
        </p:nvSpPr>
        <p:spPr bwMode="auto">
          <a:xfrm>
            <a:off x="11378399" y="248372"/>
            <a:ext cx="564809" cy="547340"/>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dirty="0">
              <a:ln>
                <a:noFill/>
              </a:ln>
              <a:solidFill>
                <a:srgbClr val="6F6F6F"/>
              </a:solidFill>
              <a:effectLst/>
              <a:uLnTx/>
              <a:uFillTx/>
              <a:latin typeface="Univers"/>
              <a:ea typeface="+mn-ea"/>
              <a:cs typeface="+mn-cs"/>
            </a:endParaRPr>
          </a:p>
        </p:txBody>
      </p:sp>
      <p:pic>
        <p:nvPicPr>
          <p:cNvPr id="2" name="Picture 1">
            <a:extLst>
              <a:ext uri="{FF2B5EF4-FFF2-40B4-BE49-F238E27FC236}">
                <a16:creationId xmlns:a16="http://schemas.microsoft.com/office/drawing/2014/main" id="{18095379-999F-40B1-A9BA-A9A99D13C220}"/>
              </a:ext>
            </a:extLst>
          </p:cNvPr>
          <p:cNvPicPr>
            <a:picLocks noChangeAspect="1"/>
          </p:cNvPicPr>
          <p:nvPr/>
        </p:nvPicPr>
        <p:blipFill>
          <a:blip r:embed="rId3"/>
          <a:stretch>
            <a:fillRect/>
          </a:stretch>
        </p:blipFill>
        <p:spPr>
          <a:xfrm>
            <a:off x="9994951" y="384669"/>
            <a:ext cx="1311958" cy="411043"/>
          </a:xfrm>
          <a:prstGeom prst="rect">
            <a:avLst/>
          </a:prstGeom>
        </p:spPr>
      </p:pic>
    </p:spTree>
    <p:extLst>
      <p:ext uri="{BB962C8B-B14F-4D97-AF65-F5344CB8AC3E}">
        <p14:creationId xmlns:p14="http://schemas.microsoft.com/office/powerpoint/2010/main" val="953507246"/>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Grafik 79">
            <a:extLst>
              <a:ext uri="{FF2B5EF4-FFF2-40B4-BE49-F238E27FC236}">
                <a16:creationId xmlns:a16="http://schemas.microsoft.com/office/drawing/2014/main" id="{9DCF9FE5-1AAC-3042-85E2-DFF063787E1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14392"/>
            <a:ext cx="12190413" cy="6872391"/>
          </a:xfrm>
          <a:prstGeom prst="rect">
            <a:avLst/>
          </a:prstGeom>
        </p:spPr>
      </p:pic>
      <p:cxnSp>
        <p:nvCxnSpPr>
          <p:cNvPr id="81" name="Straight Connector 24">
            <a:extLst>
              <a:ext uri="{FF2B5EF4-FFF2-40B4-BE49-F238E27FC236}">
                <a16:creationId xmlns:a16="http://schemas.microsoft.com/office/drawing/2014/main" id="{5C6F5DD4-898C-E842-B413-F02715A20DA6}"/>
              </a:ext>
            </a:extLst>
          </p:cNvPr>
          <p:cNvCxnSpPr>
            <a:cxnSpLocks/>
          </p:cNvCxnSpPr>
          <p:nvPr/>
        </p:nvCxnSpPr>
        <p:spPr>
          <a:xfrm flipV="1">
            <a:off x="406400" y="1776253"/>
            <a:ext cx="0" cy="4176464"/>
          </a:xfrm>
          <a:prstGeom prst="line">
            <a:avLst/>
          </a:prstGeom>
          <a:noFill/>
          <a:ln w="19050" cap="flat" cmpd="sng" algn="ctr">
            <a:solidFill>
              <a:srgbClr val="FFFFFF"/>
            </a:solidFill>
            <a:prstDash val="sysDot"/>
          </a:ln>
          <a:effectLst/>
        </p:spPr>
      </p:cxnSp>
      <p:sp>
        <p:nvSpPr>
          <p:cNvPr id="82" name="Rectangle 8">
            <a:extLst>
              <a:ext uri="{FF2B5EF4-FFF2-40B4-BE49-F238E27FC236}">
                <a16:creationId xmlns:a16="http://schemas.microsoft.com/office/drawing/2014/main" id="{64789169-5B35-4D40-8057-AC2942C233B3}"/>
              </a:ext>
            </a:extLst>
          </p:cNvPr>
          <p:cNvSpPr/>
          <p:nvPr/>
        </p:nvSpPr>
        <p:spPr>
          <a:xfrm>
            <a:off x="1140126" y="2352393"/>
            <a:ext cx="2586460" cy="213414"/>
          </a:xfrm>
          <a:prstGeom prst="rect">
            <a:avLst/>
          </a:prstGeom>
          <a:solidFill>
            <a:srgbClr val="00B050"/>
          </a:solidFill>
          <a:ln w="25400" cap="flat" cmpd="sng" algn="ctr">
            <a:noFill/>
            <a:prstDash val="solid"/>
          </a:ln>
          <a:effectLst/>
        </p:spPr>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ea typeface="+mn-ea"/>
                <a:cs typeface="+mn-cs"/>
              </a:rPr>
              <a:t>Design </a:t>
            </a:r>
            <a:r>
              <a:rPr kumimoji="0" lang="en-US" sz="1400" b="1" i="0" u="none" strike="noStrike" kern="0" cap="none" spc="0" normalizeH="0" baseline="0" noProof="0" dirty="0">
                <a:ln>
                  <a:noFill/>
                </a:ln>
                <a:solidFill>
                  <a:srgbClr val="FFFFFF"/>
                </a:solidFill>
                <a:effectLst/>
                <a:uLnTx/>
                <a:uFillTx/>
                <a:latin typeface="Univers"/>
                <a:ea typeface="+mn-ea"/>
                <a:cs typeface="+mn-cs"/>
              </a:rPr>
              <a:t>6 months</a:t>
            </a:r>
          </a:p>
        </p:txBody>
      </p:sp>
      <p:sp>
        <p:nvSpPr>
          <p:cNvPr id="83" name="Rectangle 10">
            <a:extLst>
              <a:ext uri="{FF2B5EF4-FFF2-40B4-BE49-F238E27FC236}">
                <a16:creationId xmlns:a16="http://schemas.microsoft.com/office/drawing/2014/main" id="{6A5EACB6-328C-504A-8664-7546917B3390}"/>
              </a:ext>
            </a:extLst>
          </p:cNvPr>
          <p:cNvSpPr/>
          <p:nvPr/>
        </p:nvSpPr>
        <p:spPr>
          <a:xfrm>
            <a:off x="5625493" y="3523127"/>
            <a:ext cx="2586460" cy="213413"/>
          </a:xfrm>
          <a:prstGeom prst="rect">
            <a:avLst/>
          </a:prstGeom>
          <a:solidFill>
            <a:srgbClr val="FFFF00"/>
          </a:solidFill>
          <a:ln w="25400" cap="flat" cmpd="sng" algn="ctr">
            <a:noFill/>
            <a:prstDash val="solid"/>
          </a:ln>
          <a:effectLst/>
        </p:spPr>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DBDBDB">
                    <a:lumMod val="25000"/>
                  </a:srgbClr>
                </a:solidFill>
                <a:effectLst/>
                <a:uLnTx/>
                <a:uFillTx/>
                <a:latin typeface="Univers"/>
                <a:ea typeface="+mn-ea"/>
                <a:cs typeface="+mn-cs"/>
              </a:rPr>
              <a:t>Execution </a:t>
            </a:r>
            <a:r>
              <a:rPr kumimoji="0" lang="en-US" sz="1400" b="1" i="0" u="none" strike="noStrike" kern="0" cap="none" spc="0" normalizeH="0" baseline="0" noProof="0" dirty="0">
                <a:ln>
                  <a:noFill/>
                </a:ln>
                <a:solidFill>
                  <a:srgbClr val="DBDBDB">
                    <a:lumMod val="25000"/>
                  </a:srgbClr>
                </a:solidFill>
                <a:effectLst/>
                <a:uLnTx/>
                <a:uFillTx/>
                <a:latin typeface="Univers"/>
                <a:ea typeface="+mn-ea"/>
                <a:cs typeface="+mn-cs"/>
              </a:rPr>
              <a:t>6 months</a:t>
            </a:r>
          </a:p>
        </p:txBody>
      </p:sp>
      <p:sp>
        <p:nvSpPr>
          <p:cNvPr id="84" name="Rectangle 11">
            <a:extLst>
              <a:ext uri="{FF2B5EF4-FFF2-40B4-BE49-F238E27FC236}">
                <a16:creationId xmlns:a16="http://schemas.microsoft.com/office/drawing/2014/main" id="{F6B1A86C-3B88-4845-8F26-85FCDA100DE9}"/>
              </a:ext>
            </a:extLst>
          </p:cNvPr>
          <p:cNvSpPr/>
          <p:nvPr/>
        </p:nvSpPr>
        <p:spPr>
          <a:xfrm>
            <a:off x="6741628" y="4108493"/>
            <a:ext cx="2592126" cy="221457"/>
          </a:xfrm>
          <a:prstGeom prst="rect">
            <a:avLst/>
          </a:prstGeom>
          <a:solidFill>
            <a:srgbClr val="FFC000"/>
          </a:solidFill>
          <a:ln w="25400" cap="flat" cmpd="sng" algn="ctr">
            <a:noFill/>
            <a:prstDash val="solid"/>
          </a:ln>
          <a:effectLst/>
        </p:spPr>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DBDBDB">
                    <a:lumMod val="25000"/>
                  </a:srgbClr>
                </a:solidFill>
                <a:effectLst/>
                <a:uLnTx/>
                <a:uFillTx/>
                <a:latin typeface="Univers"/>
                <a:ea typeface="+mn-ea"/>
                <a:cs typeface="+mn-cs"/>
              </a:rPr>
              <a:t>Testing </a:t>
            </a:r>
            <a:r>
              <a:rPr kumimoji="0" lang="en-US" sz="1400" b="1" i="0" u="none" strike="noStrike" kern="0" cap="none" spc="0" normalizeH="0" baseline="0" noProof="0" dirty="0">
                <a:ln>
                  <a:noFill/>
                </a:ln>
                <a:solidFill>
                  <a:srgbClr val="DBDBDB">
                    <a:lumMod val="25000"/>
                  </a:srgbClr>
                </a:solidFill>
                <a:effectLst/>
                <a:uLnTx/>
                <a:uFillTx/>
                <a:latin typeface="Univers"/>
                <a:ea typeface="+mn-ea"/>
                <a:cs typeface="+mn-cs"/>
              </a:rPr>
              <a:t>6 months</a:t>
            </a:r>
          </a:p>
        </p:txBody>
      </p:sp>
      <p:grpSp>
        <p:nvGrpSpPr>
          <p:cNvPr id="85" name="Gruppieren 84">
            <a:extLst>
              <a:ext uri="{FF2B5EF4-FFF2-40B4-BE49-F238E27FC236}">
                <a16:creationId xmlns:a16="http://schemas.microsoft.com/office/drawing/2014/main" id="{2F08ACD4-4857-6D47-BAF3-2A38B1D16A76}"/>
              </a:ext>
            </a:extLst>
          </p:cNvPr>
          <p:cNvGrpSpPr/>
          <p:nvPr/>
        </p:nvGrpSpPr>
        <p:grpSpPr>
          <a:xfrm>
            <a:off x="9333754" y="4701903"/>
            <a:ext cx="2273087" cy="231913"/>
            <a:chOff x="9333754" y="4383281"/>
            <a:chExt cx="2273087" cy="231913"/>
          </a:xfrm>
        </p:grpSpPr>
        <p:sp>
          <p:nvSpPr>
            <p:cNvPr id="86" name="Rectangle 12">
              <a:extLst>
                <a:ext uri="{FF2B5EF4-FFF2-40B4-BE49-F238E27FC236}">
                  <a16:creationId xmlns:a16="http://schemas.microsoft.com/office/drawing/2014/main" id="{04F0F90E-DF08-2E4C-8716-7584D7471C71}"/>
                </a:ext>
              </a:extLst>
            </p:cNvPr>
            <p:cNvSpPr/>
            <p:nvPr/>
          </p:nvSpPr>
          <p:spPr>
            <a:xfrm>
              <a:off x="9333754" y="4383281"/>
              <a:ext cx="1290350" cy="231261"/>
            </a:xfrm>
            <a:prstGeom prst="rect">
              <a:avLst/>
            </a:prstGeom>
            <a:solidFill>
              <a:srgbClr val="FF0000"/>
            </a:solidFill>
            <a:ln w="25400" cap="flat" cmpd="sng" algn="ctr">
              <a:noFill/>
              <a:prstDash val="solid"/>
            </a:ln>
            <a:effectLst/>
          </p:spPr>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ea typeface="+mn-ea"/>
                  <a:cs typeface="+mn-cs"/>
                </a:rPr>
                <a:t>Go-live</a:t>
              </a:r>
            </a:p>
          </p:txBody>
        </p:sp>
        <p:sp>
          <p:nvSpPr>
            <p:cNvPr id="87" name="TextBox 20">
              <a:extLst>
                <a:ext uri="{FF2B5EF4-FFF2-40B4-BE49-F238E27FC236}">
                  <a16:creationId xmlns:a16="http://schemas.microsoft.com/office/drawing/2014/main" id="{2E4BE2E4-5D0A-344D-AAFF-B7C73719A2C3}"/>
                </a:ext>
              </a:extLst>
            </p:cNvPr>
            <p:cNvSpPr txBox="1"/>
            <p:nvPr/>
          </p:nvSpPr>
          <p:spPr>
            <a:xfrm>
              <a:off x="10624105" y="4399750"/>
              <a:ext cx="982736" cy="215444"/>
            </a:xfrm>
            <a:prstGeom prst="rect">
              <a:avLst/>
            </a:prstGeom>
            <a:noFill/>
          </p:spPr>
          <p:txBody>
            <a:bodyPr wrap="square" lIns="72000" tIns="0" rIns="0" bIns="0" rtlCol="0">
              <a:spAutoFit/>
            </a:bodyPr>
            <a:lstStyle/>
            <a:p>
              <a:pPr marL="0" marR="0" lvl="0" indent="0" defTabSz="91430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Univers"/>
                </a:rPr>
                <a:t>3 months</a:t>
              </a:r>
            </a:p>
          </p:txBody>
        </p:sp>
      </p:grpSp>
      <p:grpSp>
        <p:nvGrpSpPr>
          <p:cNvPr id="88" name="Gruppieren 87">
            <a:extLst>
              <a:ext uri="{FF2B5EF4-FFF2-40B4-BE49-F238E27FC236}">
                <a16:creationId xmlns:a16="http://schemas.microsoft.com/office/drawing/2014/main" id="{AFE4321E-E476-6042-9B87-6F9B8F5124A6}"/>
              </a:ext>
            </a:extLst>
          </p:cNvPr>
          <p:cNvGrpSpPr/>
          <p:nvPr/>
        </p:nvGrpSpPr>
        <p:grpSpPr>
          <a:xfrm>
            <a:off x="406400" y="1764996"/>
            <a:ext cx="2170970" cy="215444"/>
            <a:chOff x="406400" y="1923372"/>
            <a:chExt cx="2170970" cy="215444"/>
          </a:xfrm>
        </p:grpSpPr>
        <p:sp>
          <p:nvSpPr>
            <p:cNvPr id="89" name="Rectangle 7">
              <a:extLst>
                <a:ext uri="{FF2B5EF4-FFF2-40B4-BE49-F238E27FC236}">
                  <a16:creationId xmlns:a16="http://schemas.microsoft.com/office/drawing/2014/main" id="{97BA9E2A-F2E3-274E-8EE4-4E5BA0EC34C8}"/>
                </a:ext>
              </a:extLst>
            </p:cNvPr>
            <p:cNvSpPr/>
            <p:nvPr/>
          </p:nvSpPr>
          <p:spPr>
            <a:xfrm>
              <a:off x="406400" y="1923372"/>
              <a:ext cx="1290350" cy="213414"/>
            </a:xfrm>
            <a:prstGeom prst="rect">
              <a:avLst/>
            </a:prstGeom>
            <a:solidFill>
              <a:srgbClr val="005A9A"/>
            </a:solidFill>
            <a:ln w="25400" cap="flat" cmpd="sng" algn="ctr">
              <a:noFill/>
              <a:prstDash val="solid"/>
            </a:ln>
            <a:effectLst/>
          </p:spPr>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ea typeface="+mn-ea"/>
                  <a:cs typeface="+mn-cs"/>
                </a:rPr>
                <a:t>Analysis</a:t>
              </a:r>
              <a:endParaRPr kumimoji="0" lang="en-US" sz="1400" b="1" i="0" u="none" strike="noStrike" kern="0" cap="none" spc="0" normalizeH="0" baseline="0" noProof="0" dirty="0">
                <a:ln>
                  <a:noFill/>
                </a:ln>
                <a:solidFill>
                  <a:srgbClr val="FFFFFF"/>
                </a:solidFill>
                <a:effectLst/>
                <a:uLnTx/>
                <a:uFillTx/>
                <a:latin typeface="Univers"/>
                <a:ea typeface="+mn-ea"/>
                <a:cs typeface="+mn-cs"/>
              </a:endParaRPr>
            </a:p>
          </p:txBody>
        </p:sp>
        <p:sp>
          <p:nvSpPr>
            <p:cNvPr id="90" name="Rechteck 89">
              <a:extLst>
                <a:ext uri="{FF2B5EF4-FFF2-40B4-BE49-F238E27FC236}">
                  <a16:creationId xmlns:a16="http://schemas.microsoft.com/office/drawing/2014/main" id="{2168D6D7-DE31-F54D-A10A-3C735623A9CC}"/>
                </a:ext>
              </a:extLst>
            </p:cNvPr>
            <p:cNvSpPr/>
            <p:nvPr/>
          </p:nvSpPr>
          <p:spPr>
            <a:xfrm>
              <a:off x="1771059" y="1923372"/>
              <a:ext cx="806311" cy="215444"/>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Univers"/>
                </a:rPr>
                <a:t>3 months</a:t>
              </a:r>
              <a:endParaRPr kumimoji="0" lang="de-DE" sz="1800" b="0" i="0" u="none" strike="noStrike" kern="0" cap="none" spc="0" normalizeH="0" baseline="0" noProof="0" dirty="0">
                <a:ln>
                  <a:noFill/>
                </a:ln>
                <a:solidFill>
                  <a:srgbClr val="FFFFFF"/>
                </a:solidFill>
                <a:effectLst/>
                <a:uLnTx/>
                <a:uFillTx/>
                <a:latin typeface="Univers"/>
              </a:endParaRPr>
            </a:p>
          </p:txBody>
        </p:sp>
      </p:grpSp>
      <p:cxnSp>
        <p:nvCxnSpPr>
          <p:cNvPr id="91" name="Straight Connector 24">
            <a:extLst>
              <a:ext uri="{FF2B5EF4-FFF2-40B4-BE49-F238E27FC236}">
                <a16:creationId xmlns:a16="http://schemas.microsoft.com/office/drawing/2014/main" id="{E571273E-6328-BA4C-8CC5-626085E9FBA1}"/>
              </a:ext>
            </a:extLst>
          </p:cNvPr>
          <p:cNvCxnSpPr>
            <a:cxnSpLocks/>
          </p:cNvCxnSpPr>
          <p:nvPr/>
        </p:nvCxnSpPr>
        <p:spPr>
          <a:xfrm flipV="1">
            <a:off x="5610167" y="2060644"/>
            <a:ext cx="0" cy="3892073"/>
          </a:xfrm>
          <a:prstGeom prst="line">
            <a:avLst/>
          </a:prstGeom>
          <a:noFill/>
          <a:ln w="19050" cap="flat" cmpd="sng" algn="ctr">
            <a:solidFill>
              <a:srgbClr val="FFFFFF"/>
            </a:solidFill>
            <a:prstDash val="sysDot"/>
          </a:ln>
          <a:effectLst/>
        </p:spPr>
      </p:cxnSp>
      <p:sp>
        <p:nvSpPr>
          <p:cNvPr id="92" name="TextBox 67">
            <a:extLst>
              <a:ext uri="{FF2B5EF4-FFF2-40B4-BE49-F238E27FC236}">
                <a16:creationId xmlns:a16="http://schemas.microsoft.com/office/drawing/2014/main" id="{80565814-C3BB-4548-9C5C-55BBCF245BAA}"/>
              </a:ext>
            </a:extLst>
          </p:cNvPr>
          <p:cNvSpPr txBox="1"/>
          <p:nvPr/>
        </p:nvSpPr>
        <p:spPr>
          <a:xfrm>
            <a:off x="5167596" y="1790890"/>
            <a:ext cx="927610" cy="215444"/>
          </a:xfrm>
          <a:prstGeom prst="rect">
            <a:avLst/>
          </a:prstGeom>
          <a:noFill/>
        </p:spPr>
        <p:txBody>
          <a:bodyPr wrap="square" lIns="0" tIns="0" rIns="0" bIns="0" rtlCol="0">
            <a:spAutoFit/>
          </a:bodyPr>
          <a:lstStyle/>
          <a:p>
            <a:pPr algn="ctr" defTabSz="914309">
              <a:defRPr/>
            </a:pPr>
            <a:r>
              <a:rPr lang="en-US" sz="1400" dirty="0">
                <a:solidFill>
                  <a:srgbClr val="FFFFFF"/>
                </a:solidFill>
                <a:latin typeface="Univers"/>
              </a:rPr>
              <a:t>1 year</a:t>
            </a:r>
            <a:endParaRPr lang="en-US" sz="1400" baseline="-25000" dirty="0">
              <a:solidFill>
                <a:srgbClr val="FFFFFF"/>
              </a:solidFill>
              <a:latin typeface="Univers"/>
            </a:endParaRPr>
          </a:p>
        </p:txBody>
      </p:sp>
      <p:cxnSp>
        <p:nvCxnSpPr>
          <p:cNvPr id="93" name="Straight Connector 24">
            <a:extLst>
              <a:ext uri="{FF2B5EF4-FFF2-40B4-BE49-F238E27FC236}">
                <a16:creationId xmlns:a16="http://schemas.microsoft.com/office/drawing/2014/main" id="{D505ED89-0AD2-6D4E-8607-870DB87D86D4}"/>
              </a:ext>
            </a:extLst>
          </p:cNvPr>
          <p:cNvCxnSpPr>
            <a:cxnSpLocks/>
          </p:cNvCxnSpPr>
          <p:nvPr/>
        </p:nvCxnSpPr>
        <p:spPr>
          <a:xfrm flipV="1">
            <a:off x="10813934" y="2060644"/>
            <a:ext cx="0" cy="3892073"/>
          </a:xfrm>
          <a:prstGeom prst="line">
            <a:avLst/>
          </a:prstGeom>
          <a:noFill/>
          <a:ln w="19050" cap="flat" cmpd="sng" algn="ctr">
            <a:solidFill>
              <a:srgbClr val="FFFFFF"/>
            </a:solidFill>
            <a:prstDash val="sysDot"/>
          </a:ln>
          <a:effectLst/>
        </p:spPr>
      </p:cxnSp>
      <p:sp>
        <p:nvSpPr>
          <p:cNvPr id="95" name="TextBox 67">
            <a:extLst>
              <a:ext uri="{FF2B5EF4-FFF2-40B4-BE49-F238E27FC236}">
                <a16:creationId xmlns:a16="http://schemas.microsoft.com/office/drawing/2014/main" id="{4E7F2C8E-5D4A-4F4F-BC0B-043AEE109233}"/>
              </a:ext>
            </a:extLst>
          </p:cNvPr>
          <p:cNvSpPr txBox="1"/>
          <p:nvPr/>
        </p:nvSpPr>
        <p:spPr>
          <a:xfrm>
            <a:off x="10350129" y="1790890"/>
            <a:ext cx="927610" cy="215444"/>
          </a:xfrm>
          <a:prstGeom prst="rect">
            <a:avLst/>
          </a:prstGeom>
          <a:noFill/>
        </p:spPr>
        <p:txBody>
          <a:bodyPr wrap="square" lIns="0" tIns="0" rIns="0" bIns="0" rtlCol="0">
            <a:spAutoFit/>
          </a:bodyPr>
          <a:lstStyle/>
          <a:p>
            <a:pPr algn="ctr" defTabSz="914309">
              <a:defRPr/>
            </a:pPr>
            <a:r>
              <a:rPr lang="en-US" sz="1400" dirty="0">
                <a:solidFill>
                  <a:srgbClr val="FFFFFF"/>
                </a:solidFill>
                <a:latin typeface="Univers"/>
              </a:rPr>
              <a:t>2 years</a:t>
            </a:r>
            <a:endParaRPr lang="en-US" sz="1400" baseline="-25000" dirty="0">
              <a:solidFill>
                <a:srgbClr val="FFFFFF"/>
              </a:solidFill>
              <a:latin typeface="Univers"/>
            </a:endParaRPr>
          </a:p>
        </p:txBody>
      </p:sp>
      <p:sp>
        <p:nvSpPr>
          <p:cNvPr id="97" name="TextBox 67">
            <a:extLst>
              <a:ext uri="{FF2B5EF4-FFF2-40B4-BE49-F238E27FC236}">
                <a16:creationId xmlns:a16="http://schemas.microsoft.com/office/drawing/2014/main" id="{B529B464-FF78-E340-A9A5-CFF251DFCEEF}"/>
              </a:ext>
            </a:extLst>
          </p:cNvPr>
          <p:cNvSpPr txBox="1"/>
          <p:nvPr/>
        </p:nvSpPr>
        <p:spPr>
          <a:xfrm>
            <a:off x="411050" y="1462409"/>
            <a:ext cx="6116204" cy="215444"/>
          </a:xfrm>
          <a:prstGeom prst="rect">
            <a:avLst/>
          </a:prstGeom>
          <a:noFill/>
        </p:spPr>
        <p:txBody>
          <a:bodyPr wrap="square" lIns="0" tIns="0" rIns="0" bIns="0" rtlCol="0">
            <a:spAutoFit/>
          </a:bodyPr>
          <a:lstStyle/>
          <a:p>
            <a:pPr defTabSz="914309">
              <a:defRPr/>
            </a:pPr>
            <a:r>
              <a:rPr lang="en-US" sz="1400" b="1" dirty="0">
                <a:solidFill>
                  <a:srgbClr val="FFFFFF"/>
                </a:solidFill>
                <a:latin typeface="Univers"/>
              </a:rPr>
              <a:t>The traditional way = Massive human intervention</a:t>
            </a:r>
            <a:endParaRPr lang="en-US" sz="1400" b="1" baseline="-25000" dirty="0">
              <a:solidFill>
                <a:srgbClr val="FFFFFF"/>
              </a:solidFill>
              <a:latin typeface="Univers"/>
            </a:endParaRPr>
          </a:p>
        </p:txBody>
      </p:sp>
      <p:sp>
        <p:nvSpPr>
          <p:cNvPr id="98" name="Titel 1">
            <a:extLst>
              <a:ext uri="{FF2B5EF4-FFF2-40B4-BE49-F238E27FC236}">
                <a16:creationId xmlns:a16="http://schemas.microsoft.com/office/drawing/2014/main" id="{7B5E8B1B-04DD-594A-8DD6-E8F6F6C67AD1}"/>
              </a:ext>
            </a:extLst>
          </p:cNvPr>
          <p:cNvSpPr txBox="1">
            <a:spLocks/>
          </p:cNvSpPr>
          <p:nvPr/>
        </p:nvSpPr>
        <p:spPr>
          <a:xfrm>
            <a:off x="406400" y="342586"/>
            <a:ext cx="10704617" cy="453126"/>
          </a:xfrm>
          <a:prstGeom prst="rect">
            <a:avLst/>
          </a:prstGeom>
        </p:spPr>
        <p:txBody>
          <a:bodyPr vert="horz" lIns="0" tIns="0" rIns="0" bIns="0" rtlCol="0" anchor="t" anchorCtr="0">
            <a:noAutofit/>
          </a:bodyPr>
          <a:lstStyle>
            <a:lvl1pPr algn="l" defTabSz="1219078" rtl="0" eaLnBrk="1" latinLnBrk="0" hangingPunct="1">
              <a:lnSpc>
                <a:spcPct val="90000"/>
              </a:lnSpc>
              <a:spcBef>
                <a:spcPct val="0"/>
              </a:spcBef>
              <a:buNone/>
              <a:defRPr sz="2600" b="0" kern="1200">
                <a:solidFill>
                  <a:schemeClr val="bg2">
                    <a:lumMod val="25000"/>
                  </a:schemeClr>
                </a:solidFill>
                <a:latin typeface="Univers" panose="020B0503020202020204" pitchFamily="34" charset="0"/>
                <a:ea typeface="+mj-ea"/>
                <a:cs typeface="+mj-cs"/>
              </a:defRPr>
            </a:lvl1pPr>
          </a:lstStyle>
          <a:p>
            <a:pPr marL="0" marR="0" lvl="0" indent="0" algn="l" defTabSz="1219078" rtl="0" eaLnBrk="1" fontAlgn="auto" latinLnBrk="0" hangingPunct="1">
              <a:lnSpc>
                <a:spcPct val="90000"/>
              </a:lnSpc>
              <a:spcBef>
                <a:spcPct val="0"/>
              </a:spcBef>
              <a:spcAft>
                <a:spcPts val="0"/>
              </a:spcAft>
              <a:buClrTx/>
              <a:buSzTx/>
              <a:buFontTx/>
              <a:buNone/>
              <a:tabLst/>
              <a:defRPr/>
            </a:pPr>
            <a:r>
              <a:rPr kumimoji="0" lang="de-DE" sz="2600" b="0" i="0" u="none" strike="noStrike" kern="1200" cap="none" spc="0" normalizeH="0" baseline="0" noProof="0">
                <a:ln>
                  <a:noFill/>
                </a:ln>
                <a:solidFill>
                  <a:srgbClr val="FFFFFF"/>
                </a:solidFill>
                <a:effectLst/>
                <a:uLnTx/>
                <a:uFillTx/>
                <a:latin typeface="Univers" panose="020B0503020202020204" pitchFamily="34" charset="0"/>
                <a:ea typeface="+mj-ea"/>
                <a:cs typeface="+mj-cs"/>
              </a:rPr>
              <a:t>The Traditional Way</a:t>
            </a:r>
            <a:endParaRPr kumimoji="0" lang="de-DE" sz="2600" b="0" i="0" u="none" strike="noStrike" kern="1200" cap="none" spc="0" normalizeH="0" baseline="0" noProof="0" dirty="0">
              <a:ln>
                <a:noFill/>
              </a:ln>
              <a:solidFill>
                <a:srgbClr val="FFFFFF"/>
              </a:solidFill>
              <a:effectLst/>
              <a:uLnTx/>
              <a:uFillTx/>
              <a:latin typeface="Univers" panose="020B0503020202020204" pitchFamily="34" charset="0"/>
              <a:ea typeface="+mj-ea"/>
              <a:cs typeface="+mj-cs"/>
            </a:endParaRPr>
          </a:p>
        </p:txBody>
      </p:sp>
      <p:sp>
        <p:nvSpPr>
          <p:cNvPr id="99" name="Freeform 5">
            <a:extLst>
              <a:ext uri="{FF2B5EF4-FFF2-40B4-BE49-F238E27FC236}">
                <a16:creationId xmlns:a16="http://schemas.microsoft.com/office/drawing/2014/main" id="{37AFBC67-D639-B44E-A3F9-A0D891E08DE0}"/>
              </a:ext>
            </a:extLst>
          </p:cNvPr>
          <p:cNvSpPr>
            <a:spLocks noEditPoints="1"/>
          </p:cNvSpPr>
          <p:nvPr/>
        </p:nvSpPr>
        <p:spPr bwMode="auto">
          <a:xfrm>
            <a:off x="11378399" y="248372"/>
            <a:ext cx="564809" cy="547340"/>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6F6F6F"/>
              </a:solidFill>
              <a:effectLst/>
              <a:uLnTx/>
              <a:uFillTx/>
              <a:latin typeface="Univers"/>
            </a:endParaRPr>
          </a:p>
        </p:txBody>
      </p:sp>
      <p:sp>
        <p:nvSpPr>
          <p:cNvPr id="100" name="Rectangle 9">
            <a:extLst>
              <a:ext uri="{FF2B5EF4-FFF2-40B4-BE49-F238E27FC236}">
                <a16:creationId xmlns:a16="http://schemas.microsoft.com/office/drawing/2014/main" id="{E022D8CC-5BE2-4342-BE22-62FD478D1804}"/>
              </a:ext>
            </a:extLst>
          </p:cNvPr>
          <p:cNvSpPr/>
          <p:nvPr/>
        </p:nvSpPr>
        <p:spPr>
          <a:xfrm>
            <a:off x="1511528" y="2937760"/>
            <a:ext cx="5194788" cy="213414"/>
          </a:xfrm>
          <a:prstGeom prst="rect">
            <a:avLst/>
          </a:prstGeom>
          <a:solidFill>
            <a:srgbClr val="92D050"/>
          </a:solidFill>
          <a:ln w="25400" cap="flat" cmpd="sng" algn="ctr">
            <a:noFill/>
            <a:prstDash val="solid"/>
          </a:ln>
          <a:effectLst/>
        </p:spPr>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ea typeface="+mn-ea"/>
                <a:cs typeface="+mn-cs"/>
              </a:rPr>
              <a:t>Implementation </a:t>
            </a:r>
            <a:r>
              <a:rPr kumimoji="0" lang="en-US" sz="1400" b="1" i="0" u="none" strike="noStrike" kern="0" cap="none" spc="0" normalizeH="0" baseline="0" noProof="0" dirty="0">
                <a:ln>
                  <a:noFill/>
                </a:ln>
                <a:solidFill>
                  <a:srgbClr val="FFFFFF"/>
                </a:solidFill>
                <a:effectLst/>
                <a:uLnTx/>
                <a:uFillTx/>
                <a:latin typeface="Univers"/>
                <a:ea typeface="+mn-ea"/>
                <a:cs typeface="+mn-cs"/>
              </a:rPr>
              <a:t>12 months</a:t>
            </a:r>
            <a:r>
              <a:rPr kumimoji="0" lang="en-US" sz="1400" b="0" i="0" u="none" strike="noStrike" kern="0" cap="none" spc="0" normalizeH="0" baseline="0" noProof="0" dirty="0">
                <a:ln>
                  <a:noFill/>
                </a:ln>
                <a:solidFill>
                  <a:srgbClr val="FFFFFF"/>
                </a:solidFill>
                <a:effectLst/>
                <a:uLnTx/>
                <a:uFillTx/>
                <a:latin typeface="Univers"/>
                <a:ea typeface="+mn-ea"/>
                <a:cs typeface="+mn-cs"/>
              </a:rPr>
              <a:t> </a:t>
            </a:r>
          </a:p>
        </p:txBody>
      </p:sp>
      <p:sp>
        <p:nvSpPr>
          <p:cNvPr id="101" name="Rectangle 13">
            <a:extLst>
              <a:ext uri="{FF2B5EF4-FFF2-40B4-BE49-F238E27FC236}">
                <a16:creationId xmlns:a16="http://schemas.microsoft.com/office/drawing/2014/main" id="{1FFE4D9E-7D7D-2641-8F99-08F0E8ED2366}"/>
              </a:ext>
            </a:extLst>
          </p:cNvPr>
          <p:cNvSpPr/>
          <p:nvPr/>
        </p:nvSpPr>
        <p:spPr>
          <a:xfrm>
            <a:off x="9518753" y="5305770"/>
            <a:ext cx="2088088" cy="236094"/>
          </a:xfrm>
          <a:prstGeom prst="rect">
            <a:avLst/>
          </a:prstGeom>
          <a:solidFill>
            <a:srgbClr val="005A9A"/>
          </a:solidFill>
          <a:ln w="25400" cap="flat" cmpd="sng" algn="ctr">
            <a:noFill/>
            <a:prstDash val="solid"/>
          </a:ln>
          <a:effectLst/>
        </p:spPr>
        <p:txBody>
          <a:bodyPr rtlCol="0" anchor="ct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ea typeface="+mn-ea"/>
                <a:cs typeface="+mn-cs"/>
              </a:rPr>
              <a:t>Hypercare</a:t>
            </a:r>
          </a:p>
        </p:txBody>
      </p:sp>
      <p:sp>
        <p:nvSpPr>
          <p:cNvPr id="102" name="Richtungspfeil 101">
            <a:extLst>
              <a:ext uri="{FF2B5EF4-FFF2-40B4-BE49-F238E27FC236}">
                <a16:creationId xmlns:a16="http://schemas.microsoft.com/office/drawing/2014/main" id="{5594FCB5-6939-0E4D-8C26-92E5107F55CA}"/>
              </a:ext>
            </a:extLst>
          </p:cNvPr>
          <p:cNvSpPr/>
          <p:nvPr/>
        </p:nvSpPr>
        <p:spPr>
          <a:xfrm>
            <a:off x="406400" y="5952718"/>
            <a:ext cx="11377613" cy="144016"/>
          </a:xfrm>
          <a:prstGeom prst="homePlate">
            <a:avLst/>
          </a:prstGeom>
          <a:gradFill flip="none" rotWithShape="1">
            <a:gsLst>
              <a:gs pos="0">
                <a:srgbClr val="FFFFFF">
                  <a:alpha val="0"/>
                </a:srgbClr>
              </a:gs>
              <a:gs pos="100000">
                <a:srgbClr val="FFFFFF"/>
              </a:gs>
            </a:gsLst>
            <a:lin ang="0" scaled="0"/>
            <a:tileRect/>
          </a:gra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FFFFFF"/>
              </a:solidFill>
              <a:effectLst/>
              <a:uLnTx/>
              <a:uFillTx/>
              <a:latin typeface="Univers"/>
              <a:ea typeface="+mn-ea"/>
              <a:cs typeface="+mn-cs"/>
            </a:endParaRPr>
          </a:p>
        </p:txBody>
      </p:sp>
      <p:pic>
        <p:nvPicPr>
          <p:cNvPr id="23" name="Picture 22">
            <a:extLst>
              <a:ext uri="{FF2B5EF4-FFF2-40B4-BE49-F238E27FC236}">
                <a16:creationId xmlns:a16="http://schemas.microsoft.com/office/drawing/2014/main" id="{C6EF3882-196E-40B3-BEF1-C402BC9FA601}"/>
              </a:ext>
            </a:extLst>
          </p:cNvPr>
          <p:cNvPicPr>
            <a:picLocks noChangeAspect="1"/>
          </p:cNvPicPr>
          <p:nvPr/>
        </p:nvPicPr>
        <p:blipFill>
          <a:blip r:embed="rId4"/>
          <a:stretch>
            <a:fillRect/>
          </a:stretch>
        </p:blipFill>
        <p:spPr>
          <a:xfrm>
            <a:off x="9994951" y="384669"/>
            <a:ext cx="1311958" cy="411043"/>
          </a:xfrm>
          <a:prstGeom prst="rect">
            <a:avLst/>
          </a:prstGeom>
        </p:spPr>
      </p:pic>
      <p:sp>
        <p:nvSpPr>
          <p:cNvPr id="24" name="Datumsplatzhalter 2">
            <a:extLst>
              <a:ext uri="{FF2B5EF4-FFF2-40B4-BE49-F238E27FC236}">
                <a16:creationId xmlns:a16="http://schemas.microsoft.com/office/drawing/2014/main" id="{0BED6A67-A06B-46AB-8033-3ACE3207A8DB}"/>
              </a:ext>
            </a:extLst>
          </p:cNvPr>
          <p:cNvSpPr txBox="1">
            <a:spLocks/>
          </p:cNvSpPr>
          <p:nvPr/>
        </p:nvSpPr>
        <p:spPr>
          <a:xfrm>
            <a:off x="406399" y="6501507"/>
            <a:ext cx="815725" cy="213414"/>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US" sz="900" dirty="0">
                <a:solidFill>
                  <a:schemeClr val="bg1"/>
                </a:solidFill>
              </a:rPr>
              <a:t>21/08/2019</a:t>
            </a:r>
          </a:p>
        </p:txBody>
      </p:sp>
      <p:sp>
        <p:nvSpPr>
          <p:cNvPr id="25" name="Foliennummernplatzhalter 3">
            <a:extLst>
              <a:ext uri="{FF2B5EF4-FFF2-40B4-BE49-F238E27FC236}">
                <a16:creationId xmlns:a16="http://schemas.microsoft.com/office/drawing/2014/main" id="{6AFB300E-9DAF-43A2-A57C-FB3F921B91B8}"/>
              </a:ext>
            </a:extLst>
          </p:cNvPr>
          <p:cNvSpPr txBox="1">
            <a:spLocks/>
          </p:cNvSpPr>
          <p:nvPr/>
        </p:nvSpPr>
        <p:spPr>
          <a:xfrm>
            <a:off x="11111017" y="6501507"/>
            <a:ext cx="672996"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fld id="{221F1D72-F2AC-4B6E-A46C-E63D2CF40C7B}" type="slidenum">
              <a:rPr lang="en-US" sz="900" smtClean="0">
                <a:solidFill>
                  <a:schemeClr val="bg1"/>
                </a:solidFill>
              </a:rPr>
              <a:pPr/>
              <a:t>11</a:t>
            </a:fld>
            <a:endParaRPr lang="en-US" sz="900" dirty="0">
              <a:solidFill>
                <a:schemeClr val="bg1"/>
              </a:solidFill>
            </a:endParaRPr>
          </a:p>
        </p:txBody>
      </p:sp>
      <p:sp>
        <p:nvSpPr>
          <p:cNvPr id="26" name="Fußzeilenplatzhalter 4">
            <a:extLst>
              <a:ext uri="{FF2B5EF4-FFF2-40B4-BE49-F238E27FC236}">
                <a16:creationId xmlns:a16="http://schemas.microsoft.com/office/drawing/2014/main" id="{65B222D0-392C-4DC2-8034-CA2273E38A78}"/>
              </a:ext>
            </a:extLst>
          </p:cNvPr>
          <p:cNvSpPr txBox="1">
            <a:spLocks/>
          </p:cNvSpPr>
          <p:nvPr/>
        </p:nvSpPr>
        <p:spPr>
          <a:xfrm>
            <a:off x="1054646" y="6501507"/>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US" sz="900" dirty="0">
                <a:solidFill>
                  <a:schemeClr val="bg1"/>
                </a:solidFill>
              </a:rPr>
              <a:t>NZSUG Auckland Event + SAP Forum</a:t>
            </a:r>
          </a:p>
        </p:txBody>
      </p:sp>
    </p:spTree>
    <p:extLst>
      <p:ext uri="{BB962C8B-B14F-4D97-AF65-F5344CB8AC3E}">
        <p14:creationId xmlns:p14="http://schemas.microsoft.com/office/powerpoint/2010/main" val="12213897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8EA70262-FB16-2642-8221-BD122C1F295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799" t="25394" r="22623"/>
          <a:stretch/>
        </p:blipFill>
        <p:spPr>
          <a:xfrm>
            <a:off x="0" y="0"/>
            <a:ext cx="12190413" cy="6859264"/>
          </a:xfrm>
          <a:prstGeom prst="rect">
            <a:avLst/>
          </a:prstGeom>
        </p:spPr>
      </p:pic>
      <p:sp>
        <p:nvSpPr>
          <p:cNvPr id="2" name="Titel 1">
            <a:extLst>
              <a:ext uri="{FF2B5EF4-FFF2-40B4-BE49-F238E27FC236}">
                <a16:creationId xmlns:a16="http://schemas.microsoft.com/office/drawing/2014/main" id="{BF8329EA-AE6C-794F-964C-38BAA563BD7A}"/>
              </a:ext>
            </a:extLst>
          </p:cNvPr>
          <p:cNvSpPr>
            <a:spLocks noGrp="1"/>
          </p:cNvSpPr>
          <p:nvPr>
            <p:ph type="title"/>
          </p:nvPr>
        </p:nvSpPr>
        <p:spPr/>
        <p:txBody>
          <a:bodyPr/>
          <a:lstStyle/>
          <a:p>
            <a:pPr lvl="0" defTabSz="914309">
              <a:lnSpc>
                <a:spcPct val="100000"/>
              </a:lnSpc>
              <a:spcBef>
                <a:spcPts val="0"/>
              </a:spcBef>
            </a:pPr>
            <a:r>
              <a:rPr lang="en-US" sz="2800" b="1" dirty="0">
                <a:solidFill>
                  <a:srgbClr val="0070C0"/>
                </a:solidFill>
                <a:latin typeface="Univers"/>
              </a:rPr>
              <a:t>SNP BLUEFIELD</a:t>
            </a:r>
            <a:r>
              <a:rPr lang="en-US" sz="2800" b="1" baseline="40000" dirty="0">
                <a:solidFill>
                  <a:srgbClr val="0070C0"/>
                </a:solidFill>
                <a:latin typeface="Univers"/>
              </a:rPr>
              <a:t>TM</a:t>
            </a:r>
            <a:br>
              <a:rPr lang="en-US" sz="2800" b="1" baseline="40000" dirty="0">
                <a:solidFill>
                  <a:schemeClr val="accent1">
                    <a:lumMod val="60000"/>
                    <a:lumOff val="40000"/>
                  </a:schemeClr>
                </a:solidFill>
                <a:latin typeface="Univers"/>
              </a:rPr>
            </a:br>
            <a:r>
              <a:rPr lang="en-US" sz="1600" dirty="0">
                <a:solidFill>
                  <a:srgbClr val="FFFFFF">
                    <a:lumMod val="95000"/>
                  </a:srgbClr>
                </a:solidFill>
                <a:latin typeface="Univers"/>
                <a:ea typeface="+mn-ea"/>
                <a:cs typeface="+mn-cs"/>
              </a:rPr>
              <a:t>ACCELERATED BUSINESS TRANSFORMATION THROUGH INTELLIGENT SOFTWARE</a:t>
            </a:r>
            <a:br>
              <a:rPr lang="en-US" sz="1600" dirty="0">
                <a:solidFill>
                  <a:srgbClr val="FFFFFF">
                    <a:lumMod val="95000"/>
                  </a:srgbClr>
                </a:solidFill>
                <a:latin typeface="Univers"/>
                <a:ea typeface="+mn-ea"/>
                <a:cs typeface="+mn-cs"/>
              </a:rPr>
            </a:br>
            <a:endParaRPr lang="en-US" dirty="0">
              <a:solidFill>
                <a:schemeClr val="accent1">
                  <a:lumMod val="60000"/>
                  <a:lumOff val="40000"/>
                </a:schemeClr>
              </a:solidFill>
            </a:endParaRPr>
          </a:p>
        </p:txBody>
      </p:sp>
      <p:sp>
        <p:nvSpPr>
          <p:cNvPr id="3" name="Datumsplatzhalter 2">
            <a:extLst>
              <a:ext uri="{FF2B5EF4-FFF2-40B4-BE49-F238E27FC236}">
                <a16:creationId xmlns:a16="http://schemas.microsoft.com/office/drawing/2014/main" id="{6925FB67-C6D7-A542-A99D-0155DD51A0E7}"/>
              </a:ext>
            </a:extLst>
          </p:cNvPr>
          <p:cNvSpPr>
            <a:spLocks noGrp="1"/>
          </p:cNvSpPr>
          <p:nvPr>
            <p:ph type="dt" sz="half" idx="10"/>
          </p:nvPr>
        </p:nvSpPr>
        <p:spPr/>
        <p:txBody>
          <a:bodyPr/>
          <a:lstStyle/>
          <a:p>
            <a:r>
              <a:rPr lang="en-US">
                <a:solidFill>
                  <a:schemeClr val="bg1"/>
                </a:solidFill>
              </a:rPr>
              <a:t>21/08/2019</a:t>
            </a:r>
            <a:endParaRPr lang="en-US" dirty="0">
              <a:solidFill>
                <a:schemeClr val="bg1"/>
              </a:solidFill>
            </a:endParaRPr>
          </a:p>
        </p:txBody>
      </p:sp>
      <p:sp>
        <p:nvSpPr>
          <p:cNvPr id="4" name="Foliennummernplatzhalter 3">
            <a:extLst>
              <a:ext uri="{FF2B5EF4-FFF2-40B4-BE49-F238E27FC236}">
                <a16:creationId xmlns:a16="http://schemas.microsoft.com/office/drawing/2014/main" id="{D50E1E49-F9AB-1844-9922-7DB6F7CEF1C0}"/>
              </a:ext>
            </a:extLst>
          </p:cNvPr>
          <p:cNvSpPr>
            <a:spLocks noGrp="1"/>
          </p:cNvSpPr>
          <p:nvPr>
            <p:ph type="sldNum" sz="quarter" idx="11"/>
          </p:nvPr>
        </p:nvSpPr>
        <p:spPr/>
        <p:txBody>
          <a:bodyPr/>
          <a:lstStyle/>
          <a:p>
            <a:fld id="{221F1D72-F2AC-4B6E-A46C-E63D2CF40C7B}" type="slidenum">
              <a:rPr lang="en-US" smtClean="0">
                <a:solidFill>
                  <a:schemeClr val="bg1"/>
                </a:solidFill>
              </a:rPr>
              <a:pPr/>
              <a:t>12</a:t>
            </a:fld>
            <a:endParaRPr lang="en-US" dirty="0">
              <a:solidFill>
                <a:schemeClr val="bg1"/>
              </a:solidFill>
            </a:endParaRPr>
          </a:p>
        </p:txBody>
      </p:sp>
      <p:sp>
        <p:nvSpPr>
          <p:cNvPr id="5" name="Fußzeilenplatzhalter 4">
            <a:extLst>
              <a:ext uri="{FF2B5EF4-FFF2-40B4-BE49-F238E27FC236}">
                <a16:creationId xmlns:a16="http://schemas.microsoft.com/office/drawing/2014/main" id="{12585B11-9BEE-CC48-AF5E-1865862461CA}"/>
              </a:ext>
            </a:extLst>
          </p:cNvPr>
          <p:cNvSpPr>
            <a:spLocks noGrp="1"/>
          </p:cNvSpPr>
          <p:nvPr>
            <p:ph type="ftr" sz="quarter" idx="12"/>
          </p:nvPr>
        </p:nvSpPr>
        <p:spPr/>
        <p:txBody>
          <a:bodyPr/>
          <a:lstStyle/>
          <a:p>
            <a:r>
              <a:rPr lang="en-US">
                <a:solidFill>
                  <a:schemeClr val="bg1"/>
                </a:solidFill>
              </a:rPr>
              <a:t>NZSUG Auckland Event + SAP Forum</a:t>
            </a:r>
            <a:endParaRPr lang="en-US" dirty="0">
              <a:solidFill>
                <a:schemeClr val="bg1"/>
              </a:solidFill>
            </a:endParaRPr>
          </a:p>
        </p:txBody>
      </p:sp>
      <p:sp>
        <p:nvSpPr>
          <p:cNvPr id="8" name="Freeform 5">
            <a:extLst>
              <a:ext uri="{FF2B5EF4-FFF2-40B4-BE49-F238E27FC236}">
                <a16:creationId xmlns:a16="http://schemas.microsoft.com/office/drawing/2014/main" id="{B0BC1E7D-86E1-F94C-B3DD-E95FF4EC80AE}"/>
              </a:ext>
            </a:extLst>
          </p:cNvPr>
          <p:cNvSpPr>
            <a:spLocks noEditPoints="1"/>
          </p:cNvSpPr>
          <p:nvPr/>
        </p:nvSpPr>
        <p:spPr bwMode="auto">
          <a:xfrm>
            <a:off x="11378399" y="248372"/>
            <a:ext cx="564809" cy="547340"/>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dirty="0">
              <a:ln>
                <a:noFill/>
              </a:ln>
              <a:solidFill>
                <a:srgbClr val="6F6F6F"/>
              </a:solidFill>
              <a:effectLst/>
              <a:uLnTx/>
              <a:uFillTx/>
              <a:latin typeface="Univers"/>
              <a:ea typeface="+mn-ea"/>
              <a:cs typeface="+mn-cs"/>
            </a:endParaRPr>
          </a:p>
        </p:txBody>
      </p:sp>
      <p:sp>
        <p:nvSpPr>
          <p:cNvPr id="9" name="TextBox 8">
            <a:extLst>
              <a:ext uri="{FF2B5EF4-FFF2-40B4-BE49-F238E27FC236}">
                <a16:creationId xmlns:a16="http://schemas.microsoft.com/office/drawing/2014/main" id="{8DAA26DE-823D-3B4A-87C2-EE4C19CE21BD}"/>
              </a:ext>
            </a:extLst>
          </p:cNvPr>
          <p:cNvSpPr txBox="1"/>
          <p:nvPr/>
        </p:nvSpPr>
        <p:spPr>
          <a:xfrm>
            <a:off x="356955" y="1484784"/>
            <a:ext cx="8906603" cy="4062651"/>
          </a:xfrm>
          <a:prstGeom prst="rect">
            <a:avLst/>
          </a:prstGeom>
          <a:noFill/>
          <a:ln>
            <a:noFill/>
          </a:ln>
        </p:spPr>
        <p:txBody>
          <a:bodyPr wrap="square" lIns="0" tIns="0" rIns="0" bIns="0" rtlCol="0">
            <a:spAutoFit/>
          </a:bodyPr>
          <a:lstStyle/>
          <a:p>
            <a:pPr marL="228600" indent="-228600" defTabSz="914309">
              <a:buFont typeface="Wingdings" panose="05000000000000000000" pitchFamily="2" charset="2"/>
              <a:buChar char="§"/>
            </a:pPr>
            <a:r>
              <a:rPr lang="en-US" b="1" dirty="0">
                <a:ln>
                  <a:solidFill>
                    <a:srgbClr val="DBDBDB">
                      <a:lumMod val="10000"/>
                    </a:srgbClr>
                  </a:solidFill>
                </a:ln>
                <a:solidFill>
                  <a:srgbClr val="005A9A">
                    <a:lumMod val="40000"/>
                    <a:lumOff val="60000"/>
                  </a:srgbClr>
                </a:solidFill>
                <a:effectLst>
                  <a:outerShdw blurRad="38100" dist="38100" dir="2700000" algn="tl">
                    <a:srgbClr val="000000">
                      <a:alpha val="43137"/>
                    </a:srgbClr>
                  </a:outerShdw>
                </a:effectLst>
                <a:latin typeface="Univers"/>
              </a:rPr>
              <a:t>Selective and simultaneous</a:t>
            </a:r>
            <a:r>
              <a:rPr lang="en-US" b="1"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rPr>
              <a:t> </a:t>
            </a:r>
            <a:r>
              <a:rPr lang="en-US"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rPr>
              <a:t>business and technical transformation</a:t>
            </a:r>
          </a:p>
          <a:p>
            <a:pPr marL="228600" indent="-228600" defTabSz="914309">
              <a:buFont typeface="Wingdings" panose="05000000000000000000" pitchFamily="2" charset="2"/>
              <a:buChar char="§"/>
            </a:pPr>
            <a:endParaRPr lang="en-US"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endParaRPr>
          </a:p>
          <a:p>
            <a:pPr marL="228600" indent="-228600" defTabSz="914309">
              <a:buFont typeface="Wingdings" panose="05000000000000000000" pitchFamily="2" charset="2"/>
              <a:buChar char="§"/>
            </a:pPr>
            <a:r>
              <a:rPr lang="en-US"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rPr>
              <a:t>Pick and choose where and what you want to </a:t>
            </a:r>
            <a:r>
              <a:rPr lang="en-US" b="1" dirty="0">
                <a:ln>
                  <a:solidFill>
                    <a:srgbClr val="DBDBDB">
                      <a:lumMod val="10000"/>
                    </a:srgbClr>
                  </a:solidFill>
                </a:ln>
                <a:solidFill>
                  <a:srgbClr val="005A9A">
                    <a:lumMod val="40000"/>
                    <a:lumOff val="60000"/>
                  </a:srgbClr>
                </a:solidFill>
                <a:effectLst>
                  <a:outerShdw blurRad="38100" dist="38100" dir="2700000" algn="tl">
                    <a:srgbClr val="000000">
                      <a:alpha val="43137"/>
                    </a:srgbClr>
                  </a:outerShdw>
                </a:effectLst>
                <a:latin typeface="Univers"/>
              </a:rPr>
              <a:t>innovate</a:t>
            </a:r>
            <a:r>
              <a:rPr lang="en-US" b="1"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rPr>
              <a:t>. </a:t>
            </a:r>
            <a:br>
              <a:rPr lang="en-US" b="1"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rPr>
            </a:br>
            <a:r>
              <a:rPr lang="en-US"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rPr>
              <a:t>No reimplementation</a:t>
            </a:r>
          </a:p>
          <a:p>
            <a:pPr marL="228600" indent="-228600" defTabSz="914309">
              <a:buFont typeface="Wingdings" panose="05000000000000000000" pitchFamily="2" charset="2"/>
              <a:buChar char="§"/>
            </a:pPr>
            <a:endParaRPr lang="en-US"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endParaRPr>
          </a:p>
          <a:p>
            <a:pPr marL="228600" indent="-228600" defTabSz="914309">
              <a:buFont typeface="Wingdings" panose="05000000000000000000" pitchFamily="2" charset="2"/>
              <a:buChar char="§"/>
            </a:pPr>
            <a:r>
              <a:rPr lang="en-US"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rPr>
              <a:t>Collapse the brownfield roadmap into a </a:t>
            </a:r>
            <a:r>
              <a:rPr lang="en-US" b="1" dirty="0">
                <a:ln>
                  <a:solidFill>
                    <a:srgbClr val="DBDBDB">
                      <a:lumMod val="10000"/>
                    </a:srgbClr>
                  </a:solidFill>
                </a:ln>
                <a:solidFill>
                  <a:srgbClr val="005A9A">
                    <a:lumMod val="40000"/>
                    <a:lumOff val="60000"/>
                  </a:srgbClr>
                </a:solidFill>
                <a:effectLst>
                  <a:outerShdw blurRad="38100" dist="38100" dir="2700000" algn="tl">
                    <a:srgbClr val="000000">
                      <a:alpha val="43137"/>
                    </a:srgbClr>
                  </a:outerShdw>
                </a:effectLst>
                <a:latin typeface="Univers"/>
              </a:rPr>
              <a:t>single go-live</a:t>
            </a:r>
          </a:p>
          <a:p>
            <a:pPr marL="228600" indent="-228600" defTabSz="914309">
              <a:buFont typeface="Wingdings" panose="05000000000000000000" pitchFamily="2" charset="2"/>
              <a:buChar char="§"/>
            </a:pPr>
            <a:endParaRPr lang="en-US"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endParaRPr>
          </a:p>
          <a:p>
            <a:pPr marL="228600" indent="-228600" defTabSz="914309">
              <a:buFont typeface="Wingdings" panose="05000000000000000000" pitchFamily="2" charset="2"/>
              <a:buChar char="§"/>
            </a:pPr>
            <a:r>
              <a:rPr lang="en-US"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rPr>
              <a:t>Get the </a:t>
            </a:r>
            <a:r>
              <a:rPr lang="en-US" b="1" dirty="0">
                <a:ln>
                  <a:solidFill>
                    <a:srgbClr val="DBDBDB">
                      <a:lumMod val="10000"/>
                    </a:srgbClr>
                  </a:solidFill>
                </a:ln>
                <a:solidFill>
                  <a:srgbClr val="005A9A">
                    <a:lumMod val="40000"/>
                    <a:lumOff val="60000"/>
                  </a:srgbClr>
                </a:solidFill>
                <a:effectLst>
                  <a:outerShdw blurRad="38100" dist="38100" dir="2700000" algn="tl">
                    <a:srgbClr val="000000">
                      <a:alpha val="43137"/>
                    </a:srgbClr>
                  </a:outerShdw>
                </a:effectLst>
                <a:latin typeface="Univers"/>
              </a:rPr>
              <a:t>benefits</a:t>
            </a:r>
            <a:r>
              <a:rPr lang="en-US"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rPr>
              <a:t> of S/4HANA </a:t>
            </a:r>
            <a:r>
              <a:rPr lang="en-US" b="1" dirty="0">
                <a:ln>
                  <a:solidFill>
                    <a:srgbClr val="DBDBDB">
                      <a:lumMod val="10000"/>
                    </a:srgbClr>
                  </a:solidFill>
                </a:ln>
                <a:solidFill>
                  <a:srgbClr val="005A9A">
                    <a:lumMod val="40000"/>
                    <a:lumOff val="60000"/>
                  </a:srgbClr>
                </a:solidFill>
                <a:effectLst>
                  <a:outerShdw blurRad="38100" dist="38100" dir="2700000" algn="tl">
                    <a:srgbClr val="000000">
                      <a:alpha val="43137"/>
                    </a:srgbClr>
                  </a:outerShdw>
                </a:effectLst>
                <a:latin typeface="Univers"/>
              </a:rPr>
              <a:t>right away</a:t>
            </a:r>
          </a:p>
          <a:p>
            <a:pPr marL="228600" indent="-228600" defTabSz="914309">
              <a:buFont typeface="Wingdings" panose="05000000000000000000" pitchFamily="2" charset="2"/>
              <a:buChar char="§"/>
            </a:pPr>
            <a:endParaRPr lang="en-US"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endParaRPr>
          </a:p>
          <a:p>
            <a:pPr marL="228600" indent="-228600" defTabSz="914309">
              <a:buFont typeface="Wingdings" panose="05000000000000000000" pitchFamily="2" charset="2"/>
              <a:buChar char="§"/>
            </a:pPr>
            <a:r>
              <a:rPr lang="en-US" dirty="0">
                <a:ln>
                  <a:solidFill>
                    <a:srgbClr val="DBDBDB">
                      <a:lumMod val="10000"/>
                    </a:srgbClr>
                  </a:solidFill>
                </a:ln>
                <a:solidFill>
                  <a:srgbClr val="FFFFFF">
                    <a:lumMod val="95000"/>
                  </a:srgbClr>
                </a:solidFill>
                <a:effectLst>
                  <a:outerShdw blurRad="38100" dist="38100" dir="2700000" algn="tl">
                    <a:srgbClr val="000000">
                      <a:alpha val="43137"/>
                    </a:srgbClr>
                  </a:outerShdw>
                </a:effectLst>
                <a:latin typeface="Univers"/>
              </a:rPr>
              <a:t>Selectively leverage your customizations and historical data</a:t>
            </a:r>
          </a:p>
        </p:txBody>
      </p:sp>
      <p:pic>
        <p:nvPicPr>
          <p:cNvPr id="10" name="Picture 9">
            <a:extLst>
              <a:ext uri="{FF2B5EF4-FFF2-40B4-BE49-F238E27FC236}">
                <a16:creationId xmlns:a16="http://schemas.microsoft.com/office/drawing/2014/main" id="{28FF1617-0684-4D61-9639-5BA88D83D6CA}"/>
              </a:ext>
            </a:extLst>
          </p:cNvPr>
          <p:cNvPicPr>
            <a:picLocks noChangeAspect="1"/>
          </p:cNvPicPr>
          <p:nvPr/>
        </p:nvPicPr>
        <p:blipFill>
          <a:blip r:embed="rId3"/>
          <a:stretch>
            <a:fillRect/>
          </a:stretch>
        </p:blipFill>
        <p:spPr>
          <a:xfrm>
            <a:off x="9994951" y="384669"/>
            <a:ext cx="1311958" cy="411043"/>
          </a:xfrm>
          <a:prstGeom prst="rect">
            <a:avLst/>
          </a:prstGeom>
        </p:spPr>
      </p:pic>
    </p:spTree>
    <p:extLst>
      <p:ext uri="{BB962C8B-B14F-4D97-AF65-F5344CB8AC3E}">
        <p14:creationId xmlns:p14="http://schemas.microsoft.com/office/powerpoint/2010/main" val="769172028"/>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Grafik 37">
            <a:extLst>
              <a:ext uri="{FF2B5EF4-FFF2-40B4-BE49-F238E27FC236}">
                <a16:creationId xmlns:a16="http://schemas.microsoft.com/office/drawing/2014/main" id="{452A9266-1281-D845-A0CB-0BED251D903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4392"/>
            <a:ext cx="12190413" cy="6872391"/>
          </a:xfrm>
          <a:prstGeom prst="rect">
            <a:avLst/>
          </a:prstGeom>
        </p:spPr>
      </p:pic>
      <p:cxnSp>
        <p:nvCxnSpPr>
          <p:cNvPr id="39" name="Straight Connector 24">
            <a:extLst>
              <a:ext uri="{FF2B5EF4-FFF2-40B4-BE49-F238E27FC236}">
                <a16:creationId xmlns:a16="http://schemas.microsoft.com/office/drawing/2014/main" id="{678A6626-CFFE-EB42-975F-14A4856B0244}"/>
              </a:ext>
            </a:extLst>
          </p:cNvPr>
          <p:cNvCxnSpPr>
            <a:cxnSpLocks/>
          </p:cNvCxnSpPr>
          <p:nvPr/>
        </p:nvCxnSpPr>
        <p:spPr>
          <a:xfrm flipV="1">
            <a:off x="406400" y="1776253"/>
            <a:ext cx="0" cy="4176464"/>
          </a:xfrm>
          <a:prstGeom prst="line">
            <a:avLst/>
          </a:prstGeom>
          <a:noFill/>
          <a:ln w="19050" cap="flat" cmpd="sng" algn="ctr">
            <a:solidFill>
              <a:srgbClr val="FFFFFF"/>
            </a:solidFill>
            <a:prstDash val="sysDot"/>
          </a:ln>
          <a:effectLst/>
        </p:spPr>
      </p:cxnSp>
      <p:cxnSp>
        <p:nvCxnSpPr>
          <p:cNvPr id="40" name="Straight Connector 24">
            <a:extLst>
              <a:ext uri="{FF2B5EF4-FFF2-40B4-BE49-F238E27FC236}">
                <a16:creationId xmlns:a16="http://schemas.microsoft.com/office/drawing/2014/main" id="{D3D3B6FC-FFAF-EB4E-B02C-CB61A982BF18}"/>
              </a:ext>
            </a:extLst>
          </p:cNvPr>
          <p:cNvCxnSpPr>
            <a:cxnSpLocks/>
          </p:cNvCxnSpPr>
          <p:nvPr/>
        </p:nvCxnSpPr>
        <p:spPr>
          <a:xfrm flipV="1">
            <a:off x="5610167" y="2060644"/>
            <a:ext cx="0" cy="3892073"/>
          </a:xfrm>
          <a:prstGeom prst="line">
            <a:avLst/>
          </a:prstGeom>
          <a:noFill/>
          <a:ln w="19050" cap="flat" cmpd="sng" algn="ctr">
            <a:solidFill>
              <a:srgbClr val="FFFFFF"/>
            </a:solidFill>
            <a:prstDash val="sysDot"/>
          </a:ln>
          <a:effectLst/>
        </p:spPr>
      </p:cxnSp>
      <p:sp>
        <p:nvSpPr>
          <p:cNvPr id="41" name="TextBox 67">
            <a:extLst>
              <a:ext uri="{FF2B5EF4-FFF2-40B4-BE49-F238E27FC236}">
                <a16:creationId xmlns:a16="http://schemas.microsoft.com/office/drawing/2014/main" id="{E6093521-6BD4-2D40-9E83-B5E5EEFF7DED}"/>
              </a:ext>
            </a:extLst>
          </p:cNvPr>
          <p:cNvSpPr txBox="1"/>
          <p:nvPr/>
        </p:nvSpPr>
        <p:spPr>
          <a:xfrm>
            <a:off x="5167596" y="1790890"/>
            <a:ext cx="927610" cy="215444"/>
          </a:xfrm>
          <a:prstGeom prst="rect">
            <a:avLst/>
          </a:prstGeom>
          <a:noFill/>
        </p:spPr>
        <p:txBody>
          <a:bodyPr wrap="square" lIns="0" tIns="0" rIns="0" bIns="0" rtlCol="0">
            <a:spAutoFit/>
          </a:bodyPr>
          <a:lstStyle/>
          <a:p>
            <a:pPr algn="ctr" defTabSz="914309">
              <a:defRPr/>
            </a:pPr>
            <a:r>
              <a:rPr lang="en-US" sz="1400" dirty="0">
                <a:solidFill>
                  <a:srgbClr val="FFFFFF"/>
                </a:solidFill>
                <a:latin typeface="Univers"/>
              </a:rPr>
              <a:t>1 year</a:t>
            </a:r>
            <a:endParaRPr lang="en-US" sz="1400" baseline="-25000" dirty="0">
              <a:solidFill>
                <a:srgbClr val="FFFFFF"/>
              </a:solidFill>
              <a:latin typeface="Univers"/>
            </a:endParaRPr>
          </a:p>
        </p:txBody>
      </p:sp>
      <p:cxnSp>
        <p:nvCxnSpPr>
          <p:cNvPr id="42" name="Straight Connector 24">
            <a:extLst>
              <a:ext uri="{FF2B5EF4-FFF2-40B4-BE49-F238E27FC236}">
                <a16:creationId xmlns:a16="http://schemas.microsoft.com/office/drawing/2014/main" id="{2B87631A-32F0-1640-97C4-5C5BCAD8F0E1}"/>
              </a:ext>
            </a:extLst>
          </p:cNvPr>
          <p:cNvCxnSpPr>
            <a:cxnSpLocks/>
          </p:cNvCxnSpPr>
          <p:nvPr/>
        </p:nvCxnSpPr>
        <p:spPr>
          <a:xfrm flipV="1">
            <a:off x="10813934" y="2060644"/>
            <a:ext cx="0" cy="3892073"/>
          </a:xfrm>
          <a:prstGeom prst="line">
            <a:avLst/>
          </a:prstGeom>
          <a:noFill/>
          <a:ln w="19050" cap="flat" cmpd="sng" algn="ctr">
            <a:solidFill>
              <a:srgbClr val="FFFFFF"/>
            </a:solidFill>
            <a:prstDash val="sysDot"/>
          </a:ln>
          <a:effectLst/>
        </p:spPr>
      </p:cxnSp>
      <p:sp>
        <p:nvSpPr>
          <p:cNvPr id="43" name="TextBox 67">
            <a:extLst>
              <a:ext uri="{FF2B5EF4-FFF2-40B4-BE49-F238E27FC236}">
                <a16:creationId xmlns:a16="http://schemas.microsoft.com/office/drawing/2014/main" id="{F4F6BD83-2E5F-6149-AB43-A2977AD02A4E}"/>
              </a:ext>
            </a:extLst>
          </p:cNvPr>
          <p:cNvSpPr txBox="1"/>
          <p:nvPr/>
        </p:nvSpPr>
        <p:spPr>
          <a:xfrm>
            <a:off x="10350129" y="1790890"/>
            <a:ext cx="927610" cy="215444"/>
          </a:xfrm>
          <a:prstGeom prst="rect">
            <a:avLst/>
          </a:prstGeom>
          <a:noFill/>
        </p:spPr>
        <p:txBody>
          <a:bodyPr wrap="square" lIns="0" tIns="0" rIns="0" bIns="0" rtlCol="0">
            <a:spAutoFit/>
          </a:bodyPr>
          <a:lstStyle/>
          <a:p>
            <a:pPr algn="ctr" defTabSz="914309">
              <a:defRPr/>
            </a:pPr>
            <a:r>
              <a:rPr lang="en-US" sz="1400" dirty="0">
                <a:solidFill>
                  <a:srgbClr val="FFFFFF"/>
                </a:solidFill>
                <a:latin typeface="Univers"/>
              </a:rPr>
              <a:t>2 years</a:t>
            </a:r>
            <a:endParaRPr lang="en-US" sz="1400" baseline="-25000" dirty="0">
              <a:solidFill>
                <a:srgbClr val="FFFFFF"/>
              </a:solidFill>
              <a:latin typeface="Univers"/>
            </a:endParaRPr>
          </a:p>
        </p:txBody>
      </p:sp>
      <p:sp>
        <p:nvSpPr>
          <p:cNvPr id="44" name="Titel 1">
            <a:extLst>
              <a:ext uri="{FF2B5EF4-FFF2-40B4-BE49-F238E27FC236}">
                <a16:creationId xmlns:a16="http://schemas.microsoft.com/office/drawing/2014/main" id="{11DA0DD8-DDA0-4A4C-86B7-9EA0454B1FEC}"/>
              </a:ext>
            </a:extLst>
          </p:cNvPr>
          <p:cNvSpPr txBox="1">
            <a:spLocks/>
          </p:cNvSpPr>
          <p:nvPr/>
        </p:nvSpPr>
        <p:spPr>
          <a:xfrm>
            <a:off x="406400" y="342586"/>
            <a:ext cx="10704617" cy="453126"/>
          </a:xfrm>
          <a:prstGeom prst="rect">
            <a:avLst/>
          </a:prstGeom>
        </p:spPr>
        <p:txBody>
          <a:bodyPr vert="horz" lIns="0" tIns="0" rIns="0" bIns="0" rtlCol="0" anchor="t" anchorCtr="0">
            <a:noAutofit/>
          </a:bodyPr>
          <a:lstStyle>
            <a:lvl1pPr algn="l" defTabSz="1219078" rtl="0" eaLnBrk="1" latinLnBrk="0" hangingPunct="1">
              <a:lnSpc>
                <a:spcPct val="90000"/>
              </a:lnSpc>
              <a:spcBef>
                <a:spcPct val="0"/>
              </a:spcBef>
              <a:buNone/>
              <a:defRPr sz="2600" b="0" kern="1200">
                <a:solidFill>
                  <a:schemeClr val="bg2">
                    <a:lumMod val="25000"/>
                  </a:schemeClr>
                </a:solidFill>
                <a:latin typeface="Univers" panose="020B0503020202020204" pitchFamily="34" charset="0"/>
                <a:ea typeface="+mj-ea"/>
                <a:cs typeface="+mj-cs"/>
              </a:defRPr>
            </a:lvl1pPr>
          </a:lstStyle>
          <a:p>
            <a:pPr marL="0" marR="0" lvl="0" indent="0" algn="l" defTabSz="1219078"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dirty="0">
                <a:ln>
                  <a:noFill/>
                </a:ln>
                <a:solidFill>
                  <a:srgbClr val="FFFFFF"/>
                </a:solidFill>
                <a:effectLst/>
                <a:uLnTx/>
                <a:uFillTx/>
                <a:latin typeface="Univers" panose="020B0503020202020204" pitchFamily="34" charset="0"/>
                <a:ea typeface="+mj-ea"/>
                <a:cs typeface="+mj-cs"/>
              </a:rPr>
              <a:t>The SNP Way: Completely Streamlined </a:t>
            </a:r>
            <a:r>
              <a:rPr lang="en-US" dirty="0">
                <a:solidFill>
                  <a:srgbClr val="FFFFFF"/>
                </a:solidFill>
              </a:rPr>
              <a:t>Processes</a:t>
            </a:r>
            <a:r>
              <a:rPr kumimoji="0" lang="en-US" sz="2600" b="0" i="0" u="none" strike="noStrike" kern="1200" cap="none" spc="0" normalizeH="0" baseline="0" noProof="0" dirty="0">
                <a:ln>
                  <a:noFill/>
                </a:ln>
                <a:solidFill>
                  <a:srgbClr val="FFFFFF"/>
                </a:solidFill>
                <a:effectLst/>
                <a:uLnTx/>
                <a:uFillTx/>
                <a:latin typeface="Univers" panose="020B0503020202020204" pitchFamily="34" charset="0"/>
                <a:ea typeface="+mj-ea"/>
                <a:cs typeface="+mj-cs"/>
              </a:rPr>
              <a:t> via Automation</a:t>
            </a:r>
            <a:br>
              <a:rPr kumimoji="0" lang="en-US" sz="2600" b="0" i="0" u="none" strike="noStrike" kern="1200" cap="none" spc="0" normalizeH="0" baseline="0" noProof="0" dirty="0">
                <a:ln>
                  <a:noFill/>
                </a:ln>
                <a:solidFill>
                  <a:srgbClr val="FFFFFF"/>
                </a:solidFill>
                <a:effectLst/>
                <a:uLnTx/>
                <a:uFillTx/>
                <a:latin typeface="Univers" panose="020B0503020202020204" pitchFamily="34" charset="0"/>
                <a:ea typeface="+mj-ea"/>
                <a:cs typeface="+mj-cs"/>
              </a:rPr>
            </a:br>
            <a:endParaRPr kumimoji="0" lang="en-US" sz="2600" b="0" i="0" u="none" strike="noStrike" kern="1200" cap="none" spc="0" normalizeH="0" baseline="0" noProof="0" dirty="0">
              <a:ln>
                <a:noFill/>
              </a:ln>
              <a:solidFill>
                <a:srgbClr val="FFFFFF"/>
              </a:solidFill>
              <a:effectLst/>
              <a:uLnTx/>
              <a:uFillTx/>
              <a:latin typeface="Univers" panose="020B0503020202020204" pitchFamily="34" charset="0"/>
              <a:ea typeface="+mj-ea"/>
              <a:cs typeface="+mj-cs"/>
            </a:endParaRPr>
          </a:p>
        </p:txBody>
      </p:sp>
      <p:grpSp>
        <p:nvGrpSpPr>
          <p:cNvPr id="45" name="Gruppieren 44">
            <a:extLst>
              <a:ext uri="{FF2B5EF4-FFF2-40B4-BE49-F238E27FC236}">
                <a16:creationId xmlns:a16="http://schemas.microsoft.com/office/drawing/2014/main" id="{9D8FB0B0-0700-6046-96F2-3C412B446F26}"/>
              </a:ext>
            </a:extLst>
          </p:cNvPr>
          <p:cNvGrpSpPr/>
          <p:nvPr/>
        </p:nvGrpSpPr>
        <p:grpSpPr>
          <a:xfrm>
            <a:off x="402416" y="1776253"/>
            <a:ext cx="4102624" cy="3781030"/>
            <a:chOff x="402416" y="2042527"/>
            <a:chExt cx="4102624" cy="3781030"/>
          </a:xfrm>
        </p:grpSpPr>
        <p:grpSp>
          <p:nvGrpSpPr>
            <p:cNvPr id="46" name="Gruppieren 45">
              <a:extLst>
                <a:ext uri="{FF2B5EF4-FFF2-40B4-BE49-F238E27FC236}">
                  <a16:creationId xmlns:a16="http://schemas.microsoft.com/office/drawing/2014/main" id="{74B5901B-0569-6F46-8999-EABB023362D8}"/>
                </a:ext>
              </a:extLst>
            </p:cNvPr>
            <p:cNvGrpSpPr/>
            <p:nvPr/>
          </p:nvGrpSpPr>
          <p:grpSpPr>
            <a:xfrm>
              <a:off x="402416" y="2042527"/>
              <a:ext cx="1458593" cy="216029"/>
              <a:chOff x="402416" y="2229273"/>
              <a:chExt cx="1458593" cy="216029"/>
            </a:xfrm>
          </p:grpSpPr>
          <p:sp>
            <p:nvSpPr>
              <p:cNvPr id="65" name="Rectangle 33">
                <a:extLst>
                  <a:ext uri="{FF2B5EF4-FFF2-40B4-BE49-F238E27FC236}">
                    <a16:creationId xmlns:a16="http://schemas.microsoft.com/office/drawing/2014/main" id="{3D62858C-926E-0743-9A66-3D3DE82A8D64}"/>
                  </a:ext>
                </a:extLst>
              </p:cNvPr>
              <p:cNvSpPr/>
              <p:nvPr/>
            </p:nvSpPr>
            <p:spPr>
              <a:xfrm>
                <a:off x="402416" y="2229273"/>
                <a:ext cx="63241" cy="213414"/>
              </a:xfrm>
              <a:prstGeom prst="rect">
                <a:avLst/>
              </a:prstGeom>
              <a:solidFill>
                <a:srgbClr val="005A9A"/>
              </a:solidFill>
              <a:ln w="25400" cap="flat" cmpd="sng" algn="ctr">
                <a:noFill/>
                <a:prstDash val="solid"/>
              </a:ln>
              <a:effectLst/>
            </p:spPr>
            <p:txBody>
              <a:bodyPr rtlCol="0" anchor="ctr"/>
              <a:lstStyle/>
              <a:p>
                <a:pPr marL="0" marR="0" lvl="0" indent="0" defTabSz="914309"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DBDBDB">
                      <a:lumMod val="25000"/>
                    </a:srgbClr>
                  </a:solidFill>
                  <a:effectLst/>
                  <a:uLnTx/>
                  <a:uFillTx/>
                  <a:latin typeface="Univers"/>
                  <a:ea typeface="+mn-ea"/>
                  <a:cs typeface="+mn-cs"/>
                </a:endParaRPr>
              </a:p>
            </p:txBody>
          </p:sp>
          <p:sp>
            <p:nvSpPr>
              <p:cNvPr id="66" name="TextBox 40">
                <a:extLst>
                  <a:ext uri="{FF2B5EF4-FFF2-40B4-BE49-F238E27FC236}">
                    <a16:creationId xmlns:a16="http://schemas.microsoft.com/office/drawing/2014/main" id="{E1F4D945-6124-D341-AF0E-822130A70980}"/>
                  </a:ext>
                </a:extLst>
              </p:cNvPr>
              <p:cNvSpPr txBox="1"/>
              <p:nvPr/>
            </p:nvSpPr>
            <p:spPr>
              <a:xfrm>
                <a:off x="465657" y="2229858"/>
                <a:ext cx="1395352" cy="215444"/>
              </a:xfrm>
              <a:prstGeom prst="rect">
                <a:avLst/>
              </a:prstGeom>
              <a:noFill/>
            </p:spPr>
            <p:txBody>
              <a:bodyPr wrap="square" lIns="72000" tIns="0" rIns="0" bIns="0" rtlCol="0">
                <a:spAutoFit/>
              </a:bodyPr>
              <a:lstStyle/>
              <a:p>
                <a:pPr marL="0" marR="0" lvl="0" indent="0"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rPr>
                  <a:t>Analysis </a:t>
                </a:r>
                <a:r>
                  <a:rPr kumimoji="0" lang="en-US" sz="1400" b="1" i="0" u="none" strike="noStrike" kern="0" cap="none" spc="0" normalizeH="0" baseline="0" noProof="0" dirty="0">
                    <a:ln>
                      <a:noFill/>
                    </a:ln>
                    <a:solidFill>
                      <a:srgbClr val="FFFFFF"/>
                    </a:solidFill>
                    <a:effectLst/>
                    <a:uLnTx/>
                    <a:uFillTx/>
                    <a:latin typeface="Univers"/>
                  </a:rPr>
                  <a:t>1 day</a:t>
                </a:r>
              </a:p>
            </p:txBody>
          </p:sp>
        </p:grpSp>
        <p:grpSp>
          <p:nvGrpSpPr>
            <p:cNvPr id="47" name="Gruppieren 46">
              <a:extLst>
                <a:ext uri="{FF2B5EF4-FFF2-40B4-BE49-F238E27FC236}">
                  <a16:creationId xmlns:a16="http://schemas.microsoft.com/office/drawing/2014/main" id="{BADE4527-54C8-AD4F-A1A4-DE702090774F}"/>
                </a:ext>
              </a:extLst>
            </p:cNvPr>
            <p:cNvGrpSpPr/>
            <p:nvPr/>
          </p:nvGrpSpPr>
          <p:grpSpPr>
            <a:xfrm>
              <a:off x="498373" y="2628534"/>
              <a:ext cx="1564385" cy="215765"/>
              <a:chOff x="477683" y="2824114"/>
              <a:chExt cx="1564385" cy="215765"/>
            </a:xfrm>
          </p:grpSpPr>
          <p:sp>
            <p:nvSpPr>
              <p:cNvPr id="63" name="Rectangle 34">
                <a:extLst>
                  <a:ext uri="{FF2B5EF4-FFF2-40B4-BE49-F238E27FC236}">
                    <a16:creationId xmlns:a16="http://schemas.microsoft.com/office/drawing/2014/main" id="{2ADFF613-EC5F-3643-A348-CF8460F72FA9}"/>
                  </a:ext>
                </a:extLst>
              </p:cNvPr>
              <p:cNvSpPr/>
              <p:nvPr/>
            </p:nvSpPr>
            <p:spPr>
              <a:xfrm>
                <a:off x="477683" y="2826465"/>
                <a:ext cx="132950" cy="213414"/>
              </a:xfrm>
              <a:prstGeom prst="rect">
                <a:avLst/>
              </a:prstGeom>
              <a:solidFill>
                <a:srgbClr val="00B050"/>
              </a:solidFill>
              <a:ln w="25400" cap="flat" cmpd="sng" algn="ctr">
                <a:noFill/>
                <a:prstDash val="solid"/>
              </a:ln>
              <a:effectLst/>
            </p:spPr>
            <p:txBody>
              <a:bodyPr rtlCol="0" anchor="ctr"/>
              <a:lstStyle/>
              <a:p>
                <a:pPr marL="0" marR="0" lvl="0" indent="0" defTabSz="914309"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DBDBDB">
                      <a:lumMod val="25000"/>
                    </a:srgbClr>
                  </a:solidFill>
                  <a:effectLst/>
                  <a:uLnTx/>
                  <a:uFillTx/>
                  <a:latin typeface="Univers"/>
                  <a:ea typeface="+mn-ea"/>
                  <a:cs typeface="+mn-cs"/>
                </a:endParaRPr>
              </a:p>
            </p:txBody>
          </p:sp>
          <p:sp>
            <p:nvSpPr>
              <p:cNvPr id="64" name="TextBox 41">
                <a:extLst>
                  <a:ext uri="{FF2B5EF4-FFF2-40B4-BE49-F238E27FC236}">
                    <a16:creationId xmlns:a16="http://schemas.microsoft.com/office/drawing/2014/main" id="{A9328E93-7062-FA4E-902A-9CD26E738184}"/>
                  </a:ext>
                </a:extLst>
              </p:cNvPr>
              <p:cNvSpPr txBox="1"/>
              <p:nvPr/>
            </p:nvSpPr>
            <p:spPr>
              <a:xfrm>
                <a:off x="602498" y="2824114"/>
                <a:ext cx="1439570" cy="215444"/>
              </a:xfrm>
              <a:prstGeom prst="rect">
                <a:avLst/>
              </a:prstGeom>
              <a:noFill/>
            </p:spPr>
            <p:txBody>
              <a:bodyPr wrap="square" lIns="72000" tIns="0" rIns="0" bIns="0" rtlCol="0">
                <a:spAutoFit/>
              </a:bodyPr>
              <a:lstStyle/>
              <a:p>
                <a:pPr marL="0" marR="0" lvl="0" indent="0"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rPr>
                  <a:t>Design </a:t>
                </a:r>
                <a:r>
                  <a:rPr kumimoji="0" lang="en-US" sz="1400" b="1" i="0" u="none" strike="noStrike" kern="0" cap="none" spc="0" normalizeH="0" baseline="0" noProof="0" dirty="0">
                    <a:ln>
                      <a:noFill/>
                    </a:ln>
                    <a:solidFill>
                      <a:srgbClr val="FFFFFF"/>
                    </a:solidFill>
                    <a:effectLst/>
                    <a:uLnTx/>
                    <a:uFillTx/>
                    <a:latin typeface="Univers"/>
                  </a:rPr>
                  <a:t>2 </a:t>
                </a:r>
                <a:r>
                  <a:rPr lang="en-US" sz="1400" b="1" kern="0" dirty="0">
                    <a:solidFill>
                      <a:srgbClr val="FFFFFF"/>
                    </a:solidFill>
                    <a:latin typeface="Univers"/>
                  </a:rPr>
                  <a:t>weeks</a:t>
                </a:r>
                <a:endParaRPr kumimoji="0" lang="en-US" sz="1400" b="1" i="0" u="none" strike="noStrike" kern="0" cap="none" spc="0" normalizeH="0" baseline="0" noProof="0" dirty="0">
                  <a:ln>
                    <a:noFill/>
                  </a:ln>
                  <a:solidFill>
                    <a:srgbClr val="FFFFFF"/>
                  </a:solidFill>
                  <a:effectLst/>
                  <a:uLnTx/>
                  <a:uFillTx/>
                  <a:latin typeface="Univers"/>
                </a:endParaRPr>
              </a:p>
            </p:txBody>
          </p:sp>
        </p:grpSp>
        <p:grpSp>
          <p:nvGrpSpPr>
            <p:cNvPr id="48" name="Gruppieren 47">
              <a:extLst>
                <a:ext uri="{FF2B5EF4-FFF2-40B4-BE49-F238E27FC236}">
                  <a16:creationId xmlns:a16="http://schemas.microsoft.com/office/drawing/2014/main" id="{32BB6BC0-2B35-1E48-90BB-00544E8790F9}"/>
                </a:ext>
              </a:extLst>
            </p:cNvPr>
            <p:cNvGrpSpPr/>
            <p:nvPr/>
          </p:nvGrpSpPr>
          <p:grpSpPr>
            <a:xfrm>
              <a:off x="653155" y="3214277"/>
              <a:ext cx="2633739" cy="217980"/>
              <a:chOff x="598141" y="3471998"/>
              <a:chExt cx="2633739" cy="217980"/>
            </a:xfrm>
          </p:grpSpPr>
          <p:sp>
            <p:nvSpPr>
              <p:cNvPr id="61" name="Rectangle 35">
                <a:extLst>
                  <a:ext uri="{FF2B5EF4-FFF2-40B4-BE49-F238E27FC236}">
                    <a16:creationId xmlns:a16="http://schemas.microsoft.com/office/drawing/2014/main" id="{189D88DF-A3F7-2F4C-98FF-58EE55C31C69}"/>
                  </a:ext>
                </a:extLst>
              </p:cNvPr>
              <p:cNvSpPr/>
              <p:nvPr/>
            </p:nvSpPr>
            <p:spPr>
              <a:xfrm>
                <a:off x="598141" y="3476564"/>
                <a:ext cx="274281" cy="213414"/>
              </a:xfrm>
              <a:prstGeom prst="rect">
                <a:avLst/>
              </a:prstGeom>
              <a:solidFill>
                <a:srgbClr val="92D050"/>
              </a:solidFill>
              <a:ln w="25400" cap="flat" cmpd="sng" algn="ctr">
                <a:noFill/>
                <a:prstDash val="solid"/>
              </a:ln>
              <a:effectLst/>
            </p:spPr>
            <p:txBody>
              <a:bodyPr rtlCol="0" anchor="ctr"/>
              <a:lstStyle/>
              <a:p>
                <a:pPr marL="0" marR="0" lvl="0" indent="0" defTabSz="914309"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DBDBDB">
                      <a:lumMod val="25000"/>
                    </a:srgbClr>
                  </a:solidFill>
                  <a:effectLst/>
                  <a:uLnTx/>
                  <a:uFillTx/>
                  <a:latin typeface="Univers"/>
                  <a:ea typeface="+mn-ea"/>
                  <a:cs typeface="+mn-cs"/>
                </a:endParaRPr>
              </a:p>
            </p:txBody>
          </p:sp>
          <p:sp>
            <p:nvSpPr>
              <p:cNvPr id="62" name="TextBox 57">
                <a:extLst>
                  <a:ext uri="{FF2B5EF4-FFF2-40B4-BE49-F238E27FC236}">
                    <a16:creationId xmlns:a16="http://schemas.microsoft.com/office/drawing/2014/main" id="{1E432166-03C6-F84C-AECD-E01EE16E2EA3}"/>
                  </a:ext>
                </a:extLst>
              </p:cNvPr>
              <p:cNvSpPr txBox="1"/>
              <p:nvPr/>
            </p:nvSpPr>
            <p:spPr>
              <a:xfrm>
                <a:off x="865752" y="3471998"/>
                <a:ext cx="2366128" cy="215444"/>
              </a:xfrm>
              <a:prstGeom prst="rect">
                <a:avLst/>
              </a:prstGeom>
              <a:noFill/>
            </p:spPr>
            <p:txBody>
              <a:bodyPr wrap="square" lIns="72000" tIns="0" rIns="0" bIns="0" rtlCol="0">
                <a:spAutoFit/>
              </a:bodyPr>
              <a:lstStyle/>
              <a:p>
                <a:pPr marL="0" marR="0" lvl="0" indent="0"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rPr>
                  <a:t>Implementation </a:t>
                </a:r>
                <a:r>
                  <a:rPr kumimoji="0" lang="en-US" sz="1400" b="1" i="0" u="none" strike="noStrike" kern="0" cap="none" spc="0" normalizeH="0" baseline="0" noProof="0" dirty="0">
                    <a:ln>
                      <a:noFill/>
                    </a:ln>
                    <a:solidFill>
                      <a:srgbClr val="FFFFFF"/>
                    </a:solidFill>
                    <a:effectLst/>
                    <a:uLnTx/>
                    <a:uFillTx/>
                    <a:latin typeface="Univers"/>
                  </a:rPr>
                  <a:t>4 weeks</a:t>
                </a:r>
              </a:p>
            </p:txBody>
          </p:sp>
        </p:grpSp>
        <p:grpSp>
          <p:nvGrpSpPr>
            <p:cNvPr id="49" name="Gruppieren 48">
              <a:extLst>
                <a:ext uri="{FF2B5EF4-FFF2-40B4-BE49-F238E27FC236}">
                  <a16:creationId xmlns:a16="http://schemas.microsoft.com/office/drawing/2014/main" id="{9F86B6F2-B6B6-6E4A-ACF3-C940EC71D25B}"/>
                </a:ext>
              </a:extLst>
            </p:cNvPr>
            <p:cNvGrpSpPr/>
            <p:nvPr/>
          </p:nvGrpSpPr>
          <p:grpSpPr>
            <a:xfrm>
              <a:off x="923961" y="3802235"/>
              <a:ext cx="2074901" cy="223237"/>
              <a:chOff x="1820623" y="4494717"/>
              <a:chExt cx="2074901" cy="223237"/>
            </a:xfrm>
          </p:grpSpPr>
          <p:sp>
            <p:nvSpPr>
              <p:cNvPr id="59" name="Rectangle 36">
                <a:extLst>
                  <a:ext uri="{FF2B5EF4-FFF2-40B4-BE49-F238E27FC236}">
                    <a16:creationId xmlns:a16="http://schemas.microsoft.com/office/drawing/2014/main" id="{8C5E9E15-B1B6-644F-BC77-FB6A67D446B2}"/>
                  </a:ext>
                </a:extLst>
              </p:cNvPr>
              <p:cNvSpPr/>
              <p:nvPr/>
            </p:nvSpPr>
            <p:spPr>
              <a:xfrm>
                <a:off x="1820623" y="4494717"/>
                <a:ext cx="244693" cy="213413"/>
              </a:xfrm>
              <a:prstGeom prst="rect">
                <a:avLst/>
              </a:prstGeom>
              <a:solidFill>
                <a:srgbClr val="FFFF00"/>
              </a:solidFill>
              <a:ln w="25400" cap="flat" cmpd="sng" algn="ctr">
                <a:noFill/>
                <a:prstDash val="solid"/>
              </a:ln>
              <a:effectLst/>
            </p:spPr>
            <p:txBody>
              <a:bodyPr rtlCol="0" anchor="ctr"/>
              <a:lstStyle/>
              <a:p>
                <a:pPr marL="0" marR="0" lvl="0" indent="0" defTabSz="914309"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DBDBDB">
                      <a:lumMod val="25000"/>
                    </a:srgbClr>
                  </a:solidFill>
                  <a:effectLst/>
                  <a:uLnTx/>
                  <a:uFillTx/>
                  <a:latin typeface="Univers"/>
                  <a:ea typeface="+mn-ea"/>
                  <a:cs typeface="+mn-cs"/>
                </a:endParaRPr>
              </a:p>
            </p:txBody>
          </p:sp>
          <p:sp>
            <p:nvSpPr>
              <p:cNvPr id="60" name="TextBox 58">
                <a:extLst>
                  <a:ext uri="{FF2B5EF4-FFF2-40B4-BE49-F238E27FC236}">
                    <a16:creationId xmlns:a16="http://schemas.microsoft.com/office/drawing/2014/main" id="{20934B69-F06F-9542-B8BD-05D2EB1E4B59}"/>
                  </a:ext>
                </a:extLst>
              </p:cNvPr>
              <p:cNvSpPr txBox="1"/>
              <p:nvPr/>
            </p:nvSpPr>
            <p:spPr>
              <a:xfrm>
                <a:off x="2061776" y="4502510"/>
                <a:ext cx="1833748" cy="215444"/>
              </a:xfrm>
              <a:prstGeom prst="rect">
                <a:avLst/>
              </a:prstGeom>
              <a:noFill/>
            </p:spPr>
            <p:txBody>
              <a:bodyPr wrap="square" lIns="72000" tIns="0" rIns="0" bIns="0" rtlCol="0">
                <a:spAutoFit/>
              </a:bodyPr>
              <a:lstStyle/>
              <a:p>
                <a:pPr marL="0" marR="0" lvl="0" indent="0"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rPr>
                  <a:t>Execution </a:t>
                </a:r>
                <a:r>
                  <a:rPr kumimoji="0" lang="en-US" sz="1400" b="1" i="0" u="none" strike="noStrike" kern="0" cap="none" spc="0" normalizeH="0" baseline="0" noProof="0" dirty="0">
                    <a:ln>
                      <a:noFill/>
                    </a:ln>
                    <a:solidFill>
                      <a:srgbClr val="FFFFFF"/>
                    </a:solidFill>
                    <a:effectLst/>
                    <a:uLnTx/>
                    <a:uFillTx/>
                    <a:latin typeface="Univers"/>
                  </a:rPr>
                  <a:t>3 weeks</a:t>
                </a:r>
              </a:p>
            </p:txBody>
          </p:sp>
        </p:grpSp>
        <p:grpSp>
          <p:nvGrpSpPr>
            <p:cNvPr id="50" name="Gruppieren 49">
              <a:extLst>
                <a:ext uri="{FF2B5EF4-FFF2-40B4-BE49-F238E27FC236}">
                  <a16:creationId xmlns:a16="http://schemas.microsoft.com/office/drawing/2014/main" id="{CF3DAB98-2469-BF44-A94C-63380EEF3F78}"/>
                </a:ext>
              </a:extLst>
            </p:cNvPr>
            <p:cNvGrpSpPr/>
            <p:nvPr/>
          </p:nvGrpSpPr>
          <p:grpSpPr>
            <a:xfrm>
              <a:off x="1226653" y="4395450"/>
              <a:ext cx="2060241" cy="221457"/>
              <a:chOff x="2056756" y="4757620"/>
              <a:chExt cx="2060241" cy="221457"/>
            </a:xfrm>
          </p:grpSpPr>
          <p:sp>
            <p:nvSpPr>
              <p:cNvPr id="57" name="Rectangle 37">
                <a:extLst>
                  <a:ext uri="{FF2B5EF4-FFF2-40B4-BE49-F238E27FC236}">
                    <a16:creationId xmlns:a16="http://schemas.microsoft.com/office/drawing/2014/main" id="{F4BC51BA-2D0F-6249-B337-83D74246E73F}"/>
                  </a:ext>
                </a:extLst>
              </p:cNvPr>
              <p:cNvSpPr/>
              <p:nvPr/>
            </p:nvSpPr>
            <p:spPr>
              <a:xfrm>
                <a:off x="2056756" y="4757620"/>
                <a:ext cx="181226" cy="221457"/>
              </a:xfrm>
              <a:prstGeom prst="rect">
                <a:avLst/>
              </a:prstGeom>
              <a:solidFill>
                <a:srgbClr val="FFC000"/>
              </a:solidFill>
              <a:ln w="25400" cap="flat" cmpd="sng" algn="ctr">
                <a:noFill/>
                <a:prstDash val="solid"/>
              </a:ln>
              <a:effectLst/>
            </p:spPr>
            <p:txBody>
              <a:bodyPr rtlCol="0" anchor="ctr"/>
              <a:lstStyle/>
              <a:p>
                <a:pPr marL="0" marR="0" lvl="0" indent="0" defTabSz="914309"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DBDBDB">
                      <a:lumMod val="25000"/>
                    </a:srgbClr>
                  </a:solidFill>
                  <a:effectLst/>
                  <a:uLnTx/>
                  <a:uFillTx/>
                  <a:latin typeface="Univers"/>
                  <a:ea typeface="+mn-ea"/>
                  <a:cs typeface="+mn-cs"/>
                </a:endParaRPr>
              </a:p>
            </p:txBody>
          </p:sp>
          <p:sp>
            <p:nvSpPr>
              <p:cNvPr id="58" name="TextBox 59">
                <a:extLst>
                  <a:ext uri="{FF2B5EF4-FFF2-40B4-BE49-F238E27FC236}">
                    <a16:creationId xmlns:a16="http://schemas.microsoft.com/office/drawing/2014/main" id="{02555255-0F0B-6348-8A75-A02DE698444B}"/>
                  </a:ext>
                </a:extLst>
              </p:cNvPr>
              <p:cNvSpPr txBox="1"/>
              <p:nvPr/>
            </p:nvSpPr>
            <p:spPr>
              <a:xfrm>
                <a:off x="2237982" y="4759648"/>
                <a:ext cx="1879015" cy="215444"/>
              </a:xfrm>
              <a:prstGeom prst="rect">
                <a:avLst/>
              </a:prstGeom>
              <a:noFill/>
            </p:spPr>
            <p:txBody>
              <a:bodyPr wrap="square" lIns="72000" tIns="0" rIns="0" bIns="0" rtlCol="0">
                <a:spAutoFit/>
              </a:bodyPr>
              <a:lstStyle/>
              <a:p>
                <a:pPr marL="0" marR="0" lvl="0" indent="0"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rPr>
                  <a:t>Testing </a:t>
                </a:r>
                <a:r>
                  <a:rPr kumimoji="0" lang="en-US" sz="1400" b="1" i="0" u="none" strike="noStrike" kern="0" cap="none" spc="0" normalizeH="0" baseline="0" noProof="0" dirty="0">
                    <a:ln>
                      <a:noFill/>
                    </a:ln>
                    <a:solidFill>
                      <a:srgbClr val="FFFFFF"/>
                    </a:solidFill>
                    <a:effectLst/>
                    <a:uLnTx/>
                    <a:uFillTx/>
                    <a:latin typeface="Univers"/>
                  </a:rPr>
                  <a:t>2 weeks</a:t>
                </a:r>
              </a:p>
            </p:txBody>
          </p:sp>
        </p:grpSp>
        <p:grpSp>
          <p:nvGrpSpPr>
            <p:cNvPr id="51" name="Gruppieren 50">
              <a:extLst>
                <a:ext uri="{FF2B5EF4-FFF2-40B4-BE49-F238E27FC236}">
                  <a16:creationId xmlns:a16="http://schemas.microsoft.com/office/drawing/2014/main" id="{1A24174D-AF27-454A-AF6C-2707E09C877D}"/>
                </a:ext>
              </a:extLst>
            </p:cNvPr>
            <p:cNvGrpSpPr/>
            <p:nvPr/>
          </p:nvGrpSpPr>
          <p:grpSpPr>
            <a:xfrm>
              <a:off x="1426666" y="4986885"/>
              <a:ext cx="2148260" cy="231261"/>
              <a:chOff x="2251320" y="5047755"/>
              <a:chExt cx="2148260" cy="231261"/>
            </a:xfrm>
          </p:grpSpPr>
          <p:sp>
            <p:nvSpPr>
              <p:cNvPr id="55" name="Rectangle 38">
                <a:extLst>
                  <a:ext uri="{FF2B5EF4-FFF2-40B4-BE49-F238E27FC236}">
                    <a16:creationId xmlns:a16="http://schemas.microsoft.com/office/drawing/2014/main" id="{7390EC02-CEB6-8740-A8D0-6160C26D74B6}"/>
                  </a:ext>
                </a:extLst>
              </p:cNvPr>
              <p:cNvSpPr/>
              <p:nvPr/>
            </p:nvSpPr>
            <p:spPr>
              <a:xfrm>
                <a:off x="2251320" y="5047755"/>
                <a:ext cx="78086" cy="231261"/>
              </a:xfrm>
              <a:prstGeom prst="rect">
                <a:avLst/>
              </a:prstGeom>
              <a:solidFill>
                <a:srgbClr val="FF0000"/>
              </a:solidFill>
              <a:ln w="25400" cap="flat" cmpd="sng" algn="ctr">
                <a:noFill/>
                <a:prstDash val="solid"/>
              </a:ln>
              <a:effectLst/>
            </p:spPr>
            <p:txBody>
              <a:bodyPr rtlCol="0" anchor="ctr"/>
              <a:lstStyle/>
              <a:p>
                <a:pPr marL="0" marR="0" lvl="0" indent="0" defTabSz="914309"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DBDBDB">
                      <a:lumMod val="25000"/>
                    </a:srgbClr>
                  </a:solidFill>
                  <a:effectLst/>
                  <a:uLnTx/>
                  <a:uFillTx/>
                  <a:latin typeface="Univers"/>
                  <a:ea typeface="+mn-ea"/>
                  <a:cs typeface="+mn-cs"/>
                </a:endParaRPr>
              </a:p>
            </p:txBody>
          </p:sp>
          <p:sp>
            <p:nvSpPr>
              <p:cNvPr id="56" name="TextBox 60">
                <a:extLst>
                  <a:ext uri="{FF2B5EF4-FFF2-40B4-BE49-F238E27FC236}">
                    <a16:creationId xmlns:a16="http://schemas.microsoft.com/office/drawing/2014/main" id="{65522A5E-B6EF-F94B-8AB4-1E9A4E730E1F}"/>
                  </a:ext>
                </a:extLst>
              </p:cNvPr>
              <p:cNvSpPr txBox="1"/>
              <p:nvPr/>
            </p:nvSpPr>
            <p:spPr>
              <a:xfrm>
                <a:off x="2329406" y="5051756"/>
                <a:ext cx="2070174" cy="215444"/>
              </a:xfrm>
              <a:prstGeom prst="rect">
                <a:avLst/>
              </a:prstGeom>
              <a:noFill/>
            </p:spPr>
            <p:txBody>
              <a:bodyPr wrap="square" lIns="72000" tIns="0" rIns="0" bIns="0" rtlCol="0">
                <a:spAutoFit/>
              </a:bodyPr>
              <a:lstStyle/>
              <a:p>
                <a:pPr marL="0" marR="0" lvl="0" indent="0"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rPr>
                  <a:t>Go-live </a:t>
                </a:r>
                <a:r>
                  <a:rPr kumimoji="0" lang="en-US" sz="1400" b="1" i="0" u="none" strike="noStrike" kern="0" cap="none" spc="0" normalizeH="0" baseline="0" noProof="0" dirty="0">
                    <a:ln>
                      <a:noFill/>
                    </a:ln>
                    <a:solidFill>
                      <a:srgbClr val="FFFFFF"/>
                    </a:solidFill>
                    <a:effectLst/>
                    <a:uLnTx/>
                    <a:uFillTx/>
                    <a:latin typeface="Univers"/>
                  </a:rPr>
                  <a:t>1 day</a:t>
                </a:r>
              </a:p>
            </p:txBody>
          </p:sp>
        </p:grpSp>
        <p:grpSp>
          <p:nvGrpSpPr>
            <p:cNvPr id="52" name="Gruppieren 51">
              <a:extLst>
                <a:ext uri="{FF2B5EF4-FFF2-40B4-BE49-F238E27FC236}">
                  <a16:creationId xmlns:a16="http://schemas.microsoft.com/office/drawing/2014/main" id="{FEFCF5F8-D022-0F4B-811D-43188194A450}"/>
                </a:ext>
              </a:extLst>
            </p:cNvPr>
            <p:cNvGrpSpPr/>
            <p:nvPr/>
          </p:nvGrpSpPr>
          <p:grpSpPr>
            <a:xfrm>
              <a:off x="1714787" y="5588124"/>
              <a:ext cx="2790253" cy="235433"/>
              <a:chOff x="2329407" y="5331837"/>
              <a:chExt cx="2790253" cy="235433"/>
            </a:xfrm>
          </p:grpSpPr>
          <p:sp>
            <p:nvSpPr>
              <p:cNvPr id="53" name="Rectangle 39">
                <a:extLst>
                  <a:ext uri="{FF2B5EF4-FFF2-40B4-BE49-F238E27FC236}">
                    <a16:creationId xmlns:a16="http://schemas.microsoft.com/office/drawing/2014/main" id="{58507351-B82E-3840-A541-144B77FA590A}"/>
                  </a:ext>
                </a:extLst>
              </p:cNvPr>
              <p:cNvSpPr/>
              <p:nvPr/>
            </p:nvSpPr>
            <p:spPr>
              <a:xfrm>
                <a:off x="2329407" y="5331837"/>
                <a:ext cx="196194" cy="231260"/>
              </a:xfrm>
              <a:prstGeom prst="rect">
                <a:avLst/>
              </a:prstGeom>
              <a:solidFill>
                <a:srgbClr val="005A9A"/>
              </a:solidFill>
              <a:ln w="25400" cap="flat" cmpd="sng" algn="ctr">
                <a:noFill/>
                <a:prstDash val="solid"/>
              </a:ln>
              <a:effectLst/>
            </p:spPr>
            <p:txBody>
              <a:bodyPr rtlCol="0" anchor="ctr"/>
              <a:lstStyle/>
              <a:p>
                <a:pPr marL="0" marR="0" lvl="0" indent="0" defTabSz="914309"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DBDBDB">
                      <a:lumMod val="25000"/>
                    </a:srgbClr>
                  </a:solidFill>
                  <a:effectLst/>
                  <a:uLnTx/>
                  <a:uFillTx/>
                  <a:latin typeface="Univers"/>
                  <a:ea typeface="+mn-ea"/>
                  <a:cs typeface="+mn-cs"/>
                </a:endParaRPr>
              </a:p>
            </p:txBody>
          </p:sp>
          <p:sp>
            <p:nvSpPr>
              <p:cNvPr id="54" name="TextBox 61">
                <a:extLst>
                  <a:ext uri="{FF2B5EF4-FFF2-40B4-BE49-F238E27FC236}">
                    <a16:creationId xmlns:a16="http://schemas.microsoft.com/office/drawing/2014/main" id="{B7389705-2400-3D42-9D80-C706ADA98107}"/>
                  </a:ext>
                </a:extLst>
              </p:cNvPr>
              <p:cNvSpPr txBox="1"/>
              <p:nvPr/>
            </p:nvSpPr>
            <p:spPr>
              <a:xfrm>
                <a:off x="2526952" y="5351826"/>
                <a:ext cx="2592708" cy="215444"/>
              </a:xfrm>
              <a:prstGeom prst="rect">
                <a:avLst/>
              </a:prstGeom>
              <a:noFill/>
            </p:spPr>
            <p:txBody>
              <a:bodyPr wrap="square" lIns="72000" tIns="0" rIns="0" bIns="0" rtlCol="0">
                <a:spAutoFit/>
              </a:bodyPr>
              <a:lstStyle/>
              <a:p>
                <a:pPr marL="0" marR="0" lvl="0" indent="0" defTabSz="914309"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Univers"/>
                  </a:rPr>
                  <a:t>Hypercare </a:t>
                </a:r>
                <a:r>
                  <a:rPr kumimoji="0" lang="en-US" sz="1400" b="1" i="0" u="none" strike="noStrike" kern="0" cap="none" spc="0" normalizeH="0" baseline="0" noProof="0" dirty="0">
                    <a:ln>
                      <a:noFill/>
                    </a:ln>
                    <a:solidFill>
                      <a:srgbClr val="FFFFFF"/>
                    </a:solidFill>
                    <a:effectLst/>
                    <a:uLnTx/>
                    <a:uFillTx/>
                    <a:latin typeface="Univers"/>
                  </a:rPr>
                  <a:t>2 weeks</a:t>
                </a:r>
              </a:p>
            </p:txBody>
          </p:sp>
        </p:grpSp>
      </p:grpSp>
      <p:sp>
        <p:nvSpPr>
          <p:cNvPr id="67" name="Freeform 5">
            <a:extLst>
              <a:ext uri="{FF2B5EF4-FFF2-40B4-BE49-F238E27FC236}">
                <a16:creationId xmlns:a16="http://schemas.microsoft.com/office/drawing/2014/main" id="{6A16648E-FD74-7743-B31B-0633B8C33B46}"/>
              </a:ext>
            </a:extLst>
          </p:cNvPr>
          <p:cNvSpPr>
            <a:spLocks noEditPoints="1"/>
          </p:cNvSpPr>
          <p:nvPr/>
        </p:nvSpPr>
        <p:spPr bwMode="auto">
          <a:xfrm>
            <a:off x="11378399" y="248372"/>
            <a:ext cx="564809" cy="547340"/>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6F6F6F"/>
              </a:solidFill>
              <a:effectLst/>
              <a:uLnTx/>
              <a:uFillTx/>
              <a:latin typeface="Univers"/>
            </a:endParaRPr>
          </a:p>
        </p:txBody>
      </p:sp>
      <p:grpSp>
        <p:nvGrpSpPr>
          <p:cNvPr id="68" name="Gruppieren 67">
            <a:extLst>
              <a:ext uri="{FF2B5EF4-FFF2-40B4-BE49-F238E27FC236}">
                <a16:creationId xmlns:a16="http://schemas.microsoft.com/office/drawing/2014/main" id="{8A904851-CF28-784E-AA67-37AE8CCB0360}"/>
              </a:ext>
            </a:extLst>
          </p:cNvPr>
          <p:cNvGrpSpPr/>
          <p:nvPr/>
        </p:nvGrpSpPr>
        <p:grpSpPr>
          <a:xfrm>
            <a:off x="3915442" y="4238926"/>
            <a:ext cx="1066177" cy="1188024"/>
            <a:chOff x="3817800" y="5145676"/>
            <a:chExt cx="1066177" cy="1188024"/>
          </a:xfrm>
        </p:grpSpPr>
        <p:sp>
          <p:nvSpPr>
            <p:cNvPr id="69" name="Freihandform 9">
              <a:extLst>
                <a:ext uri="{FF2B5EF4-FFF2-40B4-BE49-F238E27FC236}">
                  <a16:creationId xmlns:a16="http://schemas.microsoft.com/office/drawing/2014/main" id="{3A9A7FB6-5F5E-614A-AB55-DD66E1ACE440}"/>
                </a:ext>
              </a:extLst>
            </p:cNvPr>
            <p:cNvSpPr/>
            <p:nvPr/>
          </p:nvSpPr>
          <p:spPr>
            <a:xfrm rot="5400000">
              <a:off x="3756877" y="5206599"/>
              <a:ext cx="1188024" cy="1066177"/>
            </a:xfrm>
            <a:custGeom>
              <a:avLst/>
              <a:gdLst>
                <a:gd name="connsiteX0" fmla="*/ 2063749 w 2864952"/>
                <a:gd name="connsiteY0" fmla="*/ 2438875 h 2438875"/>
                <a:gd name="connsiteX1" fmla="*/ 1883893 w 2864952"/>
                <a:gd name="connsiteY1" fmla="*/ 2438875 h 2438875"/>
                <a:gd name="connsiteX2" fmla="*/ 1881943 w 2864952"/>
                <a:gd name="connsiteY2" fmla="*/ 2438875 h 2438875"/>
                <a:gd name="connsiteX3" fmla="*/ 1878812 w 2864952"/>
                <a:gd name="connsiteY3" fmla="*/ 2438875 h 2438875"/>
                <a:gd name="connsiteX4" fmla="*/ 1842426 w 2864952"/>
                <a:gd name="connsiteY4" fmla="*/ 2438875 h 2438875"/>
                <a:gd name="connsiteX5" fmla="*/ 1817033 w 2864952"/>
                <a:gd name="connsiteY5" fmla="*/ 2438875 h 2438875"/>
                <a:gd name="connsiteX6" fmla="*/ 1786415 w 2864952"/>
                <a:gd name="connsiteY6" fmla="*/ 2438875 h 2438875"/>
                <a:gd name="connsiteX7" fmla="*/ 1735371 w 2864952"/>
                <a:gd name="connsiteY7" fmla="*/ 2438875 h 2438875"/>
                <a:gd name="connsiteX8" fmla="*/ 1706547 w 2864952"/>
                <a:gd name="connsiteY8" fmla="*/ 2438875 h 2438875"/>
                <a:gd name="connsiteX9" fmla="*/ 1637425 w 2864952"/>
                <a:gd name="connsiteY9" fmla="*/ 2438875 h 2438875"/>
                <a:gd name="connsiteX10" fmla="*/ 1598589 w 2864952"/>
                <a:gd name="connsiteY10" fmla="*/ 2438875 h 2438875"/>
                <a:gd name="connsiteX11" fmla="*/ 1532753 w 2864952"/>
                <a:gd name="connsiteY11" fmla="*/ 2438875 h 2438875"/>
                <a:gd name="connsiteX12" fmla="*/ 1521715 w 2864952"/>
                <a:gd name="connsiteY12" fmla="*/ 2438875 h 2438875"/>
                <a:gd name="connsiteX13" fmla="*/ 1458308 w 2864952"/>
                <a:gd name="connsiteY13" fmla="*/ 2438875 h 2438875"/>
                <a:gd name="connsiteX14" fmla="*/ 1386762 w 2864952"/>
                <a:gd name="connsiteY14" fmla="*/ 2438875 h 2438875"/>
                <a:gd name="connsiteX15" fmla="*/ 1374724 w 2864952"/>
                <a:gd name="connsiteY15" fmla="*/ 2438875 h 2438875"/>
                <a:gd name="connsiteX16" fmla="*/ 1281473 w 2864952"/>
                <a:gd name="connsiteY16" fmla="*/ 2438875 h 2438875"/>
                <a:gd name="connsiteX17" fmla="*/ 1231085 w 2864952"/>
                <a:gd name="connsiteY17" fmla="*/ 2438875 h 2438875"/>
                <a:gd name="connsiteX18" fmla="*/ 1178024 w 2864952"/>
                <a:gd name="connsiteY18" fmla="*/ 2438875 h 2438875"/>
                <a:gd name="connsiteX19" fmla="*/ 1063849 w 2864952"/>
                <a:gd name="connsiteY19" fmla="*/ 2438875 h 2438875"/>
                <a:gd name="connsiteX20" fmla="*/ 1053203 w 2864952"/>
                <a:gd name="connsiteY20" fmla="*/ 2438875 h 2438875"/>
                <a:gd name="connsiteX21" fmla="*/ 983009 w 2864952"/>
                <a:gd name="connsiteY21" fmla="*/ 2438875 h 2438875"/>
                <a:gd name="connsiteX22" fmla="*/ 938418 w 2864952"/>
                <a:gd name="connsiteY22" fmla="*/ 2438875 h 2438875"/>
                <a:gd name="connsiteX23" fmla="*/ 801204 w 2864952"/>
                <a:gd name="connsiteY23" fmla="*/ 2438875 h 2438875"/>
                <a:gd name="connsiteX24" fmla="*/ 585669 w 2864952"/>
                <a:gd name="connsiteY24" fmla="*/ 2317836 h 2438875"/>
                <a:gd name="connsiteX25" fmla="*/ 29340 w 2864952"/>
                <a:gd name="connsiteY25" fmla="*/ 1350657 h 2438875"/>
                <a:gd name="connsiteX26" fmla="*/ 0 w 2864952"/>
                <a:gd name="connsiteY26" fmla="*/ 1226225 h 2438875"/>
                <a:gd name="connsiteX27" fmla="*/ 29340 w 2864952"/>
                <a:gd name="connsiteY27" fmla="*/ 1100661 h 2438875"/>
                <a:gd name="connsiteX28" fmla="*/ 585669 w 2864952"/>
                <a:gd name="connsiteY28" fmla="*/ 128957 h 2438875"/>
                <a:gd name="connsiteX29" fmla="*/ 801204 w 2864952"/>
                <a:gd name="connsiteY29" fmla="*/ 0 h 2438875"/>
                <a:gd name="connsiteX30" fmla="*/ 981059 w 2864952"/>
                <a:gd name="connsiteY30" fmla="*/ 0 h 2438875"/>
                <a:gd name="connsiteX31" fmla="*/ 983009 w 2864952"/>
                <a:gd name="connsiteY31" fmla="*/ 0 h 2438875"/>
                <a:gd name="connsiteX32" fmla="*/ 986140 w 2864952"/>
                <a:gd name="connsiteY32" fmla="*/ 0 h 2438875"/>
                <a:gd name="connsiteX33" fmla="*/ 1022526 w 2864952"/>
                <a:gd name="connsiteY33" fmla="*/ 0 h 2438875"/>
                <a:gd name="connsiteX34" fmla="*/ 1047919 w 2864952"/>
                <a:gd name="connsiteY34" fmla="*/ 0 h 2438875"/>
                <a:gd name="connsiteX35" fmla="*/ 1078537 w 2864952"/>
                <a:gd name="connsiteY35" fmla="*/ 0 h 2438875"/>
                <a:gd name="connsiteX36" fmla="*/ 1129582 w 2864952"/>
                <a:gd name="connsiteY36" fmla="*/ 0 h 2438875"/>
                <a:gd name="connsiteX37" fmla="*/ 1158405 w 2864952"/>
                <a:gd name="connsiteY37" fmla="*/ 0 h 2438875"/>
                <a:gd name="connsiteX38" fmla="*/ 1227528 w 2864952"/>
                <a:gd name="connsiteY38" fmla="*/ 0 h 2438875"/>
                <a:gd name="connsiteX39" fmla="*/ 1266363 w 2864952"/>
                <a:gd name="connsiteY39" fmla="*/ 0 h 2438875"/>
                <a:gd name="connsiteX40" fmla="*/ 1332199 w 2864952"/>
                <a:gd name="connsiteY40" fmla="*/ 0 h 2438875"/>
                <a:gd name="connsiteX41" fmla="*/ 1343237 w 2864952"/>
                <a:gd name="connsiteY41" fmla="*/ 0 h 2438875"/>
                <a:gd name="connsiteX42" fmla="*/ 1406644 w 2864952"/>
                <a:gd name="connsiteY42" fmla="*/ 0 h 2438875"/>
                <a:gd name="connsiteX43" fmla="*/ 1478190 w 2864952"/>
                <a:gd name="connsiteY43" fmla="*/ 0 h 2438875"/>
                <a:gd name="connsiteX44" fmla="*/ 1490228 w 2864952"/>
                <a:gd name="connsiteY44" fmla="*/ 0 h 2438875"/>
                <a:gd name="connsiteX45" fmla="*/ 1583480 w 2864952"/>
                <a:gd name="connsiteY45" fmla="*/ 0 h 2438875"/>
                <a:gd name="connsiteX46" fmla="*/ 1633867 w 2864952"/>
                <a:gd name="connsiteY46" fmla="*/ 0 h 2438875"/>
                <a:gd name="connsiteX47" fmla="*/ 1686929 w 2864952"/>
                <a:gd name="connsiteY47" fmla="*/ 0 h 2438875"/>
                <a:gd name="connsiteX48" fmla="*/ 1801104 w 2864952"/>
                <a:gd name="connsiteY48" fmla="*/ 0 h 2438875"/>
                <a:gd name="connsiteX49" fmla="*/ 1811749 w 2864952"/>
                <a:gd name="connsiteY49" fmla="*/ 0 h 2438875"/>
                <a:gd name="connsiteX50" fmla="*/ 1881943 w 2864952"/>
                <a:gd name="connsiteY50" fmla="*/ 0 h 2438875"/>
                <a:gd name="connsiteX51" fmla="*/ 1926534 w 2864952"/>
                <a:gd name="connsiteY51" fmla="*/ 0 h 2438875"/>
                <a:gd name="connsiteX52" fmla="*/ 2063749 w 2864952"/>
                <a:gd name="connsiteY52" fmla="*/ 0 h 2438875"/>
                <a:gd name="connsiteX53" fmla="*/ 2279284 w 2864952"/>
                <a:gd name="connsiteY53" fmla="*/ 121039 h 2438875"/>
                <a:gd name="connsiteX54" fmla="*/ 2835612 w 2864952"/>
                <a:gd name="connsiteY54" fmla="*/ 1088218 h 2438875"/>
                <a:gd name="connsiteX55" fmla="*/ 2864952 w 2864952"/>
                <a:gd name="connsiteY55" fmla="*/ 1212650 h 2438875"/>
                <a:gd name="connsiteX56" fmla="*/ 2835612 w 2864952"/>
                <a:gd name="connsiteY56" fmla="*/ 1338214 h 2438875"/>
                <a:gd name="connsiteX57" fmla="*/ 2279284 w 2864952"/>
                <a:gd name="connsiteY57" fmla="*/ 2309917 h 2438875"/>
                <a:gd name="connsiteX58" fmla="*/ 2063749 w 2864952"/>
                <a:gd name="connsiteY58" fmla="*/ 2438875 h 243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864952" h="2438875">
                  <a:moveTo>
                    <a:pt x="2063749" y="2438875"/>
                  </a:moveTo>
                  <a:cubicBezTo>
                    <a:pt x="2063749" y="2438875"/>
                    <a:pt x="2063749" y="2438875"/>
                    <a:pt x="1883893" y="2438875"/>
                  </a:cubicBezTo>
                  <a:lnTo>
                    <a:pt x="1881943" y="2438875"/>
                  </a:lnTo>
                  <a:lnTo>
                    <a:pt x="1878812" y="2438875"/>
                  </a:lnTo>
                  <a:lnTo>
                    <a:pt x="1842426" y="2438875"/>
                  </a:lnTo>
                  <a:lnTo>
                    <a:pt x="1817033" y="2438875"/>
                  </a:lnTo>
                  <a:lnTo>
                    <a:pt x="1786415" y="2438875"/>
                  </a:lnTo>
                  <a:lnTo>
                    <a:pt x="1735371" y="2438875"/>
                  </a:lnTo>
                  <a:lnTo>
                    <a:pt x="1706547" y="2438875"/>
                  </a:lnTo>
                  <a:lnTo>
                    <a:pt x="1637425" y="2438875"/>
                  </a:lnTo>
                  <a:lnTo>
                    <a:pt x="1598589" y="2438875"/>
                  </a:lnTo>
                  <a:lnTo>
                    <a:pt x="1532753" y="2438875"/>
                  </a:lnTo>
                  <a:lnTo>
                    <a:pt x="1521715" y="2438875"/>
                  </a:lnTo>
                  <a:lnTo>
                    <a:pt x="1458308" y="2438875"/>
                  </a:lnTo>
                  <a:lnTo>
                    <a:pt x="1386762" y="2438875"/>
                  </a:lnTo>
                  <a:lnTo>
                    <a:pt x="1374724" y="2438875"/>
                  </a:lnTo>
                  <a:lnTo>
                    <a:pt x="1281473" y="2438875"/>
                  </a:lnTo>
                  <a:lnTo>
                    <a:pt x="1231085" y="2438875"/>
                  </a:lnTo>
                  <a:lnTo>
                    <a:pt x="1178024" y="2438875"/>
                  </a:lnTo>
                  <a:lnTo>
                    <a:pt x="1063849" y="2438875"/>
                  </a:lnTo>
                  <a:lnTo>
                    <a:pt x="1053203" y="2438875"/>
                  </a:lnTo>
                  <a:lnTo>
                    <a:pt x="983009" y="2438875"/>
                  </a:lnTo>
                  <a:lnTo>
                    <a:pt x="938418" y="2438875"/>
                  </a:lnTo>
                  <a:cubicBezTo>
                    <a:pt x="894674" y="2438875"/>
                    <a:pt x="848965" y="2438875"/>
                    <a:pt x="801204" y="2438875"/>
                  </a:cubicBezTo>
                  <a:cubicBezTo>
                    <a:pt x="719955" y="2438875"/>
                    <a:pt x="624036" y="2385709"/>
                    <a:pt x="585669" y="2317836"/>
                  </a:cubicBezTo>
                  <a:cubicBezTo>
                    <a:pt x="585669" y="2317836"/>
                    <a:pt x="585669" y="2317836"/>
                    <a:pt x="29340" y="1350657"/>
                  </a:cubicBezTo>
                  <a:cubicBezTo>
                    <a:pt x="10156" y="1317852"/>
                    <a:pt x="0" y="1273735"/>
                    <a:pt x="0" y="1226225"/>
                  </a:cubicBezTo>
                  <a:cubicBezTo>
                    <a:pt x="0" y="1178714"/>
                    <a:pt x="10156" y="1134597"/>
                    <a:pt x="29340" y="1100661"/>
                  </a:cubicBezTo>
                  <a:cubicBezTo>
                    <a:pt x="29340" y="1100661"/>
                    <a:pt x="29340" y="1100661"/>
                    <a:pt x="585669" y="128957"/>
                  </a:cubicBezTo>
                  <a:cubicBezTo>
                    <a:pt x="626293" y="57691"/>
                    <a:pt x="723340" y="0"/>
                    <a:pt x="801204" y="0"/>
                  </a:cubicBezTo>
                  <a:cubicBezTo>
                    <a:pt x="801204" y="0"/>
                    <a:pt x="801204" y="0"/>
                    <a:pt x="981059" y="0"/>
                  </a:cubicBezTo>
                  <a:lnTo>
                    <a:pt x="983009" y="0"/>
                  </a:lnTo>
                  <a:lnTo>
                    <a:pt x="986140" y="0"/>
                  </a:lnTo>
                  <a:cubicBezTo>
                    <a:pt x="995468" y="0"/>
                    <a:pt x="1007362" y="0"/>
                    <a:pt x="1022526" y="0"/>
                  </a:cubicBezTo>
                  <a:lnTo>
                    <a:pt x="1047919" y="0"/>
                  </a:lnTo>
                  <a:lnTo>
                    <a:pt x="1078537" y="0"/>
                  </a:lnTo>
                  <a:lnTo>
                    <a:pt x="1129582" y="0"/>
                  </a:lnTo>
                  <a:lnTo>
                    <a:pt x="1158405" y="0"/>
                  </a:lnTo>
                  <a:lnTo>
                    <a:pt x="1227528" y="0"/>
                  </a:lnTo>
                  <a:lnTo>
                    <a:pt x="1266363" y="0"/>
                  </a:lnTo>
                  <a:cubicBezTo>
                    <a:pt x="1286932" y="0"/>
                    <a:pt x="1308848" y="0"/>
                    <a:pt x="1332199" y="0"/>
                  </a:cubicBezTo>
                  <a:lnTo>
                    <a:pt x="1343237" y="0"/>
                  </a:lnTo>
                  <a:lnTo>
                    <a:pt x="1406644" y="0"/>
                  </a:lnTo>
                  <a:lnTo>
                    <a:pt x="1478190" y="0"/>
                  </a:lnTo>
                  <a:lnTo>
                    <a:pt x="1490228" y="0"/>
                  </a:lnTo>
                  <a:cubicBezTo>
                    <a:pt x="1519671" y="0"/>
                    <a:pt x="1550726" y="0"/>
                    <a:pt x="1583480" y="0"/>
                  </a:cubicBezTo>
                  <a:lnTo>
                    <a:pt x="1633867" y="0"/>
                  </a:lnTo>
                  <a:lnTo>
                    <a:pt x="1686929" y="0"/>
                  </a:lnTo>
                  <a:cubicBezTo>
                    <a:pt x="1723170" y="0"/>
                    <a:pt x="1761199" y="0"/>
                    <a:pt x="1801104" y="0"/>
                  </a:cubicBezTo>
                  <a:lnTo>
                    <a:pt x="1811749" y="0"/>
                  </a:lnTo>
                  <a:lnTo>
                    <a:pt x="1881943" y="0"/>
                  </a:lnTo>
                  <a:lnTo>
                    <a:pt x="1926534" y="0"/>
                  </a:lnTo>
                  <a:cubicBezTo>
                    <a:pt x="1970279" y="0"/>
                    <a:pt x="2015988" y="0"/>
                    <a:pt x="2063749" y="0"/>
                  </a:cubicBezTo>
                  <a:cubicBezTo>
                    <a:pt x="2144997" y="0"/>
                    <a:pt x="2240916" y="53166"/>
                    <a:pt x="2279284" y="121039"/>
                  </a:cubicBezTo>
                  <a:cubicBezTo>
                    <a:pt x="2279284" y="121039"/>
                    <a:pt x="2279284" y="121039"/>
                    <a:pt x="2835612" y="1088218"/>
                  </a:cubicBezTo>
                  <a:cubicBezTo>
                    <a:pt x="2854796" y="1121023"/>
                    <a:pt x="2864952" y="1165140"/>
                    <a:pt x="2864952" y="1212650"/>
                  </a:cubicBezTo>
                  <a:cubicBezTo>
                    <a:pt x="2864952" y="1260161"/>
                    <a:pt x="2854796" y="1304278"/>
                    <a:pt x="2835612" y="1338214"/>
                  </a:cubicBezTo>
                  <a:cubicBezTo>
                    <a:pt x="2835612" y="1338214"/>
                    <a:pt x="2835612" y="1338214"/>
                    <a:pt x="2279284" y="2309917"/>
                  </a:cubicBezTo>
                  <a:cubicBezTo>
                    <a:pt x="2238659" y="2381183"/>
                    <a:pt x="2141612" y="2438875"/>
                    <a:pt x="2063749" y="2438875"/>
                  </a:cubicBezTo>
                  <a:close/>
                </a:path>
              </a:pathLst>
            </a:custGeom>
            <a:solidFill>
              <a:srgbClr val="FF0000">
                <a:alpha val="80000"/>
              </a:srgbClr>
            </a:solidFill>
            <a:ln w="12700" cap="flat" cmpd="sng" algn="ctr">
              <a:noFill/>
              <a:prstDash val="solid"/>
            </a:ln>
            <a:effectLst/>
          </p:spPr>
          <p:txBody>
            <a:bodyPr wrap="square"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DBDBDB">
                    <a:lumMod val="25000"/>
                  </a:srgbClr>
                </a:solidFill>
                <a:effectLst/>
                <a:uLnTx/>
                <a:uFillTx/>
                <a:latin typeface="Univers"/>
                <a:ea typeface="+mn-ea"/>
                <a:cs typeface="+mn-cs"/>
              </a:endParaRPr>
            </a:p>
          </p:txBody>
        </p:sp>
        <p:sp>
          <p:nvSpPr>
            <p:cNvPr id="70" name="Rechteck 69">
              <a:extLst>
                <a:ext uri="{FF2B5EF4-FFF2-40B4-BE49-F238E27FC236}">
                  <a16:creationId xmlns:a16="http://schemas.microsoft.com/office/drawing/2014/main" id="{140AF0B3-7E82-1B47-98F0-890C4A1E8B6D}"/>
                </a:ext>
              </a:extLst>
            </p:cNvPr>
            <p:cNvSpPr/>
            <p:nvPr/>
          </p:nvSpPr>
          <p:spPr>
            <a:xfrm>
              <a:off x="3928690" y="5370355"/>
              <a:ext cx="841897" cy="738664"/>
            </a:xfrm>
            <a:prstGeom prst="rect">
              <a:avLst/>
            </a:prstGeom>
          </p:spPr>
          <p:txBody>
            <a:bodyPr wrap="none">
              <a:spAutoFit/>
            </a:bodyPr>
            <a:lstStyle/>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Univers"/>
                </a:rPr>
                <a:t>Go-live</a:t>
              </a:r>
            </a:p>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Univers"/>
                </a:rPr>
                <a:t>in</a:t>
              </a:r>
            </a:p>
            <a:p>
              <a:pPr marL="0" marR="0" lvl="0" indent="0" algn="ctr" defTabSz="914309"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Univers"/>
                </a:rPr>
                <a:t>months</a:t>
              </a:r>
            </a:p>
          </p:txBody>
        </p:sp>
      </p:grpSp>
      <p:sp>
        <p:nvSpPr>
          <p:cNvPr id="71" name="TextBox 67">
            <a:extLst>
              <a:ext uri="{FF2B5EF4-FFF2-40B4-BE49-F238E27FC236}">
                <a16:creationId xmlns:a16="http://schemas.microsoft.com/office/drawing/2014/main" id="{CC72E795-3545-684E-A796-18C0B2421363}"/>
              </a:ext>
            </a:extLst>
          </p:cNvPr>
          <p:cNvSpPr txBox="1"/>
          <p:nvPr/>
        </p:nvSpPr>
        <p:spPr>
          <a:xfrm>
            <a:off x="402416" y="1456383"/>
            <a:ext cx="6116204" cy="215444"/>
          </a:xfrm>
          <a:prstGeom prst="rect">
            <a:avLst/>
          </a:prstGeom>
          <a:noFill/>
        </p:spPr>
        <p:txBody>
          <a:bodyPr wrap="square" lIns="0" tIns="0" rIns="0" bIns="0" rtlCol="0">
            <a:spAutoFit/>
          </a:bodyPr>
          <a:lstStyle/>
          <a:p>
            <a:pPr defTabSz="914309">
              <a:defRPr/>
            </a:pPr>
            <a:r>
              <a:rPr lang="en-US" sz="1400" b="1" dirty="0">
                <a:solidFill>
                  <a:srgbClr val="FFFFFF"/>
                </a:solidFill>
                <a:latin typeface="Univers"/>
              </a:rPr>
              <a:t>The SNP way = Heavily automated/algorithmic</a:t>
            </a:r>
          </a:p>
        </p:txBody>
      </p:sp>
      <p:sp>
        <p:nvSpPr>
          <p:cNvPr id="72" name="Richtungspfeil 71">
            <a:extLst>
              <a:ext uri="{FF2B5EF4-FFF2-40B4-BE49-F238E27FC236}">
                <a16:creationId xmlns:a16="http://schemas.microsoft.com/office/drawing/2014/main" id="{B61C4D0D-1098-DD44-859F-927B3089BFDB}"/>
              </a:ext>
            </a:extLst>
          </p:cNvPr>
          <p:cNvSpPr/>
          <p:nvPr/>
        </p:nvSpPr>
        <p:spPr>
          <a:xfrm>
            <a:off x="406400" y="5952718"/>
            <a:ext cx="11377613" cy="144016"/>
          </a:xfrm>
          <a:prstGeom prst="homePlate">
            <a:avLst/>
          </a:prstGeom>
          <a:gradFill flip="none" rotWithShape="1">
            <a:gsLst>
              <a:gs pos="0">
                <a:srgbClr val="FFFFFF">
                  <a:alpha val="0"/>
                </a:srgbClr>
              </a:gs>
              <a:gs pos="100000">
                <a:srgbClr val="FFFFFF"/>
              </a:gs>
            </a:gsLst>
            <a:lin ang="0" scaled="0"/>
            <a:tileRect/>
          </a:gra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Univers"/>
              <a:ea typeface="+mn-ea"/>
              <a:cs typeface="+mn-cs"/>
            </a:endParaRPr>
          </a:p>
        </p:txBody>
      </p:sp>
      <p:sp>
        <p:nvSpPr>
          <p:cNvPr id="37" name="Datumsplatzhalter 2">
            <a:extLst>
              <a:ext uri="{FF2B5EF4-FFF2-40B4-BE49-F238E27FC236}">
                <a16:creationId xmlns:a16="http://schemas.microsoft.com/office/drawing/2014/main" id="{4EF594F5-B9D0-451D-86CC-565A18C063DC}"/>
              </a:ext>
            </a:extLst>
          </p:cNvPr>
          <p:cNvSpPr txBox="1">
            <a:spLocks/>
          </p:cNvSpPr>
          <p:nvPr/>
        </p:nvSpPr>
        <p:spPr>
          <a:xfrm>
            <a:off x="406399" y="6501507"/>
            <a:ext cx="815725" cy="213414"/>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US" sz="900" dirty="0">
                <a:solidFill>
                  <a:schemeClr val="bg1"/>
                </a:solidFill>
              </a:rPr>
              <a:t>21/08/2019</a:t>
            </a:r>
          </a:p>
        </p:txBody>
      </p:sp>
      <p:sp>
        <p:nvSpPr>
          <p:cNvPr id="73" name="Foliennummernplatzhalter 3">
            <a:extLst>
              <a:ext uri="{FF2B5EF4-FFF2-40B4-BE49-F238E27FC236}">
                <a16:creationId xmlns:a16="http://schemas.microsoft.com/office/drawing/2014/main" id="{831B15E9-D0AA-4F32-8A76-E1C2CB3EF529}"/>
              </a:ext>
            </a:extLst>
          </p:cNvPr>
          <p:cNvSpPr txBox="1">
            <a:spLocks/>
          </p:cNvSpPr>
          <p:nvPr/>
        </p:nvSpPr>
        <p:spPr>
          <a:xfrm>
            <a:off x="11111017" y="6501507"/>
            <a:ext cx="672996"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fld id="{221F1D72-F2AC-4B6E-A46C-E63D2CF40C7B}" type="slidenum">
              <a:rPr lang="en-US" sz="900" smtClean="0">
                <a:solidFill>
                  <a:schemeClr val="bg1"/>
                </a:solidFill>
              </a:rPr>
              <a:pPr/>
              <a:t>13</a:t>
            </a:fld>
            <a:endParaRPr lang="en-US" sz="900" dirty="0">
              <a:solidFill>
                <a:schemeClr val="bg1"/>
              </a:solidFill>
            </a:endParaRPr>
          </a:p>
        </p:txBody>
      </p:sp>
      <p:sp>
        <p:nvSpPr>
          <p:cNvPr id="74" name="Fußzeilenplatzhalter 4">
            <a:extLst>
              <a:ext uri="{FF2B5EF4-FFF2-40B4-BE49-F238E27FC236}">
                <a16:creationId xmlns:a16="http://schemas.microsoft.com/office/drawing/2014/main" id="{C7FDD2EE-1BEB-4D30-8BA2-72E90FFA2AE3}"/>
              </a:ext>
            </a:extLst>
          </p:cNvPr>
          <p:cNvSpPr txBox="1">
            <a:spLocks/>
          </p:cNvSpPr>
          <p:nvPr/>
        </p:nvSpPr>
        <p:spPr>
          <a:xfrm>
            <a:off x="1054646" y="6501507"/>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US" sz="900" dirty="0">
                <a:solidFill>
                  <a:schemeClr val="bg1"/>
                </a:solidFill>
              </a:rPr>
              <a:t>NZSUG Auckland Event + SAP Forum</a:t>
            </a:r>
          </a:p>
        </p:txBody>
      </p:sp>
    </p:spTree>
    <p:extLst>
      <p:ext uri="{BB962C8B-B14F-4D97-AF65-F5344CB8AC3E}">
        <p14:creationId xmlns:p14="http://schemas.microsoft.com/office/powerpoint/2010/main" val="17781809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2F868E02-AABF-B142-AEBB-8FF6F7FD9FD2}"/>
              </a:ext>
            </a:extLst>
          </p:cNvPr>
          <p:cNvSpPr>
            <a:spLocks noGrp="1"/>
          </p:cNvSpPr>
          <p:nvPr>
            <p:ph type="dt" sz="half" idx="10"/>
          </p:nvPr>
        </p:nvSpPr>
        <p:spPr/>
        <p:txBody>
          <a:bodyPr/>
          <a:lstStyle/>
          <a:p>
            <a:r>
              <a:rPr lang="en-US">
                <a:solidFill>
                  <a:srgbClr val="6F6F6F"/>
                </a:solidFill>
              </a:rPr>
              <a:t>21/08/2019</a:t>
            </a:r>
            <a:endParaRPr lang="en-US" dirty="0">
              <a:solidFill>
                <a:srgbClr val="6F6F6F"/>
              </a:solidFill>
            </a:endParaRPr>
          </a:p>
        </p:txBody>
      </p:sp>
      <p:sp>
        <p:nvSpPr>
          <p:cNvPr id="4" name="Foliennummernplatzhalter 3">
            <a:extLst>
              <a:ext uri="{FF2B5EF4-FFF2-40B4-BE49-F238E27FC236}">
                <a16:creationId xmlns:a16="http://schemas.microsoft.com/office/drawing/2014/main" id="{158ED499-FAAB-9245-84FA-F742D6DCD9C2}"/>
              </a:ext>
            </a:extLst>
          </p:cNvPr>
          <p:cNvSpPr>
            <a:spLocks noGrp="1"/>
          </p:cNvSpPr>
          <p:nvPr>
            <p:ph type="sldNum" sz="quarter" idx="11"/>
          </p:nvPr>
        </p:nvSpPr>
        <p:spPr/>
        <p:txBody>
          <a:bodyPr/>
          <a:lstStyle/>
          <a:p>
            <a:fld id="{221F1D72-F2AC-4B6E-A46C-E63D2CF40C7B}" type="slidenum">
              <a:rPr lang="en-US" smtClean="0">
                <a:solidFill>
                  <a:srgbClr val="6F6F6F"/>
                </a:solidFill>
              </a:rPr>
              <a:pPr/>
              <a:t>14</a:t>
            </a:fld>
            <a:endParaRPr lang="en-US" dirty="0">
              <a:solidFill>
                <a:srgbClr val="6F6F6F"/>
              </a:solidFill>
            </a:endParaRPr>
          </a:p>
        </p:txBody>
      </p:sp>
      <p:sp>
        <p:nvSpPr>
          <p:cNvPr id="5" name="Fußzeilenplatzhalter 4">
            <a:extLst>
              <a:ext uri="{FF2B5EF4-FFF2-40B4-BE49-F238E27FC236}">
                <a16:creationId xmlns:a16="http://schemas.microsoft.com/office/drawing/2014/main" id="{AE3103FB-9696-C941-B814-81356FAFE520}"/>
              </a:ext>
            </a:extLst>
          </p:cNvPr>
          <p:cNvSpPr>
            <a:spLocks noGrp="1"/>
          </p:cNvSpPr>
          <p:nvPr>
            <p:ph type="ftr" sz="quarter" idx="12"/>
          </p:nvPr>
        </p:nvSpPr>
        <p:spPr/>
        <p:txBody>
          <a:bodyPr/>
          <a:lstStyle/>
          <a:p>
            <a:r>
              <a:rPr lang="en-US">
                <a:solidFill>
                  <a:srgbClr val="6F6F6F"/>
                </a:solidFill>
              </a:rPr>
              <a:t>NZSUG Auckland Event + SAP Forum</a:t>
            </a:r>
            <a:endParaRPr lang="en-US" dirty="0">
              <a:solidFill>
                <a:srgbClr val="6F6F6F"/>
              </a:solidFill>
            </a:endParaRPr>
          </a:p>
        </p:txBody>
      </p:sp>
      <p:sp>
        <p:nvSpPr>
          <p:cNvPr id="7" name="Rectangle 5">
            <a:extLst>
              <a:ext uri="{FF2B5EF4-FFF2-40B4-BE49-F238E27FC236}">
                <a16:creationId xmlns:a16="http://schemas.microsoft.com/office/drawing/2014/main" id="{F1402EAC-767E-CA45-ABF2-C080B829DD10}"/>
              </a:ext>
            </a:extLst>
          </p:cNvPr>
          <p:cNvSpPr/>
          <p:nvPr/>
        </p:nvSpPr>
        <p:spPr>
          <a:xfrm>
            <a:off x="406400" y="2773280"/>
            <a:ext cx="1424879" cy="564157"/>
          </a:xfrm>
          <a:prstGeom prst="rect">
            <a:avLst/>
          </a:prstGeom>
          <a:no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914309"/>
            <a:r>
              <a:rPr lang="en-US" sz="1400" b="1" dirty="0">
                <a:solidFill>
                  <a:schemeClr val="bg2">
                    <a:lumMod val="25000"/>
                  </a:schemeClr>
                </a:solidFill>
                <a:latin typeface="Univers"/>
              </a:rPr>
              <a:t>Preparatory</a:t>
            </a:r>
          </a:p>
          <a:p>
            <a:pPr algn="ctr" defTabSz="914309"/>
            <a:r>
              <a:rPr lang="en-US" sz="1400" b="1" dirty="0">
                <a:solidFill>
                  <a:schemeClr val="bg2">
                    <a:lumMod val="25000"/>
                  </a:schemeClr>
                </a:solidFill>
                <a:latin typeface="Univers"/>
              </a:rPr>
              <a:t>data archiving</a:t>
            </a:r>
          </a:p>
        </p:txBody>
      </p:sp>
      <p:sp>
        <p:nvSpPr>
          <p:cNvPr id="8" name="Rectangle 6">
            <a:extLst>
              <a:ext uri="{FF2B5EF4-FFF2-40B4-BE49-F238E27FC236}">
                <a16:creationId xmlns:a16="http://schemas.microsoft.com/office/drawing/2014/main" id="{8B54BFA2-774E-6844-AF2F-9B6CB0929226}"/>
              </a:ext>
            </a:extLst>
          </p:cNvPr>
          <p:cNvSpPr/>
          <p:nvPr/>
        </p:nvSpPr>
        <p:spPr>
          <a:xfrm>
            <a:off x="3365013" y="2773281"/>
            <a:ext cx="1332087" cy="564156"/>
          </a:xfrm>
          <a:prstGeom prst="rect">
            <a:avLst/>
          </a:prstGeom>
          <a:no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914309"/>
            <a:r>
              <a:rPr lang="en-US" sz="1400" b="1" dirty="0">
                <a:solidFill>
                  <a:schemeClr val="bg2">
                    <a:lumMod val="25000"/>
                  </a:schemeClr>
                </a:solidFill>
                <a:latin typeface="Univers"/>
              </a:rPr>
              <a:t>New GL conversion</a:t>
            </a:r>
          </a:p>
        </p:txBody>
      </p:sp>
      <p:sp>
        <p:nvSpPr>
          <p:cNvPr id="9" name="Rectangle 7">
            <a:extLst>
              <a:ext uri="{FF2B5EF4-FFF2-40B4-BE49-F238E27FC236}">
                <a16:creationId xmlns:a16="http://schemas.microsoft.com/office/drawing/2014/main" id="{6D835307-51A3-8346-B47B-F410CC2E9494}"/>
              </a:ext>
            </a:extLst>
          </p:cNvPr>
          <p:cNvSpPr/>
          <p:nvPr/>
        </p:nvSpPr>
        <p:spPr>
          <a:xfrm>
            <a:off x="4747267" y="2773278"/>
            <a:ext cx="1616241" cy="564156"/>
          </a:xfrm>
          <a:prstGeom prst="rect">
            <a:avLst/>
          </a:prstGeom>
          <a:no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914309"/>
            <a:r>
              <a:rPr lang="en-US" sz="1400" b="1" dirty="0">
                <a:solidFill>
                  <a:schemeClr val="bg2">
                    <a:lumMod val="25000"/>
                  </a:schemeClr>
                </a:solidFill>
                <a:latin typeface="Univers"/>
              </a:rPr>
              <a:t>Business partner implementation</a:t>
            </a:r>
          </a:p>
        </p:txBody>
      </p:sp>
      <p:sp>
        <p:nvSpPr>
          <p:cNvPr id="10" name="Rectangle 8">
            <a:extLst>
              <a:ext uri="{FF2B5EF4-FFF2-40B4-BE49-F238E27FC236}">
                <a16:creationId xmlns:a16="http://schemas.microsoft.com/office/drawing/2014/main" id="{7242F453-F146-1C43-A68A-E0C0665EAB7C}"/>
              </a:ext>
            </a:extLst>
          </p:cNvPr>
          <p:cNvSpPr/>
          <p:nvPr/>
        </p:nvSpPr>
        <p:spPr>
          <a:xfrm>
            <a:off x="6413675" y="2773275"/>
            <a:ext cx="2280558" cy="564156"/>
          </a:xfrm>
          <a:prstGeom prst="rect">
            <a:avLst/>
          </a:prstGeom>
          <a:no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914309"/>
            <a:r>
              <a:rPr lang="en-US" sz="1400" b="1" dirty="0">
                <a:solidFill>
                  <a:schemeClr val="bg2">
                    <a:lumMod val="25000"/>
                  </a:schemeClr>
                </a:solidFill>
                <a:latin typeface="Univers"/>
              </a:rPr>
              <a:t>BROWNFIELD </a:t>
            </a:r>
          </a:p>
          <a:p>
            <a:pPr algn="ctr" defTabSz="914309"/>
            <a:r>
              <a:rPr lang="en-US" sz="1400" b="1" dirty="0">
                <a:solidFill>
                  <a:schemeClr val="bg2">
                    <a:lumMod val="25000"/>
                  </a:schemeClr>
                </a:solidFill>
                <a:latin typeface="Univers"/>
              </a:rPr>
              <a:t>upgrade</a:t>
            </a:r>
          </a:p>
        </p:txBody>
      </p:sp>
      <p:sp>
        <p:nvSpPr>
          <p:cNvPr id="11" name="Rectangle 9">
            <a:extLst>
              <a:ext uri="{FF2B5EF4-FFF2-40B4-BE49-F238E27FC236}">
                <a16:creationId xmlns:a16="http://schemas.microsoft.com/office/drawing/2014/main" id="{DC5259DC-E57B-3C45-A653-7A2C297A9117}"/>
              </a:ext>
            </a:extLst>
          </p:cNvPr>
          <p:cNvSpPr/>
          <p:nvPr/>
        </p:nvSpPr>
        <p:spPr>
          <a:xfrm>
            <a:off x="8757981" y="2773275"/>
            <a:ext cx="1652827" cy="564155"/>
          </a:xfrm>
          <a:prstGeom prst="rect">
            <a:avLst/>
          </a:prstGeom>
          <a:no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914309"/>
            <a:r>
              <a:rPr lang="en-US" sz="1400" b="1" dirty="0">
                <a:solidFill>
                  <a:schemeClr val="bg2">
                    <a:lumMod val="25000"/>
                  </a:schemeClr>
                </a:solidFill>
                <a:latin typeface="Univers"/>
              </a:rPr>
              <a:t>Condition record migration</a:t>
            </a:r>
          </a:p>
        </p:txBody>
      </p:sp>
      <p:sp>
        <p:nvSpPr>
          <p:cNvPr id="12" name="Rectangle 10">
            <a:extLst>
              <a:ext uri="{FF2B5EF4-FFF2-40B4-BE49-F238E27FC236}">
                <a16:creationId xmlns:a16="http://schemas.microsoft.com/office/drawing/2014/main" id="{8DC3AD2E-9C4D-4A45-B5D2-5D284E69CB63}"/>
              </a:ext>
            </a:extLst>
          </p:cNvPr>
          <p:cNvSpPr/>
          <p:nvPr/>
        </p:nvSpPr>
        <p:spPr>
          <a:xfrm>
            <a:off x="10452216" y="2773274"/>
            <a:ext cx="1331797" cy="564155"/>
          </a:xfrm>
          <a:prstGeom prst="rect">
            <a:avLst/>
          </a:prstGeom>
          <a:no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914309"/>
            <a:r>
              <a:rPr lang="en-US" sz="1400" b="1" dirty="0">
                <a:solidFill>
                  <a:schemeClr val="bg2">
                    <a:lumMod val="25000"/>
                  </a:schemeClr>
                </a:solidFill>
                <a:latin typeface="Univers"/>
              </a:rPr>
              <a:t>Cloud migration</a:t>
            </a:r>
          </a:p>
        </p:txBody>
      </p:sp>
      <p:sp>
        <p:nvSpPr>
          <p:cNvPr id="13" name="Rectangle 21">
            <a:extLst>
              <a:ext uri="{FF2B5EF4-FFF2-40B4-BE49-F238E27FC236}">
                <a16:creationId xmlns:a16="http://schemas.microsoft.com/office/drawing/2014/main" id="{4C1EC295-7F12-7E43-BDDC-7F8BC1ABEE1E}"/>
              </a:ext>
            </a:extLst>
          </p:cNvPr>
          <p:cNvSpPr/>
          <p:nvPr/>
        </p:nvSpPr>
        <p:spPr>
          <a:xfrm>
            <a:off x="1885706" y="2773280"/>
            <a:ext cx="1440309" cy="564157"/>
          </a:xfrm>
          <a:prstGeom prst="rect">
            <a:avLst/>
          </a:prstGeom>
          <a:no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914309"/>
            <a:r>
              <a:rPr lang="en-US" sz="1400" b="1" dirty="0">
                <a:solidFill>
                  <a:schemeClr val="bg2">
                    <a:lumMod val="25000"/>
                  </a:schemeClr>
                </a:solidFill>
                <a:latin typeface="Univers"/>
              </a:rPr>
              <a:t>Legal entity rationalization</a:t>
            </a:r>
          </a:p>
        </p:txBody>
      </p:sp>
      <p:pic>
        <p:nvPicPr>
          <p:cNvPr id="14" name="Grafik 13">
            <a:extLst>
              <a:ext uri="{FF2B5EF4-FFF2-40B4-BE49-F238E27FC236}">
                <a16:creationId xmlns:a16="http://schemas.microsoft.com/office/drawing/2014/main" id="{24169D6A-2092-A54A-81E3-3447C26A4DBC}"/>
              </a:ext>
            </a:extLst>
          </p:cNvPr>
          <p:cNvPicPr>
            <a:picLocks noChangeAspect="1"/>
          </p:cNvPicPr>
          <p:nvPr/>
        </p:nvPicPr>
        <p:blipFill rotWithShape="1">
          <a:blip r:embed="rId2">
            <a:alphaModFix amt="20000"/>
          </a:blip>
          <a:srcRect l="34509" t="24738" r="34508" b="34509"/>
          <a:stretch/>
        </p:blipFill>
        <p:spPr>
          <a:xfrm>
            <a:off x="896147" y="2065411"/>
            <a:ext cx="487538" cy="707863"/>
          </a:xfrm>
          <a:prstGeom prst="rect">
            <a:avLst/>
          </a:prstGeom>
        </p:spPr>
      </p:pic>
      <p:sp>
        <p:nvSpPr>
          <p:cNvPr id="15" name="Rectangle 5">
            <a:extLst>
              <a:ext uri="{FF2B5EF4-FFF2-40B4-BE49-F238E27FC236}">
                <a16:creationId xmlns:a16="http://schemas.microsoft.com/office/drawing/2014/main" id="{A0819977-A75E-6147-A0A3-6B10F1096EBA}"/>
              </a:ext>
            </a:extLst>
          </p:cNvPr>
          <p:cNvSpPr/>
          <p:nvPr/>
        </p:nvSpPr>
        <p:spPr>
          <a:xfrm>
            <a:off x="832398" y="2235494"/>
            <a:ext cx="615036" cy="342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r>
              <a:rPr lang="en-US" sz="1400" b="1" dirty="0">
                <a:solidFill>
                  <a:schemeClr val="bg2">
                    <a:lumMod val="25000"/>
                  </a:schemeClr>
                </a:solidFill>
                <a:latin typeface="Univers"/>
              </a:rPr>
              <a:t>Test</a:t>
            </a:r>
          </a:p>
        </p:txBody>
      </p:sp>
      <p:pic>
        <p:nvPicPr>
          <p:cNvPr id="16" name="Grafik 15">
            <a:extLst>
              <a:ext uri="{FF2B5EF4-FFF2-40B4-BE49-F238E27FC236}">
                <a16:creationId xmlns:a16="http://schemas.microsoft.com/office/drawing/2014/main" id="{0C12431B-EB60-3F41-8FC3-AEF0A7DBD7F0}"/>
              </a:ext>
            </a:extLst>
          </p:cNvPr>
          <p:cNvPicPr>
            <a:picLocks noChangeAspect="1"/>
          </p:cNvPicPr>
          <p:nvPr/>
        </p:nvPicPr>
        <p:blipFill rotWithShape="1">
          <a:blip r:embed="rId2">
            <a:alphaModFix amt="20000"/>
          </a:blip>
          <a:srcRect l="34509" t="24738" r="34508" b="34509"/>
          <a:stretch/>
        </p:blipFill>
        <p:spPr>
          <a:xfrm>
            <a:off x="2376990" y="2065411"/>
            <a:ext cx="487538" cy="707863"/>
          </a:xfrm>
          <a:prstGeom prst="rect">
            <a:avLst/>
          </a:prstGeom>
        </p:spPr>
      </p:pic>
      <p:sp>
        <p:nvSpPr>
          <p:cNvPr id="17" name="Rectangle 5">
            <a:extLst>
              <a:ext uri="{FF2B5EF4-FFF2-40B4-BE49-F238E27FC236}">
                <a16:creationId xmlns:a16="http://schemas.microsoft.com/office/drawing/2014/main" id="{D8E8CE4D-03A2-0042-833F-8ED6F2A209B6}"/>
              </a:ext>
            </a:extLst>
          </p:cNvPr>
          <p:cNvSpPr/>
          <p:nvPr/>
        </p:nvSpPr>
        <p:spPr>
          <a:xfrm>
            <a:off x="2313241" y="2235494"/>
            <a:ext cx="615036" cy="342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r>
              <a:rPr lang="en-US" sz="1400" b="1" dirty="0">
                <a:solidFill>
                  <a:schemeClr val="bg2">
                    <a:lumMod val="25000"/>
                  </a:schemeClr>
                </a:solidFill>
                <a:latin typeface="Univers"/>
              </a:rPr>
              <a:t>Test</a:t>
            </a:r>
          </a:p>
        </p:txBody>
      </p:sp>
      <p:pic>
        <p:nvPicPr>
          <p:cNvPr id="18" name="Grafik 17">
            <a:extLst>
              <a:ext uri="{FF2B5EF4-FFF2-40B4-BE49-F238E27FC236}">
                <a16:creationId xmlns:a16="http://schemas.microsoft.com/office/drawing/2014/main" id="{748B92B6-3CFB-6C4A-A138-0336DBD7410C}"/>
              </a:ext>
            </a:extLst>
          </p:cNvPr>
          <p:cNvPicPr>
            <a:picLocks noChangeAspect="1"/>
          </p:cNvPicPr>
          <p:nvPr/>
        </p:nvPicPr>
        <p:blipFill rotWithShape="1">
          <a:blip r:embed="rId2">
            <a:alphaModFix amt="20000"/>
          </a:blip>
          <a:srcRect l="34509" t="24738" r="34508" b="34509"/>
          <a:stretch/>
        </p:blipFill>
        <p:spPr>
          <a:xfrm>
            <a:off x="3793096" y="2065411"/>
            <a:ext cx="487538" cy="707863"/>
          </a:xfrm>
          <a:prstGeom prst="rect">
            <a:avLst/>
          </a:prstGeom>
        </p:spPr>
      </p:pic>
      <p:sp>
        <p:nvSpPr>
          <p:cNvPr id="19" name="Rectangle 5">
            <a:extLst>
              <a:ext uri="{FF2B5EF4-FFF2-40B4-BE49-F238E27FC236}">
                <a16:creationId xmlns:a16="http://schemas.microsoft.com/office/drawing/2014/main" id="{8C92D5D5-A7E8-F549-85E0-97E16AECD9AD}"/>
              </a:ext>
            </a:extLst>
          </p:cNvPr>
          <p:cNvSpPr/>
          <p:nvPr/>
        </p:nvSpPr>
        <p:spPr>
          <a:xfrm>
            <a:off x="3729347" y="2235494"/>
            <a:ext cx="615036" cy="342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r>
              <a:rPr lang="en-US" sz="1400" b="1" dirty="0">
                <a:solidFill>
                  <a:schemeClr val="bg2">
                    <a:lumMod val="25000"/>
                  </a:schemeClr>
                </a:solidFill>
                <a:latin typeface="Univers"/>
              </a:rPr>
              <a:t>Test</a:t>
            </a:r>
          </a:p>
        </p:txBody>
      </p:sp>
      <p:pic>
        <p:nvPicPr>
          <p:cNvPr id="20" name="Grafik 19">
            <a:extLst>
              <a:ext uri="{FF2B5EF4-FFF2-40B4-BE49-F238E27FC236}">
                <a16:creationId xmlns:a16="http://schemas.microsoft.com/office/drawing/2014/main" id="{F67CEA91-45D0-314C-B9E0-50CD7B99E0D0}"/>
              </a:ext>
            </a:extLst>
          </p:cNvPr>
          <p:cNvPicPr>
            <a:picLocks noChangeAspect="1"/>
          </p:cNvPicPr>
          <p:nvPr/>
        </p:nvPicPr>
        <p:blipFill rotWithShape="1">
          <a:blip r:embed="rId2">
            <a:alphaModFix amt="20000"/>
          </a:blip>
          <a:srcRect l="34509" t="24738" r="34508" b="34509"/>
          <a:stretch/>
        </p:blipFill>
        <p:spPr>
          <a:xfrm>
            <a:off x="5282031" y="2065411"/>
            <a:ext cx="487538" cy="707863"/>
          </a:xfrm>
          <a:prstGeom prst="rect">
            <a:avLst/>
          </a:prstGeom>
        </p:spPr>
      </p:pic>
      <p:sp>
        <p:nvSpPr>
          <p:cNvPr id="21" name="Rectangle 5">
            <a:extLst>
              <a:ext uri="{FF2B5EF4-FFF2-40B4-BE49-F238E27FC236}">
                <a16:creationId xmlns:a16="http://schemas.microsoft.com/office/drawing/2014/main" id="{FC33660C-2CA1-4441-87BF-F31A08B83FBF}"/>
              </a:ext>
            </a:extLst>
          </p:cNvPr>
          <p:cNvSpPr/>
          <p:nvPr/>
        </p:nvSpPr>
        <p:spPr>
          <a:xfrm>
            <a:off x="5218282" y="2235494"/>
            <a:ext cx="615036" cy="342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r>
              <a:rPr lang="en-US" sz="1400" b="1" dirty="0">
                <a:solidFill>
                  <a:schemeClr val="bg2">
                    <a:lumMod val="25000"/>
                  </a:schemeClr>
                </a:solidFill>
                <a:latin typeface="Univers"/>
              </a:rPr>
              <a:t>Test</a:t>
            </a:r>
          </a:p>
        </p:txBody>
      </p:sp>
      <p:pic>
        <p:nvPicPr>
          <p:cNvPr id="22" name="Grafik 21">
            <a:extLst>
              <a:ext uri="{FF2B5EF4-FFF2-40B4-BE49-F238E27FC236}">
                <a16:creationId xmlns:a16="http://schemas.microsoft.com/office/drawing/2014/main" id="{86184F62-8934-C44C-8497-EC36211B472C}"/>
              </a:ext>
            </a:extLst>
          </p:cNvPr>
          <p:cNvPicPr>
            <a:picLocks noChangeAspect="1"/>
          </p:cNvPicPr>
          <p:nvPr/>
        </p:nvPicPr>
        <p:blipFill rotWithShape="1">
          <a:blip r:embed="rId2">
            <a:alphaModFix amt="19000"/>
          </a:blip>
          <a:srcRect l="34509" t="24738" r="34508" b="34509"/>
          <a:stretch/>
        </p:blipFill>
        <p:spPr>
          <a:xfrm>
            <a:off x="7224119" y="2065411"/>
            <a:ext cx="487538" cy="707863"/>
          </a:xfrm>
          <a:prstGeom prst="rect">
            <a:avLst/>
          </a:prstGeom>
        </p:spPr>
      </p:pic>
      <p:sp>
        <p:nvSpPr>
          <p:cNvPr id="23" name="Rectangle 5">
            <a:extLst>
              <a:ext uri="{FF2B5EF4-FFF2-40B4-BE49-F238E27FC236}">
                <a16:creationId xmlns:a16="http://schemas.microsoft.com/office/drawing/2014/main" id="{8D94F62A-458A-2B4F-8506-F6DDAE47A66A}"/>
              </a:ext>
            </a:extLst>
          </p:cNvPr>
          <p:cNvSpPr/>
          <p:nvPr/>
        </p:nvSpPr>
        <p:spPr>
          <a:xfrm>
            <a:off x="7160370" y="2235494"/>
            <a:ext cx="615036" cy="342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r>
              <a:rPr lang="en-US" sz="1400" b="1" dirty="0">
                <a:solidFill>
                  <a:schemeClr val="bg2">
                    <a:lumMod val="25000"/>
                  </a:schemeClr>
                </a:solidFill>
                <a:latin typeface="Univers"/>
              </a:rPr>
              <a:t>Test</a:t>
            </a:r>
          </a:p>
        </p:txBody>
      </p:sp>
      <p:pic>
        <p:nvPicPr>
          <p:cNvPr id="24" name="Grafik 23">
            <a:extLst>
              <a:ext uri="{FF2B5EF4-FFF2-40B4-BE49-F238E27FC236}">
                <a16:creationId xmlns:a16="http://schemas.microsoft.com/office/drawing/2014/main" id="{1ACA6E34-08FC-D245-ACF1-FB0DD093DAEB}"/>
              </a:ext>
            </a:extLst>
          </p:cNvPr>
          <p:cNvPicPr>
            <a:picLocks noChangeAspect="1"/>
          </p:cNvPicPr>
          <p:nvPr/>
        </p:nvPicPr>
        <p:blipFill rotWithShape="1">
          <a:blip r:embed="rId2">
            <a:alphaModFix amt="20000"/>
          </a:blip>
          <a:srcRect l="34509" t="24738" r="34508" b="34509"/>
          <a:stretch/>
        </p:blipFill>
        <p:spPr>
          <a:xfrm>
            <a:off x="9279496" y="2065411"/>
            <a:ext cx="487538" cy="707863"/>
          </a:xfrm>
          <a:prstGeom prst="rect">
            <a:avLst/>
          </a:prstGeom>
        </p:spPr>
      </p:pic>
      <p:sp>
        <p:nvSpPr>
          <p:cNvPr id="25" name="Rectangle 5">
            <a:extLst>
              <a:ext uri="{FF2B5EF4-FFF2-40B4-BE49-F238E27FC236}">
                <a16:creationId xmlns:a16="http://schemas.microsoft.com/office/drawing/2014/main" id="{5DA2E510-9080-AA4B-AB4D-81F4CD230316}"/>
              </a:ext>
            </a:extLst>
          </p:cNvPr>
          <p:cNvSpPr/>
          <p:nvPr/>
        </p:nvSpPr>
        <p:spPr>
          <a:xfrm>
            <a:off x="9215747" y="2235494"/>
            <a:ext cx="615036" cy="342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r>
              <a:rPr lang="en-US" sz="1400" b="1" dirty="0">
                <a:solidFill>
                  <a:schemeClr val="bg2">
                    <a:lumMod val="25000"/>
                  </a:schemeClr>
                </a:solidFill>
                <a:latin typeface="Univers"/>
              </a:rPr>
              <a:t>Test</a:t>
            </a:r>
          </a:p>
        </p:txBody>
      </p:sp>
      <p:pic>
        <p:nvPicPr>
          <p:cNvPr id="26" name="Grafik 25">
            <a:extLst>
              <a:ext uri="{FF2B5EF4-FFF2-40B4-BE49-F238E27FC236}">
                <a16:creationId xmlns:a16="http://schemas.microsoft.com/office/drawing/2014/main" id="{56551CA7-7A30-6648-AE52-9037609A1186}"/>
              </a:ext>
            </a:extLst>
          </p:cNvPr>
          <p:cNvPicPr>
            <a:picLocks noChangeAspect="1"/>
          </p:cNvPicPr>
          <p:nvPr/>
        </p:nvPicPr>
        <p:blipFill rotWithShape="1">
          <a:blip r:embed="rId2">
            <a:alphaModFix amt="20000"/>
          </a:blip>
          <a:srcRect l="34509" t="24738" r="34508" b="34509"/>
          <a:stretch/>
        </p:blipFill>
        <p:spPr>
          <a:xfrm>
            <a:off x="10857443" y="2065411"/>
            <a:ext cx="487538" cy="707863"/>
          </a:xfrm>
          <a:prstGeom prst="rect">
            <a:avLst/>
          </a:prstGeom>
        </p:spPr>
      </p:pic>
      <p:sp>
        <p:nvSpPr>
          <p:cNvPr id="27" name="Rectangle 5">
            <a:extLst>
              <a:ext uri="{FF2B5EF4-FFF2-40B4-BE49-F238E27FC236}">
                <a16:creationId xmlns:a16="http://schemas.microsoft.com/office/drawing/2014/main" id="{07ED984F-6357-8C46-9C1D-257348CB7406}"/>
              </a:ext>
            </a:extLst>
          </p:cNvPr>
          <p:cNvSpPr/>
          <p:nvPr/>
        </p:nvSpPr>
        <p:spPr>
          <a:xfrm>
            <a:off x="10793694" y="2235494"/>
            <a:ext cx="615036" cy="3422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r>
              <a:rPr lang="en-US" sz="1400" b="1" dirty="0">
                <a:solidFill>
                  <a:schemeClr val="bg2">
                    <a:lumMod val="25000"/>
                  </a:schemeClr>
                </a:solidFill>
                <a:latin typeface="Univers"/>
              </a:rPr>
              <a:t>Test</a:t>
            </a:r>
          </a:p>
        </p:txBody>
      </p:sp>
      <p:sp>
        <p:nvSpPr>
          <p:cNvPr id="28" name="TextBox 23">
            <a:extLst>
              <a:ext uri="{FF2B5EF4-FFF2-40B4-BE49-F238E27FC236}">
                <a16:creationId xmlns:a16="http://schemas.microsoft.com/office/drawing/2014/main" id="{9AD5FAFD-659F-DD49-BC32-7F5EE50C89F5}"/>
              </a:ext>
            </a:extLst>
          </p:cNvPr>
          <p:cNvSpPr txBox="1"/>
          <p:nvPr/>
        </p:nvSpPr>
        <p:spPr>
          <a:xfrm>
            <a:off x="1431749" y="2101304"/>
            <a:ext cx="808121" cy="519045"/>
          </a:xfrm>
          <a:prstGeom prst="rect">
            <a:avLst/>
          </a:prstGeom>
          <a:noFill/>
        </p:spPr>
        <p:txBody>
          <a:bodyPr wrap="square" lIns="0" tIns="0" rIns="0" bIns="0" rtlCol="0" anchor="ctr" anchorCtr="0">
            <a:noAutofit/>
          </a:bodyPr>
          <a:lstStyle/>
          <a:p>
            <a:pPr algn="ctr" defTabSz="914309"/>
            <a:r>
              <a:rPr lang="en-US" sz="1400" b="1" dirty="0">
                <a:solidFill>
                  <a:srgbClr val="FF0000"/>
                </a:solidFill>
                <a:latin typeface="Univers"/>
              </a:rPr>
              <a:t>GO-</a:t>
            </a:r>
          </a:p>
          <a:p>
            <a:pPr algn="ctr" defTabSz="914309"/>
            <a:r>
              <a:rPr lang="en-US" sz="1400" b="1" dirty="0">
                <a:solidFill>
                  <a:srgbClr val="FF0000"/>
                </a:solidFill>
                <a:latin typeface="Univers"/>
              </a:rPr>
              <a:t>LIVE 1</a:t>
            </a:r>
          </a:p>
        </p:txBody>
      </p:sp>
      <p:sp>
        <p:nvSpPr>
          <p:cNvPr id="29" name="TextBox 23">
            <a:extLst>
              <a:ext uri="{FF2B5EF4-FFF2-40B4-BE49-F238E27FC236}">
                <a16:creationId xmlns:a16="http://schemas.microsoft.com/office/drawing/2014/main" id="{E53B5914-50DC-0E45-A71C-E5BCDE4911AF}"/>
              </a:ext>
            </a:extLst>
          </p:cNvPr>
          <p:cNvSpPr txBox="1"/>
          <p:nvPr/>
        </p:nvSpPr>
        <p:spPr>
          <a:xfrm>
            <a:off x="2922401" y="2101304"/>
            <a:ext cx="808121" cy="519045"/>
          </a:xfrm>
          <a:prstGeom prst="rect">
            <a:avLst/>
          </a:prstGeom>
          <a:noFill/>
        </p:spPr>
        <p:txBody>
          <a:bodyPr wrap="square" lIns="0" tIns="0" rIns="0" bIns="0" rtlCol="0" anchor="ctr" anchorCtr="0">
            <a:noAutofit/>
          </a:bodyPr>
          <a:lstStyle/>
          <a:p>
            <a:pPr algn="ctr" defTabSz="914309"/>
            <a:r>
              <a:rPr lang="en-US" sz="1400" b="1" dirty="0">
                <a:solidFill>
                  <a:srgbClr val="FF0000"/>
                </a:solidFill>
                <a:latin typeface="Univers"/>
              </a:rPr>
              <a:t>GO-</a:t>
            </a:r>
          </a:p>
          <a:p>
            <a:pPr algn="ctr" defTabSz="914309"/>
            <a:r>
              <a:rPr lang="en-US" sz="1400" b="1" dirty="0">
                <a:solidFill>
                  <a:srgbClr val="FF0000"/>
                </a:solidFill>
                <a:latin typeface="Univers"/>
              </a:rPr>
              <a:t>LIVE 2</a:t>
            </a:r>
          </a:p>
        </p:txBody>
      </p:sp>
      <p:sp>
        <p:nvSpPr>
          <p:cNvPr id="30" name="TextBox 23">
            <a:extLst>
              <a:ext uri="{FF2B5EF4-FFF2-40B4-BE49-F238E27FC236}">
                <a16:creationId xmlns:a16="http://schemas.microsoft.com/office/drawing/2014/main" id="{AC6642C5-393A-4E4C-B93D-4F1903817783}"/>
              </a:ext>
            </a:extLst>
          </p:cNvPr>
          <p:cNvSpPr txBox="1"/>
          <p:nvPr/>
        </p:nvSpPr>
        <p:spPr>
          <a:xfrm>
            <a:off x="4299951" y="2101304"/>
            <a:ext cx="808121" cy="519045"/>
          </a:xfrm>
          <a:prstGeom prst="rect">
            <a:avLst/>
          </a:prstGeom>
          <a:noFill/>
        </p:spPr>
        <p:txBody>
          <a:bodyPr wrap="square" lIns="0" tIns="0" rIns="0" bIns="0" rtlCol="0" anchor="ctr" anchorCtr="0">
            <a:noAutofit/>
          </a:bodyPr>
          <a:lstStyle/>
          <a:p>
            <a:pPr algn="ctr" defTabSz="914309"/>
            <a:r>
              <a:rPr lang="en-US" sz="1400" b="1" dirty="0">
                <a:solidFill>
                  <a:srgbClr val="FF0000"/>
                </a:solidFill>
                <a:latin typeface="Univers"/>
              </a:rPr>
              <a:t>GO-</a:t>
            </a:r>
          </a:p>
          <a:p>
            <a:pPr algn="ctr" defTabSz="914309"/>
            <a:r>
              <a:rPr lang="en-US" sz="1400" b="1" dirty="0">
                <a:solidFill>
                  <a:srgbClr val="FF0000"/>
                </a:solidFill>
                <a:latin typeface="Univers"/>
              </a:rPr>
              <a:t>LIVE 3</a:t>
            </a:r>
          </a:p>
        </p:txBody>
      </p:sp>
      <p:cxnSp>
        <p:nvCxnSpPr>
          <p:cNvPr id="31" name="Gerade Verbindung 30">
            <a:extLst>
              <a:ext uri="{FF2B5EF4-FFF2-40B4-BE49-F238E27FC236}">
                <a16:creationId xmlns:a16="http://schemas.microsoft.com/office/drawing/2014/main" id="{8FCA3099-A7E5-FE40-B861-4A07EC05F651}"/>
              </a:ext>
            </a:extLst>
          </p:cNvPr>
          <p:cNvCxnSpPr>
            <a:cxnSpLocks/>
          </p:cNvCxnSpPr>
          <p:nvPr/>
        </p:nvCxnSpPr>
        <p:spPr>
          <a:xfrm flipH="1" flipV="1">
            <a:off x="4698643" y="2587786"/>
            <a:ext cx="1" cy="12932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32" name="TextBox 23">
            <a:extLst>
              <a:ext uri="{FF2B5EF4-FFF2-40B4-BE49-F238E27FC236}">
                <a16:creationId xmlns:a16="http://schemas.microsoft.com/office/drawing/2014/main" id="{82951FB8-0DD0-2145-80EB-E16B697CA3CC}"/>
              </a:ext>
            </a:extLst>
          </p:cNvPr>
          <p:cNvSpPr txBox="1"/>
          <p:nvPr/>
        </p:nvSpPr>
        <p:spPr>
          <a:xfrm>
            <a:off x="5955808" y="2101304"/>
            <a:ext cx="808121" cy="519045"/>
          </a:xfrm>
          <a:prstGeom prst="rect">
            <a:avLst/>
          </a:prstGeom>
          <a:noFill/>
        </p:spPr>
        <p:txBody>
          <a:bodyPr wrap="square" lIns="0" tIns="0" rIns="0" bIns="0" rtlCol="0" anchor="ctr" anchorCtr="0">
            <a:noAutofit/>
          </a:bodyPr>
          <a:lstStyle/>
          <a:p>
            <a:pPr algn="ctr" defTabSz="914309"/>
            <a:r>
              <a:rPr lang="en-US" sz="1400" b="1" dirty="0">
                <a:solidFill>
                  <a:srgbClr val="FF0000"/>
                </a:solidFill>
                <a:latin typeface="Univers"/>
              </a:rPr>
              <a:t>GO-</a:t>
            </a:r>
          </a:p>
          <a:p>
            <a:pPr algn="ctr" defTabSz="914309"/>
            <a:r>
              <a:rPr lang="en-US" sz="1400" b="1" dirty="0">
                <a:solidFill>
                  <a:srgbClr val="FF0000"/>
                </a:solidFill>
                <a:latin typeface="Univers"/>
              </a:rPr>
              <a:t>LIVE 4</a:t>
            </a:r>
          </a:p>
        </p:txBody>
      </p:sp>
      <p:cxnSp>
        <p:nvCxnSpPr>
          <p:cNvPr id="33" name="Gerade Verbindung 32">
            <a:extLst>
              <a:ext uri="{FF2B5EF4-FFF2-40B4-BE49-F238E27FC236}">
                <a16:creationId xmlns:a16="http://schemas.microsoft.com/office/drawing/2014/main" id="{D22D39D9-0E5A-5D4F-99A6-8BADD8B34331}"/>
              </a:ext>
            </a:extLst>
          </p:cNvPr>
          <p:cNvCxnSpPr>
            <a:cxnSpLocks/>
          </p:cNvCxnSpPr>
          <p:nvPr/>
        </p:nvCxnSpPr>
        <p:spPr>
          <a:xfrm flipH="1" flipV="1">
            <a:off x="6354500" y="2587786"/>
            <a:ext cx="1" cy="12932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34" name="TextBox 23">
            <a:extLst>
              <a:ext uri="{FF2B5EF4-FFF2-40B4-BE49-F238E27FC236}">
                <a16:creationId xmlns:a16="http://schemas.microsoft.com/office/drawing/2014/main" id="{6B3FD808-75E9-2942-962B-926B7288B189}"/>
              </a:ext>
            </a:extLst>
          </p:cNvPr>
          <p:cNvSpPr txBox="1"/>
          <p:nvPr/>
        </p:nvSpPr>
        <p:spPr>
          <a:xfrm>
            <a:off x="8299913" y="2101304"/>
            <a:ext cx="808121" cy="519045"/>
          </a:xfrm>
          <a:prstGeom prst="rect">
            <a:avLst/>
          </a:prstGeom>
          <a:noFill/>
        </p:spPr>
        <p:txBody>
          <a:bodyPr wrap="square" lIns="0" tIns="0" rIns="0" bIns="0" rtlCol="0" anchor="ctr" anchorCtr="0">
            <a:noAutofit/>
          </a:bodyPr>
          <a:lstStyle/>
          <a:p>
            <a:pPr algn="ctr" defTabSz="914309"/>
            <a:r>
              <a:rPr lang="en-US" sz="1400" b="1" dirty="0">
                <a:solidFill>
                  <a:srgbClr val="FF0000"/>
                </a:solidFill>
                <a:latin typeface="Univers"/>
              </a:rPr>
              <a:t>GO-</a:t>
            </a:r>
          </a:p>
          <a:p>
            <a:pPr algn="ctr" defTabSz="914309"/>
            <a:r>
              <a:rPr lang="en-US" sz="1400" b="1" dirty="0">
                <a:solidFill>
                  <a:srgbClr val="FF0000"/>
                </a:solidFill>
                <a:latin typeface="Univers"/>
              </a:rPr>
              <a:t>LIVE 5</a:t>
            </a:r>
          </a:p>
        </p:txBody>
      </p:sp>
      <p:cxnSp>
        <p:nvCxnSpPr>
          <p:cNvPr id="35" name="Gerade Verbindung 34">
            <a:extLst>
              <a:ext uri="{FF2B5EF4-FFF2-40B4-BE49-F238E27FC236}">
                <a16:creationId xmlns:a16="http://schemas.microsoft.com/office/drawing/2014/main" id="{6FFB4572-C014-EC4C-ACA1-967BD1631040}"/>
              </a:ext>
            </a:extLst>
          </p:cNvPr>
          <p:cNvCxnSpPr>
            <a:cxnSpLocks/>
          </p:cNvCxnSpPr>
          <p:nvPr/>
        </p:nvCxnSpPr>
        <p:spPr>
          <a:xfrm flipH="1" flipV="1">
            <a:off x="8698605" y="2587786"/>
            <a:ext cx="1" cy="12932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36" name="TextBox 23">
            <a:extLst>
              <a:ext uri="{FF2B5EF4-FFF2-40B4-BE49-F238E27FC236}">
                <a16:creationId xmlns:a16="http://schemas.microsoft.com/office/drawing/2014/main" id="{B6DAE875-4556-B041-B387-D5371F4D6D2C}"/>
              </a:ext>
            </a:extLst>
          </p:cNvPr>
          <p:cNvSpPr txBox="1"/>
          <p:nvPr/>
        </p:nvSpPr>
        <p:spPr>
          <a:xfrm>
            <a:off x="10005788" y="2101304"/>
            <a:ext cx="808121" cy="519045"/>
          </a:xfrm>
          <a:prstGeom prst="rect">
            <a:avLst/>
          </a:prstGeom>
          <a:noFill/>
        </p:spPr>
        <p:txBody>
          <a:bodyPr wrap="square" lIns="0" tIns="0" rIns="0" bIns="0" rtlCol="0" anchor="ctr" anchorCtr="0">
            <a:noAutofit/>
          </a:bodyPr>
          <a:lstStyle/>
          <a:p>
            <a:pPr algn="ctr" defTabSz="914309"/>
            <a:r>
              <a:rPr lang="en-US" sz="1400" b="1" dirty="0">
                <a:solidFill>
                  <a:srgbClr val="FF0000"/>
                </a:solidFill>
                <a:latin typeface="Univers"/>
              </a:rPr>
              <a:t>GO-</a:t>
            </a:r>
          </a:p>
          <a:p>
            <a:pPr algn="ctr" defTabSz="914309"/>
            <a:r>
              <a:rPr lang="en-US" sz="1400" b="1" dirty="0">
                <a:solidFill>
                  <a:srgbClr val="FF0000"/>
                </a:solidFill>
                <a:latin typeface="Univers"/>
              </a:rPr>
              <a:t>LIVE 6</a:t>
            </a:r>
          </a:p>
        </p:txBody>
      </p:sp>
      <p:cxnSp>
        <p:nvCxnSpPr>
          <p:cNvPr id="37" name="Gerade Verbindung 36">
            <a:extLst>
              <a:ext uri="{FF2B5EF4-FFF2-40B4-BE49-F238E27FC236}">
                <a16:creationId xmlns:a16="http://schemas.microsoft.com/office/drawing/2014/main" id="{3E5011E7-B827-FE4F-A18B-A3CA1C8983F5}"/>
              </a:ext>
            </a:extLst>
          </p:cNvPr>
          <p:cNvCxnSpPr>
            <a:cxnSpLocks/>
          </p:cNvCxnSpPr>
          <p:nvPr/>
        </p:nvCxnSpPr>
        <p:spPr>
          <a:xfrm flipH="1" flipV="1">
            <a:off x="10404480" y="2587786"/>
            <a:ext cx="1" cy="12932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38" name="Dreieck 37">
            <a:extLst>
              <a:ext uri="{FF2B5EF4-FFF2-40B4-BE49-F238E27FC236}">
                <a16:creationId xmlns:a16="http://schemas.microsoft.com/office/drawing/2014/main" id="{48BF2D01-6726-4C4C-8037-6E376D1D1844}"/>
              </a:ext>
            </a:extLst>
          </p:cNvPr>
          <p:cNvSpPr/>
          <p:nvPr/>
        </p:nvSpPr>
        <p:spPr>
          <a:xfrm rot="10800000">
            <a:off x="406399" y="3531638"/>
            <a:ext cx="11377614" cy="1031214"/>
          </a:xfrm>
          <a:prstGeom prst="triangle">
            <a:avLst>
              <a:gd name="adj" fmla="val 50246"/>
            </a:avLst>
          </a:prstGeom>
          <a:noFill/>
          <a:ln w="15875">
            <a:gradFill>
              <a:gsLst>
                <a:gs pos="0">
                  <a:schemeClr val="bg1"/>
                </a:gs>
                <a:gs pos="100000">
                  <a:schemeClr val="bg2">
                    <a:lumMod val="25000"/>
                  </a:schemeClr>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39" name="TextBox 121">
            <a:extLst>
              <a:ext uri="{FF2B5EF4-FFF2-40B4-BE49-F238E27FC236}">
                <a16:creationId xmlns:a16="http://schemas.microsoft.com/office/drawing/2014/main" id="{62A544AB-2E1A-1B44-B270-0FBF88BDB184}"/>
              </a:ext>
            </a:extLst>
          </p:cNvPr>
          <p:cNvSpPr txBox="1"/>
          <p:nvPr/>
        </p:nvSpPr>
        <p:spPr>
          <a:xfrm>
            <a:off x="2991614" y="3465451"/>
            <a:ext cx="6287882" cy="707886"/>
          </a:xfrm>
          <a:prstGeom prst="rect">
            <a:avLst/>
          </a:prstGeom>
          <a:noFill/>
        </p:spPr>
        <p:txBody>
          <a:bodyPr wrap="square" rtlCol="0">
            <a:spAutoFit/>
          </a:bodyPr>
          <a:lstStyle/>
          <a:p>
            <a:pPr lvl="0" algn="ctr" defTabSz="914309">
              <a:defRPr/>
            </a:pPr>
            <a:r>
              <a:rPr lang="en-US" sz="2000" b="1" dirty="0">
                <a:solidFill>
                  <a:srgbClr val="DBDBDB">
                    <a:lumMod val="25000"/>
                  </a:srgbClr>
                </a:solidFill>
              </a:rPr>
              <a:t>Collapse your entire modernization roadmap </a:t>
            </a:r>
            <a:br>
              <a:rPr lang="en-US" sz="2000" b="1" dirty="0">
                <a:solidFill>
                  <a:srgbClr val="DBDBDB">
                    <a:lumMod val="25000"/>
                  </a:srgbClr>
                </a:solidFill>
              </a:rPr>
            </a:br>
            <a:r>
              <a:rPr lang="en-US" sz="2000" b="1" dirty="0">
                <a:solidFill>
                  <a:srgbClr val="DBDBDB">
                    <a:lumMod val="25000"/>
                  </a:srgbClr>
                </a:solidFill>
              </a:rPr>
              <a:t>into a single go-live</a:t>
            </a:r>
          </a:p>
        </p:txBody>
      </p:sp>
      <p:grpSp>
        <p:nvGrpSpPr>
          <p:cNvPr id="40" name="Gruppieren 39">
            <a:extLst>
              <a:ext uri="{FF2B5EF4-FFF2-40B4-BE49-F238E27FC236}">
                <a16:creationId xmlns:a16="http://schemas.microsoft.com/office/drawing/2014/main" id="{6CA59CB8-F0F4-9543-AAB5-D6113E5F3CB5}"/>
              </a:ext>
            </a:extLst>
          </p:cNvPr>
          <p:cNvGrpSpPr/>
          <p:nvPr/>
        </p:nvGrpSpPr>
        <p:grpSpPr>
          <a:xfrm>
            <a:off x="972169" y="4143137"/>
            <a:ext cx="2074716" cy="2056549"/>
            <a:chOff x="1654631" y="4337184"/>
            <a:chExt cx="1700787" cy="1685894"/>
          </a:xfrm>
        </p:grpSpPr>
        <p:sp>
          <p:nvSpPr>
            <p:cNvPr id="41" name="Block Arc 143">
              <a:extLst>
                <a:ext uri="{FF2B5EF4-FFF2-40B4-BE49-F238E27FC236}">
                  <a16:creationId xmlns:a16="http://schemas.microsoft.com/office/drawing/2014/main" id="{4BE5245D-2E73-D14F-B398-9D27A03389C4}"/>
                </a:ext>
              </a:extLst>
            </p:cNvPr>
            <p:cNvSpPr/>
            <p:nvPr/>
          </p:nvSpPr>
          <p:spPr>
            <a:xfrm>
              <a:off x="1654632" y="4337184"/>
              <a:ext cx="1700786" cy="1685894"/>
            </a:xfrm>
            <a:prstGeom prst="blockArc">
              <a:avLst>
                <a:gd name="adj1" fmla="val 16198164"/>
                <a:gd name="adj2" fmla="val 12434999"/>
                <a:gd name="adj3" fmla="val 14495"/>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srgbClr val="6F6F6F"/>
                </a:solidFill>
                <a:latin typeface="Univers"/>
              </a:endParaRPr>
            </a:p>
          </p:txBody>
        </p:sp>
        <p:sp>
          <p:nvSpPr>
            <p:cNvPr id="42" name="Block Arc 146">
              <a:extLst>
                <a:ext uri="{FF2B5EF4-FFF2-40B4-BE49-F238E27FC236}">
                  <a16:creationId xmlns:a16="http://schemas.microsoft.com/office/drawing/2014/main" id="{2B3CC3A6-348B-E048-B75A-E495D345EFEA}"/>
                </a:ext>
              </a:extLst>
            </p:cNvPr>
            <p:cNvSpPr/>
            <p:nvPr/>
          </p:nvSpPr>
          <p:spPr>
            <a:xfrm>
              <a:off x="1654631" y="4337184"/>
              <a:ext cx="1700787" cy="1685894"/>
            </a:xfrm>
            <a:prstGeom prst="blockArc">
              <a:avLst>
                <a:gd name="adj1" fmla="val 12594342"/>
                <a:gd name="adj2" fmla="val 16056352"/>
                <a:gd name="adj3" fmla="val 14482"/>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800" dirty="0">
                <a:solidFill>
                  <a:srgbClr val="6F6F6F"/>
                </a:solidFill>
                <a:latin typeface="Univers"/>
              </a:endParaRPr>
            </a:p>
          </p:txBody>
        </p:sp>
      </p:grpSp>
      <p:pic>
        <p:nvPicPr>
          <p:cNvPr id="43" name="Grafik 42">
            <a:extLst>
              <a:ext uri="{FF2B5EF4-FFF2-40B4-BE49-F238E27FC236}">
                <a16:creationId xmlns:a16="http://schemas.microsoft.com/office/drawing/2014/main" id="{3C76AA15-D26E-B941-BC85-65A60BC07E28}"/>
              </a:ext>
            </a:extLst>
          </p:cNvPr>
          <p:cNvPicPr>
            <a:picLocks noChangeAspect="1"/>
          </p:cNvPicPr>
          <p:nvPr/>
        </p:nvPicPr>
        <p:blipFill>
          <a:blip r:embed="rId3"/>
          <a:stretch>
            <a:fillRect/>
          </a:stretch>
        </p:blipFill>
        <p:spPr>
          <a:xfrm>
            <a:off x="5068524" y="621400"/>
            <a:ext cx="2398946" cy="622546"/>
          </a:xfrm>
          <a:prstGeom prst="rect">
            <a:avLst/>
          </a:prstGeom>
        </p:spPr>
      </p:pic>
      <p:sp>
        <p:nvSpPr>
          <p:cNvPr id="44" name="TextBox 145">
            <a:extLst>
              <a:ext uri="{FF2B5EF4-FFF2-40B4-BE49-F238E27FC236}">
                <a16:creationId xmlns:a16="http://schemas.microsoft.com/office/drawing/2014/main" id="{2A0E2E0B-E05B-C74C-AA0F-385EFCFE172A}"/>
              </a:ext>
            </a:extLst>
          </p:cNvPr>
          <p:cNvSpPr txBox="1"/>
          <p:nvPr/>
        </p:nvSpPr>
        <p:spPr>
          <a:xfrm>
            <a:off x="1124383" y="4589960"/>
            <a:ext cx="1787332" cy="1107996"/>
          </a:xfrm>
          <a:prstGeom prst="rect">
            <a:avLst/>
          </a:prstGeom>
          <a:noFill/>
        </p:spPr>
        <p:txBody>
          <a:bodyPr wrap="square" rtlCol="0">
            <a:spAutoFit/>
          </a:bodyPr>
          <a:lstStyle/>
          <a:p>
            <a:pPr algn="ctr" defTabSz="914309"/>
            <a:r>
              <a:rPr lang="en-US" b="1" dirty="0">
                <a:solidFill>
                  <a:schemeClr val="accent1"/>
                </a:solidFill>
                <a:latin typeface="Univers"/>
              </a:rPr>
              <a:t>80%</a:t>
            </a:r>
          </a:p>
          <a:p>
            <a:pPr algn="ctr" defTabSz="914309"/>
            <a:r>
              <a:rPr lang="en-US" sz="1400" dirty="0">
                <a:solidFill>
                  <a:schemeClr val="bg2">
                    <a:lumMod val="25000"/>
                  </a:schemeClr>
                </a:solidFill>
                <a:latin typeface="Univers"/>
              </a:rPr>
              <a:t>REDUCTION </a:t>
            </a:r>
          </a:p>
          <a:p>
            <a:pPr algn="ctr" defTabSz="914309"/>
            <a:r>
              <a:rPr lang="en-US" sz="1400" dirty="0">
                <a:solidFill>
                  <a:schemeClr val="bg2">
                    <a:lumMod val="25000"/>
                  </a:schemeClr>
                </a:solidFill>
                <a:latin typeface="Univers"/>
              </a:rPr>
              <a:t>IN TIME AND EFFORT</a:t>
            </a:r>
          </a:p>
        </p:txBody>
      </p:sp>
      <p:sp>
        <p:nvSpPr>
          <p:cNvPr id="45" name="TextBox 149">
            <a:extLst>
              <a:ext uri="{FF2B5EF4-FFF2-40B4-BE49-F238E27FC236}">
                <a16:creationId xmlns:a16="http://schemas.microsoft.com/office/drawing/2014/main" id="{AF5002D0-1BE3-794F-A2A9-02C1787B1715}"/>
              </a:ext>
            </a:extLst>
          </p:cNvPr>
          <p:cNvSpPr txBox="1"/>
          <p:nvPr/>
        </p:nvSpPr>
        <p:spPr>
          <a:xfrm>
            <a:off x="9767034" y="4681323"/>
            <a:ext cx="1512168" cy="800219"/>
          </a:xfrm>
          <a:prstGeom prst="rect">
            <a:avLst/>
          </a:prstGeom>
          <a:noFill/>
        </p:spPr>
        <p:txBody>
          <a:bodyPr wrap="square" lIns="0" tIns="0" rIns="0" bIns="0" rtlCol="0">
            <a:spAutoFit/>
          </a:bodyPr>
          <a:lstStyle/>
          <a:p>
            <a:pPr defTabSz="914309"/>
            <a:r>
              <a:rPr lang="en-US" b="1" dirty="0">
                <a:solidFill>
                  <a:schemeClr val="tx2"/>
                </a:solidFill>
              </a:rPr>
              <a:t>7</a:t>
            </a:r>
            <a:r>
              <a:rPr lang="en-US" sz="1400" b="1" dirty="0"/>
              <a:t> </a:t>
            </a:r>
            <a:r>
              <a:rPr lang="en-US" sz="1400" dirty="0">
                <a:solidFill>
                  <a:schemeClr val="bg2">
                    <a:lumMod val="25000"/>
                  </a:schemeClr>
                </a:solidFill>
                <a:latin typeface="Univers"/>
              </a:rPr>
              <a:t>TEST CYCLES AND CUTOVERS REDUCED TO 1</a:t>
            </a:r>
          </a:p>
        </p:txBody>
      </p:sp>
      <p:pic>
        <p:nvPicPr>
          <p:cNvPr id="46" name="Grafik 45">
            <a:extLst>
              <a:ext uri="{FF2B5EF4-FFF2-40B4-BE49-F238E27FC236}">
                <a16:creationId xmlns:a16="http://schemas.microsoft.com/office/drawing/2014/main" id="{E662ACE1-E167-A44D-8521-D7F5406186FC}"/>
              </a:ext>
            </a:extLst>
          </p:cNvPr>
          <p:cNvPicPr>
            <a:picLocks noChangeAspect="1"/>
          </p:cNvPicPr>
          <p:nvPr/>
        </p:nvPicPr>
        <p:blipFill>
          <a:blip r:embed="rId4"/>
          <a:stretch>
            <a:fillRect/>
          </a:stretch>
        </p:blipFill>
        <p:spPr>
          <a:xfrm>
            <a:off x="4857672" y="4850261"/>
            <a:ext cx="2475067" cy="642299"/>
          </a:xfrm>
          <a:prstGeom prst="rect">
            <a:avLst/>
          </a:prstGeom>
        </p:spPr>
      </p:pic>
      <p:sp>
        <p:nvSpPr>
          <p:cNvPr id="47" name="Rechteck 46">
            <a:extLst>
              <a:ext uri="{FF2B5EF4-FFF2-40B4-BE49-F238E27FC236}">
                <a16:creationId xmlns:a16="http://schemas.microsoft.com/office/drawing/2014/main" id="{651974F1-F014-5B43-92EF-6E0757552A62}"/>
              </a:ext>
            </a:extLst>
          </p:cNvPr>
          <p:cNvSpPr/>
          <p:nvPr/>
        </p:nvSpPr>
        <p:spPr>
          <a:xfrm>
            <a:off x="8944824" y="4173337"/>
            <a:ext cx="308533" cy="2026349"/>
          </a:xfrm>
          <a:prstGeom prst="rect">
            <a:avLst/>
          </a:prstGeom>
          <a:solidFill>
            <a:schemeClr val="tx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48" name="Rechteck 47">
            <a:extLst>
              <a:ext uri="{FF2B5EF4-FFF2-40B4-BE49-F238E27FC236}">
                <a16:creationId xmlns:a16="http://schemas.microsoft.com/office/drawing/2014/main" id="{D67BE7DE-E35E-764A-99FE-069B6989BF63}"/>
              </a:ext>
            </a:extLst>
          </p:cNvPr>
          <p:cNvSpPr/>
          <p:nvPr/>
        </p:nvSpPr>
        <p:spPr>
          <a:xfrm>
            <a:off x="9368998" y="5911686"/>
            <a:ext cx="326608" cy="28800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cxnSp>
        <p:nvCxnSpPr>
          <p:cNvPr id="49" name="Gerade Verbindung mit Pfeil 48">
            <a:extLst>
              <a:ext uri="{FF2B5EF4-FFF2-40B4-BE49-F238E27FC236}">
                <a16:creationId xmlns:a16="http://schemas.microsoft.com/office/drawing/2014/main" id="{ADC09AA1-6D01-3C41-ADAD-0E884A98F6B9}"/>
              </a:ext>
            </a:extLst>
          </p:cNvPr>
          <p:cNvCxnSpPr>
            <a:cxnSpLocks/>
          </p:cNvCxnSpPr>
          <p:nvPr/>
        </p:nvCxnSpPr>
        <p:spPr>
          <a:xfrm>
            <a:off x="9532302" y="4173337"/>
            <a:ext cx="0" cy="1703935"/>
          </a:xfrm>
          <a:prstGeom prst="straightConnector1">
            <a:avLst/>
          </a:prstGeom>
          <a:ln w="12700">
            <a:gradFill>
              <a:gsLst>
                <a:gs pos="0">
                  <a:schemeClr val="bg1"/>
                </a:gs>
                <a:gs pos="100000">
                  <a:schemeClr val="bg2">
                    <a:lumMod val="25000"/>
                  </a:schemeClr>
                </a:gs>
              </a:gsLst>
              <a:lin ang="5400000" scaled="1"/>
            </a:gradFill>
            <a:tailEnd type="arrow"/>
          </a:ln>
        </p:spPr>
        <p:style>
          <a:lnRef idx="1">
            <a:schemeClr val="accent1"/>
          </a:lnRef>
          <a:fillRef idx="0">
            <a:schemeClr val="accent1"/>
          </a:fillRef>
          <a:effectRef idx="0">
            <a:schemeClr val="accent1"/>
          </a:effectRef>
          <a:fontRef idx="minor">
            <a:schemeClr val="tx1"/>
          </a:fontRef>
        </p:style>
      </p:cxnSp>
      <p:cxnSp>
        <p:nvCxnSpPr>
          <p:cNvPr id="50" name="Gerade Verbindung 49">
            <a:extLst>
              <a:ext uri="{FF2B5EF4-FFF2-40B4-BE49-F238E27FC236}">
                <a16:creationId xmlns:a16="http://schemas.microsoft.com/office/drawing/2014/main" id="{60773BCD-A2DB-764B-89EC-458E60DA4D89}"/>
              </a:ext>
            </a:extLst>
          </p:cNvPr>
          <p:cNvCxnSpPr>
            <a:cxnSpLocks/>
          </p:cNvCxnSpPr>
          <p:nvPr/>
        </p:nvCxnSpPr>
        <p:spPr>
          <a:xfrm flipH="1" flipV="1">
            <a:off x="1825980" y="2587786"/>
            <a:ext cx="1" cy="12932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Gerade Verbindung 50">
            <a:extLst>
              <a:ext uri="{FF2B5EF4-FFF2-40B4-BE49-F238E27FC236}">
                <a16:creationId xmlns:a16="http://schemas.microsoft.com/office/drawing/2014/main" id="{5D44BD54-E9AC-2E4F-97B9-5678D0236D84}"/>
              </a:ext>
            </a:extLst>
          </p:cNvPr>
          <p:cNvCxnSpPr>
            <a:cxnSpLocks/>
          </p:cNvCxnSpPr>
          <p:nvPr/>
        </p:nvCxnSpPr>
        <p:spPr>
          <a:xfrm flipH="1" flipV="1">
            <a:off x="3331804" y="2587786"/>
            <a:ext cx="1" cy="12932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52" name="TextBox 23">
            <a:extLst>
              <a:ext uri="{FF2B5EF4-FFF2-40B4-BE49-F238E27FC236}">
                <a16:creationId xmlns:a16="http://schemas.microsoft.com/office/drawing/2014/main" id="{E32EB840-EA73-8249-BEE4-EBD3684A4128}"/>
              </a:ext>
            </a:extLst>
          </p:cNvPr>
          <p:cNvSpPr txBox="1"/>
          <p:nvPr/>
        </p:nvSpPr>
        <p:spPr>
          <a:xfrm>
            <a:off x="11386719" y="2101304"/>
            <a:ext cx="808121" cy="519045"/>
          </a:xfrm>
          <a:prstGeom prst="rect">
            <a:avLst/>
          </a:prstGeom>
          <a:noFill/>
        </p:spPr>
        <p:txBody>
          <a:bodyPr wrap="square" lIns="0" tIns="0" rIns="0" bIns="0" rtlCol="0" anchor="ctr" anchorCtr="0">
            <a:noAutofit/>
          </a:bodyPr>
          <a:lstStyle/>
          <a:p>
            <a:pPr algn="ctr" defTabSz="914309"/>
            <a:r>
              <a:rPr lang="en-US" sz="1400" b="1" dirty="0">
                <a:solidFill>
                  <a:srgbClr val="FF0000"/>
                </a:solidFill>
                <a:latin typeface="Univers"/>
              </a:rPr>
              <a:t>GO-</a:t>
            </a:r>
          </a:p>
          <a:p>
            <a:pPr algn="ctr" defTabSz="914309"/>
            <a:r>
              <a:rPr lang="en-US" sz="1400" b="1" dirty="0">
                <a:solidFill>
                  <a:srgbClr val="FF0000"/>
                </a:solidFill>
                <a:latin typeface="Univers"/>
              </a:rPr>
              <a:t>LIVE 7</a:t>
            </a:r>
          </a:p>
        </p:txBody>
      </p:sp>
      <p:cxnSp>
        <p:nvCxnSpPr>
          <p:cNvPr id="53" name="Gerade Verbindung 52">
            <a:extLst>
              <a:ext uri="{FF2B5EF4-FFF2-40B4-BE49-F238E27FC236}">
                <a16:creationId xmlns:a16="http://schemas.microsoft.com/office/drawing/2014/main" id="{750EE0E4-0DAF-D047-9491-1FB05EE43E24}"/>
              </a:ext>
            </a:extLst>
          </p:cNvPr>
          <p:cNvCxnSpPr>
            <a:cxnSpLocks/>
          </p:cNvCxnSpPr>
          <p:nvPr/>
        </p:nvCxnSpPr>
        <p:spPr>
          <a:xfrm flipH="1" flipV="1">
            <a:off x="11785411" y="2587786"/>
            <a:ext cx="1" cy="12932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Gerade Verbindung 53">
            <a:extLst>
              <a:ext uri="{FF2B5EF4-FFF2-40B4-BE49-F238E27FC236}">
                <a16:creationId xmlns:a16="http://schemas.microsoft.com/office/drawing/2014/main" id="{E861D5AB-ED48-E44E-BF07-377FB20AD850}"/>
              </a:ext>
            </a:extLst>
          </p:cNvPr>
          <p:cNvCxnSpPr/>
          <p:nvPr/>
        </p:nvCxnSpPr>
        <p:spPr>
          <a:xfrm flipH="1">
            <a:off x="8944824" y="5911686"/>
            <a:ext cx="308533" cy="0"/>
          </a:xfrm>
          <a:prstGeom prst="line">
            <a:avLst/>
          </a:prstGeom>
          <a:ln w="127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55" name="Gerade Verbindung 54">
            <a:extLst>
              <a:ext uri="{FF2B5EF4-FFF2-40B4-BE49-F238E27FC236}">
                <a16:creationId xmlns:a16="http://schemas.microsoft.com/office/drawing/2014/main" id="{4C8E046F-2D98-064A-992A-E0ED043390C8}"/>
              </a:ext>
            </a:extLst>
          </p:cNvPr>
          <p:cNvCxnSpPr/>
          <p:nvPr/>
        </p:nvCxnSpPr>
        <p:spPr>
          <a:xfrm flipH="1">
            <a:off x="8944824" y="5623011"/>
            <a:ext cx="308533" cy="0"/>
          </a:xfrm>
          <a:prstGeom prst="line">
            <a:avLst/>
          </a:prstGeom>
          <a:ln w="127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56" name="Gerade Verbindung 55">
            <a:extLst>
              <a:ext uri="{FF2B5EF4-FFF2-40B4-BE49-F238E27FC236}">
                <a16:creationId xmlns:a16="http://schemas.microsoft.com/office/drawing/2014/main" id="{014EF8B4-1902-FD47-B187-4EA5430C5791}"/>
              </a:ext>
            </a:extLst>
          </p:cNvPr>
          <p:cNvCxnSpPr/>
          <p:nvPr/>
        </p:nvCxnSpPr>
        <p:spPr>
          <a:xfrm flipH="1">
            <a:off x="8944824" y="5334334"/>
            <a:ext cx="308533" cy="0"/>
          </a:xfrm>
          <a:prstGeom prst="line">
            <a:avLst/>
          </a:prstGeom>
          <a:ln w="127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57" name="Gerade Verbindung 56">
            <a:extLst>
              <a:ext uri="{FF2B5EF4-FFF2-40B4-BE49-F238E27FC236}">
                <a16:creationId xmlns:a16="http://schemas.microsoft.com/office/drawing/2014/main" id="{BCF29ACC-BE79-A84B-B5A2-B544A378834E}"/>
              </a:ext>
            </a:extLst>
          </p:cNvPr>
          <p:cNvCxnSpPr/>
          <p:nvPr/>
        </p:nvCxnSpPr>
        <p:spPr>
          <a:xfrm flipH="1">
            <a:off x="8944824" y="5045657"/>
            <a:ext cx="308533" cy="0"/>
          </a:xfrm>
          <a:prstGeom prst="line">
            <a:avLst/>
          </a:prstGeom>
          <a:ln w="127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58" name="Gerade Verbindung 57">
            <a:extLst>
              <a:ext uri="{FF2B5EF4-FFF2-40B4-BE49-F238E27FC236}">
                <a16:creationId xmlns:a16="http://schemas.microsoft.com/office/drawing/2014/main" id="{FF03762C-CAE8-2148-A58F-192442D71515}"/>
              </a:ext>
            </a:extLst>
          </p:cNvPr>
          <p:cNvCxnSpPr/>
          <p:nvPr/>
        </p:nvCxnSpPr>
        <p:spPr>
          <a:xfrm flipH="1">
            <a:off x="8944824" y="4756980"/>
            <a:ext cx="308533" cy="0"/>
          </a:xfrm>
          <a:prstGeom prst="line">
            <a:avLst/>
          </a:prstGeom>
          <a:ln w="127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59" name="Gerade Verbindung 58">
            <a:extLst>
              <a:ext uri="{FF2B5EF4-FFF2-40B4-BE49-F238E27FC236}">
                <a16:creationId xmlns:a16="http://schemas.microsoft.com/office/drawing/2014/main" id="{7B170031-14AC-D347-8650-0B80B40B3A15}"/>
              </a:ext>
            </a:extLst>
          </p:cNvPr>
          <p:cNvCxnSpPr/>
          <p:nvPr/>
        </p:nvCxnSpPr>
        <p:spPr>
          <a:xfrm flipH="1">
            <a:off x="8944824" y="4468303"/>
            <a:ext cx="308533" cy="0"/>
          </a:xfrm>
          <a:prstGeom prst="line">
            <a:avLst/>
          </a:prstGeom>
          <a:ln w="127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pic>
        <p:nvPicPr>
          <p:cNvPr id="60" name="Picture 59">
            <a:extLst>
              <a:ext uri="{FF2B5EF4-FFF2-40B4-BE49-F238E27FC236}">
                <a16:creationId xmlns:a16="http://schemas.microsoft.com/office/drawing/2014/main" id="{BC932EB9-C3EE-4D4F-A595-858B73E201A8}"/>
              </a:ext>
            </a:extLst>
          </p:cNvPr>
          <p:cNvPicPr>
            <a:picLocks noChangeAspect="1"/>
          </p:cNvPicPr>
          <p:nvPr/>
        </p:nvPicPr>
        <p:blipFill>
          <a:blip r:embed="rId5"/>
          <a:stretch>
            <a:fillRect/>
          </a:stretch>
        </p:blipFill>
        <p:spPr>
          <a:xfrm>
            <a:off x="9994951" y="384669"/>
            <a:ext cx="1311958" cy="411043"/>
          </a:xfrm>
          <a:prstGeom prst="rect">
            <a:avLst/>
          </a:prstGeom>
        </p:spPr>
      </p:pic>
    </p:spTree>
    <p:extLst>
      <p:ext uri="{BB962C8B-B14F-4D97-AF65-F5344CB8AC3E}">
        <p14:creationId xmlns:p14="http://schemas.microsoft.com/office/powerpoint/2010/main" val="3970131678"/>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8295DD-0C81-E842-8A8A-9EB313910F69}"/>
              </a:ext>
            </a:extLst>
          </p:cNvPr>
          <p:cNvSpPr>
            <a:spLocks noGrp="1"/>
          </p:cNvSpPr>
          <p:nvPr>
            <p:ph type="title"/>
          </p:nvPr>
        </p:nvSpPr>
        <p:spPr/>
        <p:txBody>
          <a:bodyPr/>
          <a:lstStyle/>
          <a:p>
            <a:r>
              <a:rPr lang="en" dirty="0"/>
              <a:t>The SNP Way: 80%+ Faster – Success Guaranteed</a:t>
            </a:r>
            <a:br>
              <a:rPr lang="en" dirty="0"/>
            </a:br>
            <a:endParaRPr lang="de-DE" dirty="0"/>
          </a:p>
        </p:txBody>
      </p:sp>
      <p:sp>
        <p:nvSpPr>
          <p:cNvPr id="5" name="Rectangle 14">
            <a:extLst>
              <a:ext uri="{FF2B5EF4-FFF2-40B4-BE49-F238E27FC236}">
                <a16:creationId xmlns:a16="http://schemas.microsoft.com/office/drawing/2014/main" id="{83DC72C5-6CA1-FD45-AF36-7A1DC8B29365}"/>
              </a:ext>
            </a:extLst>
          </p:cNvPr>
          <p:cNvSpPr/>
          <p:nvPr/>
        </p:nvSpPr>
        <p:spPr>
          <a:xfrm>
            <a:off x="406400" y="1523830"/>
            <a:ext cx="5545138" cy="386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defTabSz="91430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2">
                    <a:lumMod val="25000"/>
                  </a:schemeClr>
                </a:solidFill>
                <a:effectLst/>
                <a:uLnTx/>
                <a:uFillTx/>
                <a:ea typeface="+mn-ea"/>
                <a:cs typeface="+mn-cs"/>
              </a:rPr>
              <a:t>Transformation Speed (Months)</a:t>
            </a:r>
          </a:p>
        </p:txBody>
      </p:sp>
      <p:sp>
        <p:nvSpPr>
          <p:cNvPr id="6" name="Rectangle 74">
            <a:extLst>
              <a:ext uri="{FF2B5EF4-FFF2-40B4-BE49-F238E27FC236}">
                <a16:creationId xmlns:a16="http://schemas.microsoft.com/office/drawing/2014/main" id="{7A4FDFAA-8B6C-AD41-9C4D-A07F464E3D8E}"/>
              </a:ext>
            </a:extLst>
          </p:cNvPr>
          <p:cNvSpPr/>
          <p:nvPr/>
        </p:nvSpPr>
        <p:spPr>
          <a:xfrm>
            <a:off x="6238875" y="1523829"/>
            <a:ext cx="5616624" cy="3866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defTabSz="91430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2">
                    <a:lumMod val="25000"/>
                  </a:schemeClr>
                </a:solidFill>
                <a:effectLst/>
                <a:uLnTx/>
                <a:uFillTx/>
                <a:ea typeface="+mn-ea"/>
                <a:cs typeface="+mn-cs"/>
              </a:rPr>
              <a:t>Transformation Success Rate</a:t>
            </a:r>
          </a:p>
        </p:txBody>
      </p:sp>
      <p:cxnSp>
        <p:nvCxnSpPr>
          <p:cNvPr id="8" name="Gerade Verbindung 7">
            <a:extLst>
              <a:ext uri="{FF2B5EF4-FFF2-40B4-BE49-F238E27FC236}">
                <a16:creationId xmlns:a16="http://schemas.microsoft.com/office/drawing/2014/main" id="{7EDCC405-D69C-1A43-B775-2E415E914D4A}"/>
              </a:ext>
            </a:extLst>
          </p:cNvPr>
          <p:cNvCxnSpPr>
            <a:cxnSpLocks/>
          </p:cNvCxnSpPr>
          <p:nvPr/>
        </p:nvCxnSpPr>
        <p:spPr>
          <a:xfrm>
            <a:off x="406400" y="1488433"/>
            <a:ext cx="5545138" cy="0"/>
          </a:xfrm>
          <a:prstGeom prst="line">
            <a:avLst/>
          </a:prstGeom>
          <a:ln w="1905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9" name="Gerade Verbindung 8">
            <a:extLst>
              <a:ext uri="{FF2B5EF4-FFF2-40B4-BE49-F238E27FC236}">
                <a16:creationId xmlns:a16="http://schemas.microsoft.com/office/drawing/2014/main" id="{8EE85538-1BC0-1348-8BF6-812DC3F62DB1}"/>
              </a:ext>
            </a:extLst>
          </p:cNvPr>
          <p:cNvCxnSpPr>
            <a:cxnSpLocks/>
          </p:cNvCxnSpPr>
          <p:nvPr/>
        </p:nvCxnSpPr>
        <p:spPr>
          <a:xfrm>
            <a:off x="6219775" y="1488433"/>
            <a:ext cx="5564238" cy="0"/>
          </a:xfrm>
          <a:prstGeom prst="line">
            <a:avLst/>
          </a:prstGeom>
          <a:ln w="1905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11" name="TextBox 31">
            <a:extLst>
              <a:ext uri="{FF2B5EF4-FFF2-40B4-BE49-F238E27FC236}">
                <a16:creationId xmlns:a16="http://schemas.microsoft.com/office/drawing/2014/main" id="{0EDC4B61-98A1-1041-A9D6-4F3EF8F06351}"/>
              </a:ext>
            </a:extLst>
          </p:cNvPr>
          <p:cNvSpPr txBox="1"/>
          <p:nvPr/>
        </p:nvSpPr>
        <p:spPr>
          <a:xfrm>
            <a:off x="3804289" y="5348900"/>
            <a:ext cx="914270" cy="369332"/>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25000"/>
                  </a:schemeClr>
                </a:solidFill>
                <a:effectLst/>
                <a:uLnTx/>
                <a:uFillTx/>
                <a:ea typeface="+mn-ea"/>
                <a:cs typeface="+mn-cs"/>
              </a:rPr>
              <a:t>SNP</a:t>
            </a:r>
          </a:p>
        </p:txBody>
      </p:sp>
      <p:sp>
        <p:nvSpPr>
          <p:cNvPr id="12" name="TextBox 64">
            <a:extLst>
              <a:ext uri="{FF2B5EF4-FFF2-40B4-BE49-F238E27FC236}">
                <a16:creationId xmlns:a16="http://schemas.microsoft.com/office/drawing/2014/main" id="{495DFEA1-6D3A-7547-B9AE-20A38AC3E35F}"/>
              </a:ext>
            </a:extLst>
          </p:cNvPr>
          <p:cNvSpPr txBox="1"/>
          <p:nvPr/>
        </p:nvSpPr>
        <p:spPr>
          <a:xfrm>
            <a:off x="1271275" y="5348900"/>
            <a:ext cx="1955541" cy="369284"/>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25000"/>
                  </a:schemeClr>
                </a:solidFill>
                <a:effectLst/>
                <a:uLnTx/>
                <a:uFillTx/>
                <a:ea typeface="+mn-ea"/>
                <a:cs typeface="+mn-cs"/>
              </a:rPr>
              <a:t>Traditional</a:t>
            </a:r>
          </a:p>
        </p:txBody>
      </p:sp>
      <p:sp>
        <p:nvSpPr>
          <p:cNvPr id="17" name="Rectangle 29">
            <a:extLst>
              <a:ext uri="{FF2B5EF4-FFF2-40B4-BE49-F238E27FC236}">
                <a16:creationId xmlns:a16="http://schemas.microsoft.com/office/drawing/2014/main" id="{4D1F7146-D8B5-4D40-B268-96C4A72AA3FB}"/>
              </a:ext>
            </a:extLst>
          </p:cNvPr>
          <p:cNvSpPr/>
          <p:nvPr/>
        </p:nvSpPr>
        <p:spPr>
          <a:xfrm>
            <a:off x="1805726" y="2084101"/>
            <a:ext cx="914271" cy="3199948"/>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30">
            <a:extLst>
              <a:ext uri="{FF2B5EF4-FFF2-40B4-BE49-F238E27FC236}">
                <a16:creationId xmlns:a16="http://schemas.microsoft.com/office/drawing/2014/main" id="{34F9C3A3-8C61-104C-933C-8D7B562BDCC4}"/>
              </a:ext>
            </a:extLst>
          </p:cNvPr>
          <p:cNvSpPr/>
          <p:nvPr/>
        </p:nvSpPr>
        <p:spPr>
          <a:xfrm>
            <a:off x="3804289" y="4826913"/>
            <a:ext cx="914271" cy="457135"/>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Box 65">
            <a:extLst>
              <a:ext uri="{FF2B5EF4-FFF2-40B4-BE49-F238E27FC236}">
                <a16:creationId xmlns:a16="http://schemas.microsoft.com/office/drawing/2014/main" id="{B540CCE9-7FD6-C54B-A0CD-A0C289551E15}"/>
              </a:ext>
            </a:extLst>
          </p:cNvPr>
          <p:cNvSpPr txBox="1"/>
          <p:nvPr/>
        </p:nvSpPr>
        <p:spPr>
          <a:xfrm>
            <a:off x="1805726" y="3455910"/>
            <a:ext cx="914272" cy="369284"/>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ea typeface="+mn-ea"/>
                <a:cs typeface="+mn-cs"/>
              </a:rPr>
              <a:t>24+</a:t>
            </a:r>
          </a:p>
        </p:txBody>
      </p:sp>
      <p:sp>
        <p:nvSpPr>
          <p:cNvPr id="20" name="TextBox 66">
            <a:extLst>
              <a:ext uri="{FF2B5EF4-FFF2-40B4-BE49-F238E27FC236}">
                <a16:creationId xmlns:a16="http://schemas.microsoft.com/office/drawing/2014/main" id="{363ADE7A-5895-BD47-94F6-8A567DB738BC}"/>
              </a:ext>
            </a:extLst>
          </p:cNvPr>
          <p:cNvSpPr txBox="1"/>
          <p:nvPr/>
        </p:nvSpPr>
        <p:spPr>
          <a:xfrm>
            <a:off x="3804288" y="4883934"/>
            <a:ext cx="914271" cy="369284"/>
          </a:xfrm>
          <a:prstGeom prst="rect">
            <a:avLst/>
          </a:prstGeom>
          <a:solidFill>
            <a:srgbClr val="0070C0"/>
          </a:solid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lang="en-US" sz="1800" dirty="0">
                <a:solidFill>
                  <a:schemeClr val="bg1"/>
                </a:solidFill>
              </a:rPr>
              <a:t>6</a:t>
            </a:r>
            <a:endParaRPr kumimoji="0" lang="en-US" sz="1800" b="0" i="0" u="none" strike="noStrike" kern="1200" cap="none" spc="0" normalizeH="0" baseline="0" noProof="0" dirty="0">
              <a:ln>
                <a:noFill/>
              </a:ln>
              <a:solidFill>
                <a:schemeClr val="bg1"/>
              </a:solidFill>
              <a:effectLst/>
              <a:uLnTx/>
              <a:uFillTx/>
              <a:ea typeface="+mn-ea"/>
              <a:cs typeface="+mn-cs"/>
            </a:endParaRPr>
          </a:p>
        </p:txBody>
      </p:sp>
      <p:sp>
        <p:nvSpPr>
          <p:cNvPr id="21" name="Rectangle 30">
            <a:extLst>
              <a:ext uri="{FF2B5EF4-FFF2-40B4-BE49-F238E27FC236}">
                <a16:creationId xmlns:a16="http://schemas.microsoft.com/office/drawing/2014/main" id="{82CC7F58-ABBF-5743-AC36-347E0AE7C481}"/>
              </a:ext>
            </a:extLst>
          </p:cNvPr>
          <p:cNvSpPr/>
          <p:nvPr/>
        </p:nvSpPr>
        <p:spPr>
          <a:xfrm>
            <a:off x="3804287" y="2084100"/>
            <a:ext cx="914273" cy="3199947"/>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3" name="Gerade Verbindung 12">
            <a:extLst>
              <a:ext uri="{FF2B5EF4-FFF2-40B4-BE49-F238E27FC236}">
                <a16:creationId xmlns:a16="http://schemas.microsoft.com/office/drawing/2014/main" id="{EC5D7B69-60BC-F640-9AED-055FB36C3B8C}"/>
              </a:ext>
            </a:extLst>
          </p:cNvPr>
          <p:cNvCxnSpPr>
            <a:cxnSpLocks/>
          </p:cNvCxnSpPr>
          <p:nvPr/>
        </p:nvCxnSpPr>
        <p:spPr>
          <a:xfrm>
            <a:off x="406400" y="5282489"/>
            <a:ext cx="5545138" cy="0"/>
          </a:xfrm>
          <a:prstGeom prst="line">
            <a:avLst/>
          </a:prstGeom>
          <a:ln w="127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2" name="TextBox 66">
            <a:extLst>
              <a:ext uri="{FF2B5EF4-FFF2-40B4-BE49-F238E27FC236}">
                <a16:creationId xmlns:a16="http://schemas.microsoft.com/office/drawing/2014/main" id="{F91D3FCE-283E-AD43-A7AB-F340A6AE8F22}"/>
              </a:ext>
            </a:extLst>
          </p:cNvPr>
          <p:cNvSpPr txBox="1"/>
          <p:nvPr/>
        </p:nvSpPr>
        <p:spPr>
          <a:xfrm>
            <a:off x="3804288" y="3414057"/>
            <a:ext cx="914271" cy="430887"/>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70C0"/>
                </a:solidFill>
                <a:effectLst/>
                <a:uLnTx/>
                <a:uFillTx/>
                <a:ea typeface="+mn-ea"/>
                <a:cs typeface="+mn-cs"/>
              </a:rPr>
              <a:t>-</a:t>
            </a:r>
            <a:r>
              <a:rPr lang="en-US" sz="2200" b="1" dirty="0">
                <a:solidFill>
                  <a:srgbClr val="0070C0"/>
                </a:solidFill>
              </a:rPr>
              <a:t>75</a:t>
            </a:r>
            <a:r>
              <a:rPr kumimoji="0" lang="en-US" sz="2200" b="1" i="0" u="none" strike="noStrike" kern="1200" cap="none" spc="0" normalizeH="0" baseline="0" noProof="0" dirty="0">
                <a:ln>
                  <a:noFill/>
                </a:ln>
                <a:solidFill>
                  <a:srgbClr val="0070C0"/>
                </a:solidFill>
                <a:effectLst/>
                <a:uLnTx/>
                <a:uFillTx/>
                <a:ea typeface="+mn-ea"/>
                <a:cs typeface="+mn-cs"/>
              </a:rPr>
              <a:t>%</a:t>
            </a:r>
          </a:p>
        </p:txBody>
      </p:sp>
      <p:sp>
        <p:nvSpPr>
          <p:cNvPr id="23" name="TextBox 31">
            <a:extLst>
              <a:ext uri="{FF2B5EF4-FFF2-40B4-BE49-F238E27FC236}">
                <a16:creationId xmlns:a16="http://schemas.microsoft.com/office/drawing/2014/main" id="{0FA7CA92-C566-4A43-AC0F-45C7BBF11C8B}"/>
              </a:ext>
            </a:extLst>
          </p:cNvPr>
          <p:cNvSpPr txBox="1"/>
          <p:nvPr/>
        </p:nvSpPr>
        <p:spPr>
          <a:xfrm>
            <a:off x="9382190" y="5348900"/>
            <a:ext cx="914270" cy="369332"/>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25000"/>
                  </a:schemeClr>
                </a:solidFill>
                <a:effectLst/>
                <a:uLnTx/>
                <a:uFillTx/>
                <a:ea typeface="+mn-ea"/>
                <a:cs typeface="+mn-cs"/>
              </a:rPr>
              <a:t>SNP</a:t>
            </a:r>
            <a:r>
              <a:rPr kumimoji="0" lang="en-US" sz="1800" b="0" i="0" u="none" strike="noStrike" kern="1200" cap="none" spc="0" normalizeH="0" baseline="30000" noProof="0" dirty="0">
                <a:ln>
                  <a:noFill/>
                </a:ln>
                <a:solidFill>
                  <a:schemeClr val="bg2">
                    <a:lumMod val="25000"/>
                  </a:schemeClr>
                </a:solidFill>
                <a:effectLst/>
                <a:uLnTx/>
                <a:uFillTx/>
                <a:ea typeface="+mn-ea"/>
                <a:cs typeface="+mn-cs"/>
              </a:rPr>
              <a:t>1</a:t>
            </a:r>
          </a:p>
        </p:txBody>
      </p:sp>
      <p:sp>
        <p:nvSpPr>
          <p:cNvPr id="24" name="TextBox 64">
            <a:extLst>
              <a:ext uri="{FF2B5EF4-FFF2-40B4-BE49-F238E27FC236}">
                <a16:creationId xmlns:a16="http://schemas.microsoft.com/office/drawing/2014/main" id="{7A9071FF-AE69-864B-B073-7C15BF1AB937}"/>
              </a:ext>
            </a:extLst>
          </p:cNvPr>
          <p:cNvSpPr txBox="1"/>
          <p:nvPr/>
        </p:nvSpPr>
        <p:spPr>
          <a:xfrm>
            <a:off x="6923088" y="5348900"/>
            <a:ext cx="1955541" cy="369284"/>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2">
                    <a:lumMod val="25000"/>
                  </a:schemeClr>
                </a:solidFill>
                <a:effectLst/>
                <a:uLnTx/>
                <a:uFillTx/>
                <a:ea typeface="+mn-ea"/>
                <a:cs typeface="+mn-cs"/>
              </a:rPr>
              <a:t>Traditional</a:t>
            </a:r>
          </a:p>
        </p:txBody>
      </p:sp>
      <p:sp>
        <p:nvSpPr>
          <p:cNvPr id="25" name="Rectangle 29">
            <a:extLst>
              <a:ext uri="{FF2B5EF4-FFF2-40B4-BE49-F238E27FC236}">
                <a16:creationId xmlns:a16="http://schemas.microsoft.com/office/drawing/2014/main" id="{D222334E-BBF1-FE42-9910-2E9B529C1F2F}"/>
              </a:ext>
            </a:extLst>
          </p:cNvPr>
          <p:cNvSpPr/>
          <p:nvPr/>
        </p:nvSpPr>
        <p:spPr>
          <a:xfrm>
            <a:off x="7373429" y="4241743"/>
            <a:ext cx="914271" cy="1042305"/>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30">
            <a:extLst>
              <a:ext uri="{FF2B5EF4-FFF2-40B4-BE49-F238E27FC236}">
                <a16:creationId xmlns:a16="http://schemas.microsoft.com/office/drawing/2014/main" id="{1DB9B131-A30E-384A-8D7A-2E24641D8005}"/>
              </a:ext>
            </a:extLst>
          </p:cNvPr>
          <p:cNvSpPr/>
          <p:nvPr/>
        </p:nvSpPr>
        <p:spPr>
          <a:xfrm>
            <a:off x="9371992" y="2084101"/>
            <a:ext cx="914271" cy="319994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TextBox 65">
            <a:extLst>
              <a:ext uri="{FF2B5EF4-FFF2-40B4-BE49-F238E27FC236}">
                <a16:creationId xmlns:a16="http://schemas.microsoft.com/office/drawing/2014/main" id="{CB6CF147-E55B-2442-BD0C-C3CA39B92890}"/>
              </a:ext>
            </a:extLst>
          </p:cNvPr>
          <p:cNvSpPr txBox="1"/>
          <p:nvPr/>
        </p:nvSpPr>
        <p:spPr>
          <a:xfrm>
            <a:off x="7373429" y="4578253"/>
            <a:ext cx="914272" cy="369284"/>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ea typeface="+mn-ea"/>
                <a:cs typeface="+mn-cs"/>
              </a:rPr>
              <a:t>33%</a:t>
            </a:r>
          </a:p>
        </p:txBody>
      </p:sp>
      <p:cxnSp>
        <p:nvCxnSpPr>
          <p:cNvPr id="30" name="Gerade Verbindung 29">
            <a:extLst>
              <a:ext uri="{FF2B5EF4-FFF2-40B4-BE49-F238E27FC236}">
                <a16:creationId xmlns:a16="http://schemas.microsoft.com/office/drawing/2014/main" id="{E2182132-DB1D-6047-A086-3823A7B29F54}"/>
              </a:ext>
            </a:extLst>
          </p:cNvPr>
          <p:cNvCxnSpPr>
            <a:cxnSpLocks/>
          </p:cNvCxnSpPr>
          <p:nvPr/>
        </p:nvCxnSpPr>
        <p:spPr>
          <a:xfrm>
            <a:off x="6238875" y="5282489"/>
            <a:ext cx="5545138" cy="0"/>
          </a:xfrm>
          <a:prstGeom prst="line">
            <a:avLst/>
          </a:prstGeom>
          <a:ln w="127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1" name="TextBox 66">
            <a:extLst>
              <a:ext uri="{FF2B5EF4-FFF2-40B4-BE49-F238E27FC236}">
                <a16:creationId xmlns:a16="http://schemas.microsoft.com/office/drawing/2014/main" id="{EB5C9650-9E21-5E4A-86E8-392BE82BB998}"/>
              </a:ext>
            </a:extLst>
          </p:cNvPr>
          <p:cNvSpPr txBox="1"/>
          <p:nvPr/>
        </p:nvSpPr>
        <p:spPr>
          <a:xfrm>
            <a:off x="9371991" y="3414057"/>
            <a:ext cx="914271" cy="430887"/>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bg1"/>
                </a:solidFill>
                <a:effectLst/>
                <a:uLnTx/>
                <a:uFillTx/>
                <a:ea typeface="+mn-ea"/>
                <a:cs typeface="+mn-cs"/>
              </a:rPr>
              <a:t>100%</a:t>
            </a:r>
          </a:p>
        </p:txBody>
      </p:sp>
      <p:sp>
        <p:nvSpPr>
          <p:cNvPr id="32" name="TextBox 69">
            <a:extLst>
              <a:ext uri="{FF2B5EF4-FFF2-40B4-BE49-F238E27FC236}">
                <a16:creationId xmlns:a16="http://schemas.microsoft.com/office/drawing/2014/main" id="{2EE7483E-BDBB-7644-B424-AE9FBCD9564C}"/>
              </a:ext>
            </a:extLst>
          </p:cNvPr>
          <p:cNvSpPr txBox="1"/>
          <p:nvPr/>
        </p:nvSpPr>
        <p:spPr>
          <a:xfrm rot="16200000">
            <a:off x="10092694" y="3457998"/>
            <a:ext cx="3250333" cy="276999"/>
          </a:xfrm>
          <a:prstGeom prst="rect">
            <a:avLst/>
          </a:prstGeom>
          <a:noFill/>
        </p:spPr>
        <p:txBody>
          <a:bodyPr wrap="square"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dirty="0">
                <a:ln>
                  <a:noFill/>
                </a:ln>
                <a:solidFill>
                  <a:schemeClr val="bg2">
                    <a:lumMod val="25000"/>
                  </a:schemeClr>
                </a:solidFill>
                <a:effectLst/>
                <a:uLnTx/>
                <a:uFillTx/>
                <a:ea typeface="+mn-ea"/>
                <a:cs typeface="+mn-cs"/>
              </a:rPr>
              <a:t>1 </a:t>
            </a:r>
            <a:r>
              <a:rPr kumimoji="0" lang="en-US" sz="1200" b="0" i="0" u="none" strike="noStrike" kern="1200" cap="none" spc="0" normalizeH="0" baseline="0" noProof="0" dirty="0">
                <a:ln>
                  <a:noFill/>
                </a:ln>
                <a:solidFill>
                  <a:schemeClr val="bg2">
                    <a:lumMod val="25000"/>
                  </a:schemeClr>
                </a:solidFill>
                <a:effectLst/>
                <a:uLnTx/>
                <a:uFillTx/>
                <a:ea typeface="+mn-ea"/>
                <a:cs typeface="+mn-cs"/>
              </a:rPr>
              <a:t>Based on 10,000+ projects over 25 years. </a:t>
            </a:r>
          </a:p>
        </p:txBody>
      </p:sp>
      <p:sp>
        <p:nvSpPr>
          <p:cNvPr id="28" name="Datumsplatzhalter 2">
            <a:extLst>
              <a:ext uri="{FF2B5EF4-FFF2-40B4-BE49-F238E27FC236}">
                <a16:creationId xmlns:a16="http://schemas.microsoft.com/office/drawing/2014/main" id="{330DAFBD-3BAB-4AC8-9672-3D94824E837C}"/>
              </a:ext>
            </a:extLst>
          </p:cNvPr>
          <p:cNvSpPr>
            <a:spLocks noGrp="1"/>
          </p:cNvSpPr>
          <p:nvPr>
            <p:ph type="dt" sz="half" idx="10"/>
          </p:nvPr>
        </p:nvSpPr>
        <p:spPr>
          <a:xfrm>
            <a:off x="406400" y="6501507"/>
            <a:ext cx="648000" cy="180000"/>
          </a:xfrm>
        </p:spPr>
        <p:txBody>
          <a:bodyPr/>
          <a:lstStyle/>
          <a:p>
            <a:r>
              <a:rPr lang="en-US">
                <a:solidFill>
                  <a:schemeClr val="tx2">
                    <a:lumMod val="50000"/>
                  </a:schemeClr>
                </a:solidFill>
              </a:rPr>
              <a:t>21/08/2019</a:t>
            </a:r>
            <a:endParaRPr lang="en-US" dirty="0">
              <a:solidFill>
                <a:schemeClr val="tx2">
                  <a:lumMod val="50000"/>
                </a:schemeClr>
              </a:solidFill>
            </a:endParaRPr>
          </a:p>
        </p:txBody>
      </p:sp>
      <p:sp>
        <p:nvSpPr>
          <p:cNvPr id="29" name="Foliennummernplatzhalter 3">
            <a:extLst>
              <a:ext uri="{FF2B5EF4-FFF2-40B4-BE49-F238E27FC236}">
                <a16:creationId xmlns:a16="http://schemas.microsoft.com/office/drawing/2014/main" id="{259E8361-B3DD-4A2D-A8D2-B2219AD337B4}"/>
              </a:ext>
            </a:extLst>
          </p:cNvPr>
          <p:cNvSpPr>
            <a:spLocks noGrp="1"/>
          </p:cNvSpPr>
          <p:nvPr>
            <p:ph type="sldNum" sz="quarter" idx="11"/>
          </p:nvPr>
        </p:nvSpPr>
        <p:spPr>
          <a:xfrm>
            <a:off x="11111017" y="6501507"/>
            <a:ext cx="672996" cy="180000"/>
          </a:xfrm>
        </p:spPr>
        <p:txBody>
          <a:bodyPr/>
          <a:lstStyle/>
          <a:p>
            <a:fld id="{221F1D72-F2AC-4B6E-A46C-E63D2CF40C7B}" type="slidenum">
              <a:rPr lang="en-US" smtClean="0">
                <a:solidFill>
                  <a:schemeClr val="tx2">
                    <a:lumMod val="50000"/>
                  </a:schemeClr>
                </a:solidFill>
              </a:rPr>
              <a:pPr/>
              <a:t>15</a:t>
            </a:fld>
            <a:endParaRPr lang="en-US" dirty="0">
              <a:solidFill>
                <a:schemeClr val="tx2">
                  <a:lumMod val="50000"/>
                </a:schemeClr>
              </a:solidFill>
            </a:endParaRPr>
          </a:p>
        </p:txBody>
      </p:sp>
      <p:sp>
        <p:nvSpPr>
          <p:cNvPr id="33" name="Fußzeilenplatzhalter 4">
            <a:extLst>
              <a:ext uri="{FF2B5EF4-FFF2-40B4-BE49-F238E27FC236}">
                <a16:creationId xmlns:a16="http://schemas.microsoft.com/office/drawing/2014/main" id="{931010C0-908F-4D71-90CE-D534673CCEFB}"/>
              </a:ext>
            </a:extLst>
          </p:cNvPr>
          <p:cNvSpPr>
            <a:spLocks noGrp="1"/>
          </p:cNvSpPr>
          <p:nvPr>
            <p:ph type="ftr" sz="quarter" idx="12"/>
          </p:nvPr>
        </p:nvSpPr>
        <p:spPr>
          <a:xfrm>
            <a:off x="1054646" y="6501507"/>
            <a:ext cx="4896000" cy="180000"/>
          </a:xfrm>
        </p:spPr>
        <p:txBody>
          <a:bodyPr/>
          <a:lstStyle/>
          <a:p>
            <a:r>
              <a:rPr lang="en-US">
                <a:solidFill>
                  <a:schemeClr val="tx2">
                    <a:lumMod val="50000"/>
                  </a:schemeClr>
                </a:solidFill>
              </a:rPr>
              <a:t>NZSUG Auckland Event + SAP Forum</a:t>
            </a:r>
            <a:endParaRPr lang="en-US" dirty="0">
              <a:solidFill>
                <a:schemeClr val="tx2">
                  <a:lumMod val="50000"/>
                </a:schemeClr>
              </a:solidFill>
            </a:endParaRPr>
          </a:p>
        </p:txBody>
      </p:sp>
      <p:pic>
        <p:nvPicPr>
          <p:cNvPr id="34" name="Picture 33">
            <a:extLst>
              <a:ext uri="{FF2B5EF4-FFF2-40B4-BE49-F238E27FC236}">
                <a16:creationId xmlns:a16="http://schemas.microsoft.com/office/drawing/2014/main" id="{E43A276D-F6B6-4511-99D7-BF23C7AA5B69}"/>
              </a:ext>
            </a:extLst>
          </p:cNvPr>
          <p:cNvPicPr>
            <a:picLocks noChangeAspect="1"/>
          </p:cNvPicPr>
          <p:nvPr/>
        </p:nvPicPr>
        <p:blipFill>
          <a:blip r:embed="rId3"/>
          <a:stretch>
            <a:fillRect/>
          </a:stretch>
        </p:blipFill>
        <p:spPr>
          <a:xfrm>
            <a:off x="9994951" y="384669"/>
            <a:ext cx="1311958" cy="411043"/>
          </a:xfrm>
          <a:prstGeom prst="rect">
            <a:avLst/>
          </a:prstGeom>
        </p:spPr>
      </p:pic>
    </p:spTree>
    <p:extLst>
      <p:ext uri="{BB962C8B-B14F-4D97-AF65-F5344CB8AC3E}">
        <p14:creationId xmlns:p14="http://schemas.microsoft.com/office/powerpoint/2010/main" val="1411918352"/>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E974726E-9D4A-6B4E-B39F-719B1223A0E2}"/>
              </a:ext>
            </a:extLst>
          </p:cNvPr>
          <p:cNvPicPr>
            <a:picLocks noChangeAspect="1"/>
          </p:cNvPicPr>
          <p:nvPr/>
        </p:nvPicPr>
        <p:blipFill rotWithShape="1">
          <a:blip r:embed="rId2">
            <a:extLst>
              <a:ext uri="{28A0092B-C50C-407E-A947-70E740481C1C}">
                <a14:useLocalDpi xmlns:a14="http://schemas.microsoft.com/office/drawing/2010/main" val="0"/>
              </a:ext>
            </a:extLst>
          </a:blip>
          <a:srcRect l="3" r="-2"/>
          <a:stretch/>
        </p:blipFill>
        <p:spPr>
          <a:xfrm>
            <a:off x="-1" y="0"/>
            <a:ext cx="12190413" cy="6858000"/>
          </a:xfrm>
          <a:prstGeom prst="rect">
            <a:avLst/>
          </a:prstGeom>
        </p:spPr>
      </p:pic>
      <p:sp>
        <p:nvSpPr>
          <p:cNvPr id="3" name="Datumsplatzhalter 2">
            <a:extLst>
              <a:ext uri="{FF2B5EF4-FFF2-40B4-BE49-F238E27FC236}">
                <a16:creationId xmlns:a16="http://schemas.microsoft.com/office/drawing/2014/main" id="{95358D20-3F61-234F-9268-ADF5813E4E64}"/>
              </a:ext>
            </a:extLst>
          </p:cNvPr>
          <p:cNvSpPr>
            <a:spLocks noGrp="1"/>
          </p:cNvSpPr>
          <p:nvPr>
            <p:ph type="dt" sz="half" idx="10"/>
          </p:nvPr>
        </p:nvSpPr>
        <p:spPr/>
        <p:txBody>
          <a:bodyPr/>
          <a:lstStyle/>
          <a:p>
            <a:r>
              <a:rPr lang="en-US">
                <a:solidFill>
                  <a:schemeClr val="bg1"/>
                </a:solidFill>
              </a:rPr>
              <a:t>21/08/2019</a:t>
            </a:r>
            <a:endParaRPr lang="en-US" dirty="0">
              <a:solidFill>
                <a:schemeClr val="bg1"/>
              </a:solidFill>
            </a:endParaRPr>
          </a:p>
        </p:txBody>
      </p:sp>
      <p:sp>
        <p:nvSpPr>
          <p:cNvPr id="4" name="Foliennummernplatzhalter 3">
            <a:extLst>
              <a:ext uri="{FF2B5EF4-FFF2-40B4-BE49-F238E27FC236}">
                <a16:creationId xmlns:a16="http://schemas.microsoft.com/office/drawing/2014/main" id="{DF88E43C-9A48-FE4C-BE94-994A6AA79260}"/>
              </a:ext>
            </a:extLst>
          </p:cNvPr>
          <p:cNvSpPr>
            <a:spLocks noGrp="1"/>
          </p:cNvSpPr>
          <p:nvPr>
            <p:ph type="sldNum" sz="quarter" idx="11"/>
          </p:nvPr>
        </p:nvSpPr>
        <p:spPr/>
        <p:txBody>
          <a:bodyPr/>
          <a:lstStyle/>
          <a:p>
            <a:fld id="{221F1D72-F2AC-4B6E-A46C-E63D2CF40C7B}" type="slidenum">
              <a:rPr lang="en-US" smtClean="0">
                <a:solidFill>
                  <a:schemeClr val="bg1"/>
                </a:solidFill>
              </a:rPr>
              <a:pPr/>
              <a:t>16</a:t>
            </a:fld>
            <a:endParaRPr lang="en-US" dirty="0">
              <a:solidFill>
                <a:schemeClr val="bg1"/>
              </a:solidFill>
            </a:endParaRPr>
          </a:p>
        </p:txBody>
      </p:sp>
      <p:sp>
        <p:nvSpPr>
          <p:cNvPr id="5" name="Fußzeilenplatzhalter 4">
            <a:extLst>
              <a:ext uri="{FF2B5EF4-FFF2-40B4-BE49-F238E27FC236}">
                <a16:creationId xmlns:a16="http://schemas.microsoft.com/office/drawing/2014/main" id="{E4E5C63D-037C-5D4A-8219-33319CED3540}"/>
              </a:ext>
            </a:extLst>
          </p:cNvPr>
          <p:cNvSpPr>
            <a:spLocks noGrp="1"/>
          </p:cNvSpPr>
          <p:nvPr>
            <p:ph type="ftr" sz="quarter" idx="12"/>
          </p:nvPr>
        </p:nvSpPr>
        <p:spPr/>
        <p:txBody>
          <a:bodyPr/>
          <a:lstStyle/>
          <a:p>
            <a:r>
              <a:rPr lang="en-US">
                <a:solidFill>
                  <a:schemeClr val="bg1"/>
                </a:solidFill>
              </a:rPr>
              <a:t>NZSUG Auckland Event + SAP Forum</a:t>
            </a:r>
            <a:endParaRPr lang="en-US" dirty="0">
              <a:solidFill>
                <a:schemeClr val="bg1"/>
              </a:solidFill>
            </a:endParaRPr>
          </a:p>
        </p:txBody>
      </p:sp>
      <p:sp>
        <p:nvSpPr>
          <p:cNvPr id="8" name="Freeform 5">
            <a:extLst>
              <a:ext uri="{FF2B5EF4-FFF2-40B4-BE49-F238E27FC236}">
                <a16:creationId xmlns:a16="http://schemas.microsoft.com/office/drawing/2014/main" id="{F0E2FBCF-601A-2347-8B0E-8D6D62BC8944}"/>
              </a:ext>
            </a:extLst>
          </p:cNvPr>
          <p:cNvSpPr>
            <a:spLocks noEditPoints="1"/>
          </p:cNvSpPr>
          <p:nvPr/>
        </p:nvSpPr>
        <p:spPr bwMode="auto">
          <a:xfrm>
            <a:off x="11378399" y="248372"/>
            <a:ext cx="564809" cy="547340"/>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F6F6F"/>
              </a:solidFill>
              <a:effectLst/>
              <a:uLnTx/>
              <a:uFillTx/>
              <a:latin typeface="Univers"/>
              <a:ea typeface="+mn-ea"/>
              <a:cs typeface="+mn-cs"/>
            </a:endParaRPr>
          </a:p>
        </p:txBody>
      </p:sp>
      <p:sp>
        <p:nvSpPr>
          <p:cNvPr id="9" name="Textfeld 8">
            <a:extLst>
              <a:ext uri="{FF2B5EF4-FFF2-40B4-BE49-F238E27FC236}">
                <a16:creationId xmlns:a16="http://schemas.microsoft.com/office/drawing/2014/main" id="{7D54522D-FEAE-4944-80A7-3447F9E46DC9}"/>
              </a:ext>
            </a:extLst>
          </p:cNvPr>
          <p:cNvSpPr txBox="1"/>
          <p:nvPr/>
        </p:nvSpPr>
        <p:spPr>
          <a:xfrm>
            <a:off x="4311920" y="2963639"/>
            <a:ext cx="3582717" cy="1088366"/>
          </a:xfrm>
          <a:prstGeom prst="rect">
            <a:avLst/>
          </a:prstGeom>
          <a:noFill/>
          <a:ln>
            <a:noFill/>
          </a:ln>
        </p:spPr>
        <p:txBody>
          <a:bodyPr wrap="square" lIns="0" tIns="72000" rIns="0" bIns="0" rtlCol="0" anchor="t">
            <a:spAutoFit/>
          </a:bodyPr>
          <a:lstStyle/>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New GL</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PCA, COPA</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Full historical conversion</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Near-Zero Downtime</a:t>
            </a:r>
          </a:p>
        </p:txBody>
      </p:sp>
      <p:sp>
        <p:nvSpPr>
          <p:cNvPr id="10" name="Textfeld 9">
            <a:extLst>
              <a:ext uri="{FF2B5EF4-FFF2-40B4-BE49-F238E27FC236}">
                <a16:creationId xmlns:a16="http://schemas.microsoft.com/office/drawing/2014/main" id="{12D09DF7-E5EC-1C41-8210-D6E74ADF8F97}"/>
              </a:ext>
            </a:extLst>
          </p:cNvPr>
          <p:cNvSpPr txBox="1"/>
          <p:nvPr/>
        </p:nvSpPr>
        <p:spPr>
          <a:xfrm>
            <a:off x="406399" y="4438923"/>
            <a:ext cx="3600450" cy="1088366"/>
          </a:xfrm>
          <a:prstGeom prst="rect">
            <a:avLst/>
          </a:prstGeom>
          <a:noFill/>
          <a:ln>
            <a:noFill/>
          </a:ln>
        </p:spPr>
        <p:txBody>
          <a:bodyPr wrap="square" lIns="0" tIns="72000" rIns="0" bIns="0" rtlCol="0" anchor="t">
            <a:spAutoFit/>
          </a:bodyPr>
          <a:lstStyle/>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Reorganization</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Legal Entity rationalization</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Tax restructuring</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Controlling, HR, Purchasing merge</a:t>
            </a:r>
          </a:p>
        </p:txBody>
      </p:sp>
      <p:sp>
        <p:nvSpPr>
          <p:cNvPr id="11" name="Textfeld 10">
            <a:extLst>
              <a:ext uri="{FF2B5EF4-FFF2-40B4-BE49-F238E27FC236}">
                <a16:creationId xmlns:a16="http://schemas.microsoft.com/office/drawing/2014/main" id="{74BEA2B0-30C5-864A-B1EF-2AD6E5C19FBB}"/>
              </a:ext>
            </a:extLst>
          </p:cNvPr>
          <p:cNvSpPr txBox="1"/>
          <p:nvPr/>
        </p:nvSpPr>
        <p:spPr>
          <a:xfrm>
            <a:off x="406400" y="1449388"/>
            <a:ext cx="3600450" cy="847274"/>
          </a:xfrm>
          <a:prstGeom prst="rect">
            <a:avLst/>
          </a:prstGeom>
          <a:noFill/>
          <a:ln>
            <a:noFill/>
          </a:ln>
        </p:spPr>
        <p:txBody>
          <a:bodyPr wrap="square" lIns="0" tIns="72000" rIns="0" bIns="0" rtlCol="0" anchor="t">
            <a:spAutoFit/>
          </a:bodyPr>
          <a:lstStyle/>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Carve</a:t>
            </a:r>
            <a:r>
              <a:rPr lang="en-US" sz="1900" b="1" dirty="0">
                <a:solidFill>
                  <a:srgbClr val="FFFFFF"/>
                </a:solidFill>
                <a:latin typeface="Univers" panose="020B0503020202020204" pitchFamily="34" charset="0"/>
                <a:cs typeface="Arial" panose="020B0604020202020204" pitchFamily="34" charset="0"/>
              </a:rPr>
              <a:t>-out</a:t>
            </a:r>
            <a:endParaRPr kumimoji="0" lang="en-US" sz="1900" b="1"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endParaRP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Splitting of system</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Removed unused entities</a:t>
            </a:r>
          </a:p>
        </p:txBody>
      </p:sp>
      <p:sp>
        <p:nvSpPr>
          <p:cNvPr id="12" name="Textfeld 11">
            <a:extLst>
              <a:ext uri="{FF2B5EF4-FFF2-40B4-BE49-F238E27FC236}">
                <a16:creationId xmlns:a16="http://schemas.microsoft.com/office/drawing/2014/main" id="{31808B84-C10C-8A43-9202-BF8A58AFAF0A}"/>
              </a:ext>
            </a:extLst>
          </p:cNvPr>
          <p:cNvSpPr txBox="1"/>
          <p:nvPr/>
        </p:nvSpPr>
        <p:spPr>
          <a:xfrm>
            <a:off x="8183562" y="1449388"/>
            <a:ext cx="3600450" cy="1329457"/>
          </a:xfrm>
          <a:prstGeom prst="rect">
            <a:avLst/>
          </a:prstGeom>
          <a:noFill/>
          <a:ln>
            <a:noFill/>
          </a:ln>
        </p:spPr>
        <p:txBody>
          <a:bodyPr wrap="square" lIns="0" tIns="72000" rIns="0" bIns="0" rtlCol="0" anchor="t">
            <a:spAutoFit/>
          </a:bodyPr>
          <a:lstStyle/>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Upgrade</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R/3 4.6C </a:t>
            </a:r>
          </a:p>
          <a:p>
            <a:pPr marL="180975" marR="0" lvl="0" indent="-180975" algn="l" defTabSz="1219078" rtl="0" eaLnBrk="1" fontAlgn="auto" latinLnBrk="0" hangingPunct="1">
              <a:lnSpc>
                <a:spcPct val="100000"/>
              </a:lnSpc>
              <a:spcBef>
                <a:spcPts val="0"/>
              </a:spcBef>
              <a:spcAft>
                <a:spcPts val="500"/>
              </a:spcAft>
              <a:buClrTx/>
              <a:buSzTx/>
              <a:buFont typeface="Wingdings" pitchFamily="2" charset="2"/>
              <a:buChar char="à"/>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sym typeface="Wingdings" panose="05000000000000000000" pitchFamily="2" charset="2"/>
              </a:rPr>
              <a:t>ERP 6.0 EHP8 or S/4HANA</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sym typeface="Wingdings" panose="05000000000000000000" pitchFamily="2" charset="2"/>
              </a:rPr>
              <a:t>OS/DB migration</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sym typeface="Wingdings" panose="05000000000000000000" pitchFamily="2" charset="2"/>
              </a:rPr>
              <a:t>Virtualization</a:t>
            </a:r>
            <a:endPar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endParaRPr>
          </a:p>
        </p:txBody>
      </p:sp>
      <p:sp>
        <p:nvSpPr>
          <p:cNvPr id="13" name="Textfeld 12">
            <a:extLst>
              <a:ext uri="{FF2B5EF4-FFF2-40B4-BE49-F238E27FC236}">
                <a16:creationId xmlns:a16="http://schemas.microsoft.com/office/drawing/2014/main" id="{32ABAC4C-C79C-CD44-BB37-048A89F30A01}"/>
              </a:ext>
            </a:extLst>
          </p:cNvPr>
          <p:cNvSpPr txBox="1"/>
          <p:nvPr/>
        </p:nvSpPr>
        <p:spPr>
          <a:xfrm>
            <a:off x="8183562" y="2954618"/>
            <a:ext cx="3600450" cy="1329457"/>
          </a:xfrm>
          <a:prstGeom prst="rect">
            <a:avLst/>
          </a:prstGeom>
          <a:noFill/>
          <a:ln>
            <a:noFill/>
          </a:ln>
        </p:spPr>
        <p:txBody>
          <a:bodyPr wrap="square" lIns="0" tIns="72000" rIns="0" bIns="0" rtlCol="0" anchor="t">
            <a:spAutoFit/>
          </a:bodyPr>
          <a:lstStyle/>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Custom Programs</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Optimize for SAP HANA</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Harmonize</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Consolidate</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Retire</a:t>
            </a:r>
          </a:p>
        </p:txBody>
      </p:sp>
      <p:sp>
        <p:nvSpPr>
          <p:cNvPr id="14" name="Textfeld 13">
            <a:extLst>
              <a:ext uri="{FF2B5EF4-FFF2-40B4-BE49-F238E27FC236}">
                <a16:creationId xmlns:a16="http://schemas.microsoft.com/office/drawing/2014/main" id="{7EDFBD62-4306-1642-B7BF-AB0F273A6EA8}"/>
              </a:ext>
            </a:extLst>
          </p:cNvPr>
          <p:cNvSpPr txBox="1"/>
          <p:nvPr/>
        </p:nvSpPr>
        <p:spPr>
          <a:xfrm>
            <a:off x="4311920" y="4438923"/>
            <a:ext cx="3582719" cy="1329457"/>
          </a:xfrm>
          <a:prstGeom prst="rect">
            <a:avLst/>
          </a:prstGeom>
          <a:noFill/>
          <a:ln>
            <a:noFill/>
          </a:ln>
        </p:spPr>
        <p:txBody>
          <a:bodyPr wrap="square" lIns="0" tIns="72000" rIns="0" bIns="0" rtlCol="0" anchor="t">
            <a:spAutoFit/>
          </a:bodyPr>
          <a:lstStyle/>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Transfer to the Cloud</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Virtualization</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OS/DB migration</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HANA adoption</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Hyperconverged infrastructure</a:t>
            </a:r>
          </a:p>
        </p:txBody>
      </p:sp>
      <p:sp>
        <p:nvSpPr>
          <p:cNvPr id="15" name="Textfeld 14">
            <a:extLst>
              <a:ext uri="{FF2B5EF4-FFF2-40B4-BE49-F238E27FC236}">
                <a16:creationId xmlns:a16="http://schemas.microsoft.com/office/drawing/2014/main" id="{F9DE01F6-9CCB-D543-8A1B-E47A371AFEDB}"/>
              </a:ext>
            </a:extLst>
          </p:cNvPr>
          <p:cNvSpPr txBox="1"/>
          <p:nvPr/>
        </p:nvSpPr>
        <p:spPr>
          <a:xfrm>
            <a:off x="8183562" y="4438923"/>
            <a:ext cx="3600450" cy="1585938"/>
          </a:xfrm>
          <a:prstGeom prst="rect">
            <a:avLst/>
          </a:prstGeom>
          <a:noFill/>
          <a:ln>
            <a:noFill/>
          </a:ln>
        </p:spPr>
        <p:txBody>
          <a:bodyPr wrap="square" lIns="0" tIns="72000" rIns="0" bIns="0" rtlCol="0" anchor="t">
            <a:spAutoFit/>
          </a:bodyPr>
          <a:lstStyle/>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Technical</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Unicode conversion</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Single code </a:t>
            </a:r>
            <a:r>
              <a:rPr lang="en-US" sz="1150" dirty="0">
                <a:solidFill>
                  <a:srgbClr val="FFFFFF"/>
                </a:solidFill>
                <a:latin typeface="Univers" panose="020B0503020202020204" pitchFamily="34" charset="0"/>
                <a:cs typeface="Arial" panose="020B0604020202020204" pitchFamily="34" charset="0"/>
              </a:rPr>
              <a:t>p</a:t>
            </a: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age</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Multi-code </a:t>
            </a:r>
            <a:r>
              <a:rPr lang="en-US" sz="1150" dirty="0">
                <a:solidFill>
                  <a:srgbClr val="FFFFFF"/>
                </a:solidFill>
                <a:latin typeface="Univers" panose="020B0503020202020204" pitchFamily="34" charset="0"/>
                <a:cs typeface="Arial" panose="020B0604020202020204" pitchFamily="34" charset="0"/>
              </a:rPr>
              <a:t>p</a:t>
            </a: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age</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Byte order </a:t>
            </a:r>
            <a:r>
              <a:rPr lang="en-US" sz="1150" dirty="0">
                <a:solidFill>
                  <a:srgbClr val="FFFFFF"/>
                </a:solidFill>
                <a:latin typeface="Univers" panose="020B0503020202020204" pitchFamily="34" charset="0"/>
                <a:cs typeface="Arial" panose="020B0604020202020204" pitchFamily="34" charset="0"/>
              </a:rPr>
              <a:t>conversion</a:t>
            </a:r>
            <a:endPar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endParaRP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Near</a:t>
            </a:r>
            <a:r>
              <a:rPr lang="en-US" sz="1150" dirty="0">
                <a:solidFill>
                  <a:srgbClr val="FFFFFF"/>
                </a:solidFill>
                <a:latin typeface="Univers" panose="020B0503020202020204" pitchFamily="34" charset="0"/>
                <a:cs typeface="Arial" panose="020B0604020202020204" pitchFamily="34" charset="0"/>
              </a:rPr>
              <a:t>-</a:t>
            </a: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Zero Downtime</a:t>
            </a:r>
          </a:p>
        </p:txBody>
      </p:sp>
      <p:sp>
        <p:nvSpPr>
          <p:cNvPr id="16" name="Textfeld 15">
            <a:extLst>
              <a:ext uri="{FF2B5EF4-FFF2-40B4-BE49-F238E27FC236}">
                <a16:creationId xmlns:a16="http://schemas.microsoft.com/office/drawing/2014/main" id="{C504332E-E22F-4F4B-9846-CC4302CEBB73}"/>
              </a:ext>
            </a:extLst>
          </p:cNvPr>
          <p:cNvSpPr txBox="1"/>
          <p:nvPr/>
        </p:nvSpPr>
        <p:spPr>
          <a:xfrm>
            <a:off x="406399" y="2963639"/>
            <a:ext cx="3600450" cy="1329457"/>
          </a:xfrm>
          <a:prstGeom prst="rect">
            <a:avLst/>
          </a:prstGeom>
          <a:noFill/>
          <a:ln>
            <a:noFill/>
          </a:ln>
        </p:spPr>
        <p:txBody>
          <a:bodyPr wrap="square" lIns="0" tIns="72000" rIns="0" bIns="0" rtlCol="0" anchor="t">
            <a:spAutoFit/>
          </a:bodyPr>
          <a:lstStyle/>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Consolidation</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System merge</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Any-to-any</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Single harmonized processes</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Retire redundant systems</a:t>
            </a:r>
          </a:p>
        </p:txBody>
      </p:sp>
      <p:sp>
        <p:nvSpPr>
          <p:cNvPr id="17" name="Textfeld 16">
            <a:extLst>
              <a:ext uri="{FF2B5EF4-FFF2-40B4-BE49-F238E27FC236}">
                <a16:creationId xmlns:a16="http://schemas.microsoft.com/office/drawing/2014/main" id="{C7C83C57-1FD4-2F49-AEF1-FB18CF1D8E34}"/>
              </a:ext>
            </a:extLst>
          </p:cNvPr>
          <p:cNvSpPr txBox="1"/>
          <p:nvPr/>
        </p:nvSpPr>
        <p:spPr>
          <a:xfrm>
            <a:off x="4305004" y="1458556"/>
            <a:ext cx="3584297" cy="847274"/>
          </a:xfrm>
          <a:prstGeom prst="rect">
            <a:avLst/>
          </a:prstGeom>
          <a:noFill/>
          <a:ln>
            <a:noFill/>
          </a:ln>
        </p:spPr>
        <p:txBody>
          <a:bodyPr wrap="square" lIns="0" tIns="72000" rIns="0" bIns="0" rtlCol="0" anchor="t">
            <a:spAutoFit/>
          </a:bodyPr>
          <a:lstStyle/>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Chart of Accounts</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Standardization</a:t>
            </a:r>
          </a:p>
          <a:p>
            <a:pPr marL="0" marR="0" lvl="0" indent="0" algn="l" defTabSz="1219078" rtl="0" eaLnBrk="1" fontAlgn="auto" latinLnBrk="0" hangingPunct="1">
              <a:lnSpc>
                <a:spcPct val="100000"/>
              </a:lnSpc>
              <a:spcBef>
                <a:spcPts val="0"/>
              </a:spcBef>
              <a:spcAft>
                <a:spcPts val="500"/>
              </a:spcAft>
              <a:buClrTx/>
              <a:buSzTx/>
              <a:buFontTx/>
              <a:buNone/>
              <a:tabLst/>
              <a:defRPr/>
            </a:pPr>
            <a:r>
              <a:rPr kumimoji="0" lang="en-US" sz="1150" b="0" i="0" u="none" strike="noStrike" kern="1200" cap="none" spc="0" normalizeH="0" baseline="0" noProof="0" dirty="0">
                <a:ln>
                  <a:noFill/>
                </a:ln>
                <a:solidFill>
                  <a:srgbClr val="FFFFFF"/>
                </a:solidFill>
                <a:effectLst/>
                <a:uLnTx/>
                <a:uFillTx/>
                <a:latin typeface="Univers" panose="020B0503020202020204" pitchFamily="34" charset="0"/>
                <a:ea typeface="+mn-ea"/>
                <a:cs typeface="Arial" panose="020B0604020202020204" pitchFamily="34" charset="0"/>
              </a:rPr>
              <a:t>Uniform COA</a:t>
            </a:r>
          </a:p>
        </p:txBody>
      </p:sp>
      <p:cxnSp>
        <p:nvCxnSpPr>
          <p:cNvPr id="18" name="Gerade Verbindung 17">
            <a:extLst>
              <a:ext uri="{FF2B5EF4-FFF2-40B4-BE49-F238E27FC236}">
                <a16:creationId xmlns:a16="http://schemas.microsoft.com/office/drawing/2014/main" id="{15B1A357-AAE2-5F4F-9F46-CBCB41296109}"/>
              </a:ext>
            </a:extLst>
          </p:cNvPr>
          <p:cNvCxnSpPr/>
          <p:nvPr/>
        </p:nvCxnSpPr>
        <p:spPr>
          <a:xfrm>
            <a:off x="406399" y="1449388"/>
            <a:ext cx="360045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0F5B957C-D4BE-B448-806E-E35BEF9010A5}"/>
              </a:ext>
            </a:extLst>
          </p:cNvPr>
          <p:cNvCxnSpPr/>
          <p:nvPr/>
        </p:nvCxnSpPr>
        <p:spPr>
          <a:xfrm>
            <a:off x="4311920" y="1449388"/>
            <a:ext cx="360045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A8DD545E-7694-CF42-A937-BD1855AC3A09}"/>
              </a:ext>
            </a:extLst>
          </p:cNvPr>
          <p:cNvCxnSpPr/>
          <p:nvPr/>
        </p:nvCxnSpPr>
        <p:spPr>
          <a:xfrm>
            <a:off x="8192654" y="1449388"/>
            <a:ext cx="360045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Gerade Verbindung 20">
            <a:extLst>
              <a:ext uri="{FF2B5EF4-FFF2-40B4-BE49-F238E27FC236}">
                <a16:creationId xmlns:a16="http://schemas.microsoft.com/office/drawing/2014/main" id="{E042D75A-9BA4-984A-B63A-4336F6E56890}"/>
              </a:ext>
            </a:extLst>
          </p:cNvPr>
          <p:cNvCxnSpPr/>
          <p:nvPr/>
        </p:nvCxnSpPr>
        <p:spPr>
          <a:xfrm>
            <a:off x="406399" y="2954618"/>
            <a:ext cx="360045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Gerade Verbindung 21">
            <a:extLst>
              <a:ext uri="{FF2B5EF4-FFF2-40B4-BE49-F238E27FC236}">
                <a16:creationId xmlns:a16="http://schemas.microsoft.com/office/drawing/2014/main" id="{113E0B0A-6D02-9943-B713-3D708C8663D1}"/>
              </a:ext>
            </a:extLst>
          </p:cNvPr>
          <p:cNvCxnSpPr/>
          <p:nvPr/>
        </p:nvCxnSpPr>
        <p:spPr>
          <a:xfrm>
            <a:off x="4311920" y="2954618"/>
            <a:ext cx="360045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 Verbindung 22">
            <a:extLst>
              <a:ext uri="{FF2B5EF4-FFF2-40B4-BE49-F238E27FC236}">
                <a16:creationId xmlns:a16="http://schemas.microsoft.com/office/drawing/2014/main" id="{A7979A31-85C4-DE44-BB77-A44717C7F161}"/>
              </a:ext>
            </a:extLst>
          </p:cNvPr>
          <p:cNvCxnSpPr/>
          <p:nvPr/>
        </p:nvCxnSpPr>
        <p:spPr>
          <a:xfrm>
            <a:off x="8192654" y="2954618"/>
            <a:ext cx="360045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 Verbindung 23">
            <a:extLst>
              <a:ext uri="{FF2B5EF4-FFF2-40B4-BE49-F238E27FC236}">
                <a16:creationId xmlns:a16="http://schemas.microsoft.com/office/drawing/2014/main" id="{42F3787C-FD38-C648-8D01-22E9CB7F3F72}"/>
              </a:ext>
            </a:extLst>
          </p:cNvPr>
          <p:cNvCxnSpPr/>
          <p:nvPr/>
        </p:nvCxnSpPr>
        <p:spPr>
          <a:xfrm>
            <a:off x="406399" y="4437112"/>
            <a:ext cx="360045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Gerade Verbindung 24">
            <a:extLst>
              <a:ext uri="{FF2B5EF4-FFF2-40B4-BE49-F238E27FC236}">
                <a16:creationId xmlns:a16="http://schemas.microsoft.com/office/drawing/2014/main" id="{E7AE9447-7C39-964A-821B-1DB79CB043D5}"/>
              </a:ext>
            </a:extLst>
          </p:cNvPr>
          <p:cNvCxnSpPr/>
          <p:nvPr/>
        </p:nvCxnSpPr>
        <p:spPr>
          <a:xfrm>
            <a:off x="4311920" y="4437112"/>
            <a:ext cx="360045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Gerade Verbindung 25">
            <a:extLst>
              <a:ext uri="{FF2B5EF4-FFF2-40B4-BE49-F238E27FC236}">
                <a16:creationId xmlns:a16="http://schemas.microsoft.com/office/drawing/2014/main" id="{3DF23EE8-4FDF-7643-A444-DE9F3F4B4FE3}"/>
              </a:ext>
            </a:extLst>
          </p:cNvPr>
          <p:cNvCxnSpPr/>
          <p:nvPr/>
        </p:nvCxnSpPr>
        <p:spPr>
          <a:xfrm>
            <a:off x="8192654" y="4437112"/>
            <a:ext cx="360045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itel 5">
            <a:extLst>
              <a:ext uri="{FF2B5EF4-FFF2-40B4-BE49-F238E27FC236}">
                <a16:creationId xmlns:a16="http://schemas.microsoft.com/office/drawing/2014/main" id="{58F6810A-123C-424D-95AB-CAC327633B1F}"/>
              </a:ext>
            </a:extLst>
          </p:cNvPr>
          <p:cNvSpPr txBox="1">
            <a:spLocks/>
          </p:cNvSpPr>
          <p:nvPr/>
        </p:nvSpPr>
        <p:spPr>
          <a:xfrm>
            <a:off x="406399" y="342586"/>
            <a:ext cx="10704617" cy="936000"/>
          </a:xfrm>
          <a:prstGeom prst="rect">
            <a:avLst/>
          </a:prstGeom>
        </p:spPr>
        <p:txBody>
          <a:bodyPr vert="horz" lIns="0" tIns="0" rIns="0" bIns="0" rtlCol="0" anchor="t" anchorCtr="0">
            <a:noAutofit/>
          </a:bodyPr>
          <a:lstStyle>
            <a:lvl1pPr algn="l" defTabSz="1219078" rtl="0" eaLnBrk="1" latinLnBrk="0" hangingPunct="1">
              <a:lnSpc>
                <a:spcPct val="90000"/>
              </a:lnSpc>
              <a:spcBef>
                <a:spcPct val="0"/>
              </a:spcBef>
              <a:buNone/>
              <a:defRPr sz="2600" b="0" kern="1200" baseline="0">
                <a:solidFill>
                  <a:schemeClr val="tx1"/>
                </a:solidFill>
                <a:latin typeface="Univers" panose="020B0503020202020204" pitchFamily="34" charset="0"/>
                <a:ea typeface="+mj-ea"/>
                <a:cs typeface="+mj-cs"/>
              </a:defRPr>
            </a:lvl1pPr>
          </a:lstStyle>
          <a:p>
            <a:pPr marL="0" marR="0" lvl="0" indent="0" algn="l" defTabSz="1219078"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dirty="0">
                <a:ln>
                  <a:noFill/>
                </a:ln>
                <a:solidFill>
                  <a:srgbClr val="FFFFFF"/>
                </a:solidFill>
                <a:effectLst/>
                <a:uLnTx/>
                <a:uFillTx/>
                <a:latin typeface="Univers" panose="020B0503020202020204" pitchFamily="34" charset="0"/>
                <a:ea typeface="+mj-ea"/>
                <a:cs typeface="+mj-cs"/>
              </a:rPr>
              <a:t>Enable FULL Digital Re-Invention with SNP BLUEFIELD</a:t>
            </a:r>
            <a:r>
              <a:rPr kumimoji="0" lang="en-US" sz="2000" b="0" i="0" u="none" strike="noStrike" kern="1200" cap="none" spc="0" normalizeH="0" baseline="64000" noProof="0" dirty="0">
                <a:ln>
                  <a:noFill/>
                </a:ln>
                <a:solidFill>
                  <a:srgbClr val="FFFFFF"/>
                </a:solidFill>
                <a:effectLst/>
                <a:uLnTx/>
                <a:uFillTx/>
                <a:latin typeface="Univers" panose="020B0503020202020204" pitchFamily="34" charset="0"/>
                <a:ea typeface="+mj-ea"/>
                <a:cs typeface="+mj-cs"/>
              </a:rPr>
              <a:t>TM</a:t>
            </a:r>
            <a:endParaRPr kumimoji="0" lang="en-US" sz="2600" b="0" i="0" u="none" strike="noStrike" kern="1200" cap="none" spc="0" normalizeH="0" baseline="0" noProof="0" dirty="0">
              <a:ln>
                <a:noFill/>
              </a:ln>
              <a:solidFill>
                <a:srgbClr val="FFFFFF"/>
              </a:solidFill>
              <a:effectLst/>
              <a:uLnTx/>
              <a:uFillTx/>
              <a:latin typeface="Univers" panose="020B0503020202020204" pitchFamily="34" charset="0"/>
              <a:ea typeface="+mj-ea"/>
              <a:cs typeface="+mj-cs"/>
            </a:endParaRPr>
          </a:p>
        </p:txBody>
      </p:sp>
      <p:pic>
        <p:nvPicPr>
          <p:cNvPr id="28" name="Picture 27">
            <a:extLst>
              <a:ext uri="{FF2B5EF4-FFF2-40B4-BE49-F238E27FC236}">
                <a16:creationId xmlns:a16="http://schemas.microsoft.com/office/drawing/2014/main" id="{8282449E-C50C-43AC-8644-AAD3DF9956A0}"/>
              </a:ext>
            </a:extLst>
          </p:cNvPr>
          <p:cNvPicPr>
            <a:picLocks noChangeAspect="1"/>
          </p:cNvPicPr>
          <p:nvPr/>
        </p:nvPicPr>
        <p:blipFill>
          <a:blip r:embed="rId3"/>
          <a:stretch>
            <a:fillRect/>
          </a:stretch>
        </p:blipFill>
        <p:spPr>
          <a:xfrm>
            <a:off x="9994951" y="384669"/>
            <a:ext cx="1311958" cy="411043"/>
          </a:xfrm>
          <a:prstGeom prst="rect">
            <a:avLst/>
          </a:prstGeom>
        </p:spPr>
      </p:pic>
    </p:spTree>
    <p:extLst>
      <p:ext uri="{BB962C8B-B14F-4D97-AF65-F5344CB8AC3E}">
        <p14:creationId xmlns:p14="http://schemas.microsoft.com/office/powerpoint/2010/main" val="2229856408"/>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BAA9671C-AF6A-0343-B340-5E1707605D6C}"/>
              </a:ext>
            </a:extLst>
          </p:cNvPr>
          <p:cNvSpPr>
            <a:spLocks noGrp="1"/>
          </p:cNvSpPr>
          <p:nvPr>
            <p:ph type="dt" sz="half" idx="10"/>
          </p:nvPr>
        </p:nvSpPr>
        <p:spPr/>
        <p:txBody>
          <a:bodyPr/>
          <a:lstStyle/>
          <a:p>
            <a:r>
              <a:rPr lang="en-US">
                <a:solidFill>
                  <a:srgbClr val="6F6F6F"/>
                </a:solidFill>
              </a:rPr>
              <a:t>21/08/2019</a:t>
            </a:r>
            <a:endParaRPr lang="en-US" dirty="0">
              <a:solidFill>
                <a:srgbClr val="6F6F6F"/>
              </a:solidFill>
            </a:endParaRPr>
          </a:p>
        </p:txBody>
      </p:sp>
      <p:sp>
        <p:nvSpPr>
          <p:cNvPr id="4" name="Foliennummernplatzhalter 3">
            <a:extLst>
              <a:ext uri="{FF2B5EF4-FFF2-40B4-BE49-F238E27FC236}">
                <a16:creationId xmlns:a16="http://schemas.microsoft.com/office/drawing/2014/main" id="{596640FC-9F7B-C749-9BAE-4D2DDD0847ED}"/>
              </a:ext>
            </a:extLst>
          </p:cNvPr>
          <p:cNvSpPr>
            <a:spLocks noGrp="1"/>
          </p:cNvSpPr>
          <p:nvPr>
            <p:ph type="sldNum" sz="quarter" idx="11"/>
          </p:nvPr>
        </p:nvSpPr>
        <p:spPr>
          <a:xfrm>
            <a:off x="11111017" y="6501507"/>
            <a:ext cx="672996" cy="180000"/>
          </a:xfrm>
        </p:spPr>
        <p:txBody>
          <a:bodyPr/>
          <a:lstStyle/>
          <a:p>
            <a:fld id="{221F1D72-F2AC-4B6E-A46C-E63D2CF40C7B}" type="slidenum">
              <a:rPr lang="en-US" smtClean="0">
                <a:solidFill>
                  <a:srgbClr val="6F6F6F"/>
                </a:solidFill>
              </a:rPr>
              <a:pPr/>
              <a:t>17</a:t>
            </a:fld>
            <a:endParaRPr lang="en-US" dirty="0">
              <a:solidFill>
                <a:srgbClr val="6F6F6F"/>
              </a:solidFill>
            </a:endParaRPr>
          </a:p>
        </p:txBody>
      </p:sp>
      <p:sp>
        <p:nvSpPr>
          <p:cNvPr id="5" name="Fußzeilenplatzhalter 4">
            <a:extLst>
              <a:ext uri="{FF2B5EF4-FFF2-40B4-BE49-F238E27FC236}">
                <a16:creationId xmlns:a16="http://schemas.microsoft.com/office/drawing/2014/main" id="{9D1F0335-6701-464F-8742-DDE7D038C295}"/>
              </a:ext>
            </a:extLst>
          </p:cNvPr>
          <p:cNvSpPr>
            <a:spLocks noGrp="1"/>
          </p:cNvSpPr>
          <p:nvPr>
            <p:ph type="ftr" sz="quarter" idx="12"/>
          </p:nvPr>
        </p:nvSpPr>
        <p:spPr>
          <a:xfrm>
            <a:off x="1054646" y="6501507"/>
            <a:ext cx="4896000" cy="180000"/>
          </a:xfrm>
        </p:spPr>
        <p:txBody>
          <a:bodyPr/>
          <a:lstStyle/>
          <a:p>
            <a:r>
              <a:rPr lang="en-US">
                <a:solidFill>
                  <a:srgbClr val="6F6F6F"/>
                </a:solidFill>
              </a:rPr>
              <a:t>NZSUG Auckland Event + SAP Forum</a:t>
            </a:r>
            <a:endParaRPr lang="en-US" dirty="0">
              <a:solidFill>
                <a:srgbClr val="6F6F6F"/>
              </a:solidFill>
            </a:endParaRPr>
          </a:p>
        </p:txBody>
      </p:sp>
      <p:pic>
        <p:nvPicPr>
          <p:cNvPr id="8" name="Grafik 7">
            <a:extLst>
              <a:ext uri="{FF2B5EF4-FFF2-40B4-BE49-F238E27FC236}">
                <a16:creationId xmlns:a16="http://schemas.microsoft.com/office/drawing/2014/main" id="{87799239-E01F-5E4E-BE16-2374903A684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03118" y="342586"/>
            <a:ext cx="1849264" cy="1169163"/>
          </a:xfrm>
          <a:prstGeom prst="rect">
            <a:avLst/>
          </a:prstGeom>
        </p:spPr>
      </p:pic>
      <p:sp>
        <p:nvSpPr>
          <p:cNvPr id="9" name="Textfeld 8">
            <a:extLst>
              <a:ext uri="{FF2B5EF4-FFF2-40B4-BE49-F238E27FC236}">
                <a16:creationId xmlns:a16="http://schemas.microsoft.com/office/drawing/2014/main" id="{835B06ED-95F6-0C49-A4C9-77808727AF77}"/>
              </a:ext>
            </a:extLst>
          </p:cNvPr>
          <p:cNvSpPr txBox="1"/>
          <p:nvPr/>
        </p:nvSpPr>
        <p:spPr>
          <a:xfrm>
            <a:off x="9609667" y="3522853"/>
            <a:ext cx="0" cy="0"/>
          </a:xfrm>
          <a:prstGeom prst="rect">
            <a:avLst/>
          </a:prstGeom>
          <a:noFill/>
        </p:spPr>
        <p:txBody>
          <a:bodyPr wrap="none" lIns="36000" tIns="36000" rIns="36000" bIns="36000" rtlCol="0" anchor="t" anchorCtr="0">
            <a:noAutofit/>
          </a:bodyPr>
          <a:lstStyle/>
          <a:p>
            <a:pPr algn="l"/>
            <a:endParaRPr lang="en-US" sz="1800" dirty="0">
              <a:solidFill>
                <a:schemeClr val="bg2">
                  <a:lumMod val="25000"/>
                </a:schemeClr>
              </a:solidFill>
            </a:endParaRPr>
          </a:p>
        </p:txBody>
      </p:sp>
      <p:sp>
        <p:nvSpPr>
          <p:cNvPr id="10" name="Rechteck 9">
            <a:extLst>
              <a:ext uri="{FF2B5EF4-FFF2-40B4-BE49-F238E27FC236}">
                <a16:creationId xmlns:a16="http://schemas.microsoft.com/office/drawing/2014/main" id="{6526A8A6-2566-4947-839E-8B33CBB08659}"/>
              </a:ext>
            </a:extLst>
          </p:cNvPr>
          <p:cNvSpPr/>
          <p:nvPr/>
        </p:nvSpPr>
        <p:spPr>
          <a:xfrm>
            <a:off x="363928" y="1994001"/>
            <a:ext cx="5689802" cy="264729"/>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algn="ctr"/>
            <a:r>
              <a:rPr lang="en-US" sz="1400" b="1" dirty="0">
                <a:solidFill>
                  <a:schemeClr val="bg2">
                    <a:lumMod val="25000"/>
                  </a:schemeClr>
                </a:solidFill>
              </a:rPr>
              <a:t>ANALYZE</a:t>
            </a:r>
          </a:p>
        </p:txBody>
      </p:sp>
      <p:sp>
        <p:nvSpPr>
          <p:cNvPr id="11" name="Rechteck 10">
            <a:extLst>
              <a:ext uri="{FF2B5EF4-FFF2-40B4-BE49-F238E27FC236}">
                <a16:creationId xmlns:a16="http://schemas.microsoft.com/office/drawing/2014/main" id="{789D07D2-84D2-4444-A65E-B3A3ADE560D1}"/>
              </a:ext>
            </a:extLst>
          </p:cNvPr>
          <p:cNvSpPr/>
          <p:nvPr/>
        </p:nvSpPr>
        <p:spPr>
          <a:xfrm>
            <a:off x="6112583" y="1998744"/>
            <a:ext cx="3730916" cy="264729"/>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algn="ctr"/>
            <a:r>
              <a:rPr lang="en-US" sz="1400" b="1" dirty="0">
                <a:solidFill>
                  <a:schemeClr val="tx2"/>
                </a:solidFill>
              </a:rPr>
              <a:t>TRANSFORM</a:t>
            </a:r>
          </a:p>
        </p:txBody>
      </p:sp>
      <p:sp>
        <p:nvSpPr>
          <p:cNvPr id="12" name="Rechteck 11">
            <a:extLst>
              <a:ext uri="{FF2B5EF4-FFF2-40B4-BE49-F238E27FC236}">
                <a16:creationId xmlns:a16="http://schemas.microsoft.com/office/drawing/2014/main" id="{6E3BB73C-564C-124A-95A2-CC0641614A26}"/>
              </a:ext>
            </a:extLst>
          </p:cNvPr>
          <p:cNvSpPr/>
          <p:nvPr/>
        </p:nvSpPr>
        <p:spPr>
          <a:xfrm>
            <a:off x="9915153" y="1994001"/>
            <a:ext cx="1848893" cy="264728"/>
          </a:xfrm>
          <a:prstGeom prst="rect">
            <a:avLst/>
          </a:prstGeom>
          <a:noFill/>
          <a:ln w="12700">
            <a:noFill/>
          </a:ln>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algn="ctr"/>
            <a:r>
              <a:rPr lang="en-US" sz="1400" b="1" dirty="0">
                <a:solidFill>
                  <a:schemeClr val="accent2">
                    <a:lumMod val="75000"/>
                  </a:schemeClr>
                </a:solidFill>
              </a:rPr>
              <a:t>VERIFY</a:t>
            </a:r>
          </a:p>
        </p:txBody>
      </p:sp>
      <p:sp>
        <p:nvSpPr>
          <p:cNvPr id="13" name="Richtungspfeil 12">
            <a:extLst>
              <a:ext uri="{FF2B5EF4-FFF2-40B4-BE49-F238E27FC236}">
                <a16:creationId xmlns:a16="http://schemas.microsoft.com/office/drawing/2014/main" id="{9B01DC7E-12D5-9A4C-BD91-1C7793460FB1}"/>
              </a:ext>
            </a:extLst>
          </p:cNvPr>
          <p:cNvSpPr/>
          <p:nvPr/>
        </p:nvSpPr>
        <p:spPr>
          <a:xfrm>
            <a:off x="406400" y="1994001"/>
            <a:ext cx="5634529" cy="264728"/>
          </a:xfrm>
          <a:prstGeom prst="homePlate">
            <a:avLst/>
          </a:prstGeom>
          <a:noFill/>
          <a:ln w="12700">
            <a:gradFill>
              <a:gsLst>
                <a:gs pos="2000">
                  <a:schemeClr val="bg1"/>
                </a:gs>
                <a:gs pos="100000">
                  <a:schemeClr val="bg2">
                    <a:lumMod val="2500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14" name="Richtungspfeil 13">
            <a:extLst>
              <a:ext uri="{FF2B5EF4-FFF2-40B4-BE49-F238E27FC236}">
                <a16:creationId xmlns:a16="http://schemas.microsoft.com/office/drawing/2014/main" id="{BD8FE32E-E6EC-E549-8AE7-C100F87329D5}"/>
              </a:ext>
            </a:extLst>
          </p:cNvPr>
          <p:cNvSpPr/>
          <p:nvPr/>
        </p:nvSpPr>
        <p:spPr>
          <a:xfrm>
            <a:off x="6112583" y="1994000"/>
            <a:ext cx="3730916" cy="264728"/>
          </a:xfrm>
          <a:prstGeom prst="homePlate">
            <a:avLst/>
          </a:prstGeom>
          <a:noFill/>
          <a:ln w="12700">
            <a:gradFill>
              <a:gsLst>
                <a:gs pos="2000">
                  <a:schemeClr val="bg1"/>
                </a:gs>
                <a:gs pos="99000">
                  <a:schemeClr val="tx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15" name="Rechteck 6">
            <a:extLst>
              <a:ext uri="{FF2B5EF4-FFF2-40B4-BE49-F238E27FC236}">
                <a16:creationId xmlns:a16="http://schemas.microsoft.com/office/drawing/2014/main" id="{2A692D18-EABE-454D-9067-3A212483F4DF}"/>
              </a:ext>
            </a:extLst>
          </p:cNvPr>
          <p:cNvSpPr>
            <a:spLocks/>
          </p:cNvSpPr>
          <p:nvPr/>
        </p:nvSpPr>
        <p:spPr>
          <a:xfrm>
            <a:off x="4204837" y="2370083"/>
            <a:ext cx="1848893" cy="271990"/>
          </a:xfrm>
          <a:prstGeom prst="rect">
            <a:avLst/>
          </a:prstGeom>
          <a:noFill/>
          <a:ln>
            <a:noFill/>
          </a:ln>
        </p:spPr>
        <p:txBody>
          <a:bodyPr wrap="square" lIns="0" tIns="0" rIns="0" bIns="0" rtlCol="0" anchor="t" anchorCtr="0">
            <a:noAutofit/>
          </a:bodyPr>
          <a:lstStyle/>
          <a:p>
            <a:pPr marL="0" marR="0" lvl="0" indent="0" defTabSz="1219078" rtl="0" eaLnBrk="1" fontAlgn="auto" latinLnBrk="0" hangingPunct="1">
              <a:lnSpc>
                <a:spcPct val="100000"/>
              </a:lnSpc>
              <a:spcBef>
                <a:spcPts val="600"/>
              </a:spcBef>
              <a:spcAft>
                <a:spcPts val="0"/>
              </a:spcAft>
              <a:buClrTx/>
              <a:buSzTx/>
              <a:buFontTx/>
              <a:buNone/>
              <a:tabLst/>
              <a:defRPr/>
            </a:pPr>
            <a:r>
              <a:rPr kumimoji="0" lang="en-US" sz="1350" b="1" i="0" u="none" strike="noStrike" kern="1200" cap="none" spc="0" normalizeH="0" baseline="0" noProof="0" dirty="0">
                <a:ln>
                  <a:noFill/>
                </a:ln>
                <a:solidFill>
                  <a:schemeClr val="bg2">
                    <a:lumMod val="25000"/>
                  </a:schemeClr>
                </a:solidFill>
                <a:effectLst/>
                <a:uLnTx/>
                <a:uFillTx/>
                <a:latin typeface="Univers" panose="020B0503020202020204" pitchFamily="34" charset="0"/>
              </a:rPr>
              <a:t>SNP Interface Scanner</a:t>
            </a:r>
            <a:br>
              <a:rPr kumimoji="0" lang="en-US" sz="1350" b="0" i="0" u="none" strike="noStrike" kern="1200" cap="none" spc="0" normalizeH="0" baseline="0" noProof="0" dirty="0">
                <a:ln>
                  <a:noFill/>
                </a:ln>
                <a:solidFill>
                  <a:schemeClr val="bg2">
                    <a:lumMod val="25000"/>
                  </a:schemeClr>
                </a:solidFill>
                <a:effectLst/>
                <a:uLnTx/>
                <a:uFillTx/>
                <a:latin typeface="Univers" panose="020B0503020202020204" pitchFamily="34" charset="0"/>
              </a:rPr>
            </a:br>
            <a:endParaRPr kumimoji="0" lang="en-US" sz="1350" b="0" i="0" u="none" strike="noStrike" kern="1200" cap="none" spc="0" normalizeH="0" baseline="0" noProof="0" dirty="0">
              <a:ln>
                <a:noFill/>
              </a:ln>
              <a:solidFill>
                <a:schemeClr val="bg2">
                  <a:lumMod val="25000"/>
                </a:schemeClr>
              </a:solidFill>
              <a:effectLst/>
              <a:uLnTx/>
              <a:uFillTx/>
              <a:latin typeface="Univers" panose="020B0503020202020204" pitchFamily="34" charset="0"/>
            </a:endParaRPr>
          </a:p>
        </p:txBody>
      </p:sp>
      <p:sp>
        <p:nvSpPr>
          <p:cNvPr id="16" name="Rechteck 6">
            <a:extLst>
              <a:ext uri="{FF2B5EF4-FFF2-40B4-BE49-F238E27FC236}">
                <a16:creationId xmlns:a16="http://schemas.microsoft.com/office/drawing/2014/main" id="{AD4C85AB-A998-D949-A466-1AF44A4288B2}"/>
              </a:ext>
            </a:extLst>
          </p:cNvPr>
          <p:cNvSpPr>
            <a:spLocks/>
          </p:cNvSpPr>
          <p:nvPr/>
        </p:nvSpPr>
        <p:spPr>
          <a:xfrm>
            <a:off x="2336588" y="2364038"/>
            <a:ext cx="1795411" cy="278036"/>
          </a:xfrm>
          <a:prstGeom prst="rect">
            <a:avLst/>
          </a:prstGeom>
          <a:noFill/>
          <a:ln>
            <a:noFill/>
          </a:ln>
        </p:spPr>
        <p:txBody>
          <a:bodyPr wrap="square" lIns="0" tIns="0" rIns="0" bIns="0" rtlCol="0" anchor="t" anchorCtr="0">
            <a:noAutofit/>
          </a:bodyPr>
          <a:lstStyle/>
          <a:p>
            <a:pPr marL="0" marR="0" lvl="0" indent="0" defTabSz="1219078" rtl="0" eaLnBrk="1" fontAlgn="auto" latinLnBrk="0" hangingPunct="1">
              <a:lnSpc>
                <a:spcPct val="100000"/>
              </a:lnSpc>
              <a:spcBef>
                <a:spcPts val="600"/>
              </a:spcBef>
              <a:spcAft>
                <a:spcPts val="0"/>
              </a:spcAft>
              <a:buClrTx/>
              <a:buSzTx/>
              <a:buFontTx/>
              <a:buNone/>
              <a:tabLst/>
              <a:defRPr/>
            </a:pPr>
            <a:r>
              <a:rPr kumimoji="0" lang="en-US" sz="1350" b="1" i="0" u="none" strike="noStrike" kern="1200" cap="none" spc="0" normalizeH="0" baseline="0" noProof="0" dirty="0">
                <a:ln>
                  <a:noFill/>
                </a:ln>
                <a:solidFill>
                  <a:schemeClr val="bg2">
                    <a:lumMod val="25000"/>
                  </a:schemeClr>
                </a:solidFill>
                <a:effectLst/>
                <a:uLnTx/>
                <a:uFillTx/>
                <a:latin typeface="Univers" panose="020B0503020202020204" pitchFamily="34" charset="0"/>
              </a:rPr>
              <a:t>Landscape</a:t>
            </a:r>
            <a:br>
              <a:rPr kumimoji="0" lang="en-US" sz="1350" b="1" i="0" u="none" strike="noStrike" kern="1200" cap="none" spc="0" normalizeH="0" baseline="0" noProof="0" dirty="0">
                <a:ln>
                  <a:noFill/>
                </a:ln>
                <a:solidFill>
                  <a:schemeClr val="bg2">
                    <a:lumMod val="25000"/>
                  </a:schemeClr>
                </a:solidFill>
                <a:effectLst/>
                <a:uLnTx/>
                <a:uFillTx/>
                <a:latin typeface="Univers" panose="020B0503020202020204" pitchFamily="34" charset="0"/>
              </a:rPr>
            </a:br>
            <a:r>
              <a:rPr lang="en-US" sz="1350" b="1" dirty="0">
                <a:solidFill>
                  <a:schemeClr val="bg2">
                    <a:lumMod val="25000"/>
                  </a:schemeClr>
                </a:solidFill>
                <a:latin typeface="Univers" panose="020B0503020202020204" pitchFamily="34" charset="0"/>
              </a:rPr>
              <a:t>Analysis</a:t>
            </a:r>
            <a:endParaRPr kumimoji="0" lang="en-US" sz="1350" b="1" i="0" u="none" strike="noStrike" kern="1200" cap="none" spc="0" normalizeH="0" baseline="0" noProof="0" dirty="0">
              <a:ln>
                <a:noFill/>
              </a:ln>
              <a:solidFill>
                <a:schemeClr val="bg2">
                  <a:lumMod val="25000"/>
                </a:schemeClr>
              </a:solidFill>
              <a:effectLst/>
              <a:uLnTx/>
              <a:uFillTx/>
              <a:latin typeface="Univers" panose="020B0503020202020204" pitchFamily="34" charset="0"/>
            </a:endParaRPr>
          </a:p>
        </p:txBody>
      </p:sp>
      <p:sp>
        <p:nvSpPr>
          <p:cNvPr id="17" name="Rechteck 6">
            <a:extLst>
              <a:ext uri="{FF2B5EF4-FFF2-40B4-BE49-F238E27FC236}">
                <a16:creationId xmlns:a16="http://schemas.microsoft.com/office/drawing/2014/main" id="{0558824C-B3E9-344B-95A4-0A392166E46A}"/>
              </a:ext>
            </a:extLst>
          </p:cNvPr>
          <p:cNvSpPr>
            <a:spLocks/>
          </p:cNvSpPr>
          <p:nvPr/>
        </p:nvSpPr>
        <p:spPr>
          <a:xfrm>
            <a:off x="363929" y="2365176"/>
            <a:ext cx="1785872" cy="276897"/>
          </a:xfrm>
          <a:prstGeom prst="rect">
            <a:avLst/>
          </a:prstGeom>
          <a:noFill/>
          <a:ln>
            <a:noFill/>
          </a:ln>
        </p:spPr>
        <p:txBody>
          <a:bodyPr wrap="square" lIns="0" tIns="0" rIns="0" bIns="0" rtlCol="0" anchor="t" anchorCtr="0">
            <a:noAutofit/>
          </a:bodyPr>
          <a:lstStyle/>
          <a:p>
            <a:pPr marL="0" marR="0" lvl="0" indent="0" defTabSz="1219078" rtl="0" eaLnBrk="1" fontAlgn="auto" latinLnBrk="0" hangingPunct="1">
              <a:lnSpc>
                <a:spcPct val="100000"/>
              </a:lnSpc>
              <a:spcBef>
                <a:spcPts val="600"/>
              </a:spcBef>
              <a:spcAft>
                <a:spcPts val="0"/>
              </a:spcAft>
              <a:buClrTx/>
              <a:buSzTx/>
              <a:buFontTx/>
              <a:buNone/>
              <a:tabLst/>
              <a:defRPr/>
            </a:pPr>
            <a:r>
              <a:rPr kumimoji="0" lang="en-US" sz="1350" b="1" i="0" u="none" strike="noStrike" kern="1200" cap="none" spc="0" normalizeH="0" baseline="0" noProof="0" dirty="0">
                <a:ln>
                  <a:noFill/>
                </a:ln>
                <a:solidFill>
                  <a:schemeClr val="bg2">
                    <a:lumMod val="25000"/>
                  </a:schemeClr>
                </a:solidFill>
                <a:effectLst/>
                <a:uLnTx/>
                <a:uFillTx/>
                <a:latin typeface="Univers" panose="020B0503020202020204" pitchFamily="34" charset="0"/>
              </a:rPr>
              <a:t>Business Process Analysis</a:t>
            </a:r>
          </a:p>
        </p:txBody>
      </p:sp>
      <p:sp>
        <p:nvSpPr>
          <p:cNvPr id="18" name="Rechteck 17">
            <a:extLst>
              <a:ext uri="{FF2B5EF4-FFF2-40B4-BE49-F238E27FC236}">
                <a16:creationId xmlns:a16="http://schemas.microsoft.com/office/drawing/2014/main" id="{80B6049D-9747-8C40-AC93-61B8266C95FD}"/>
              </a:ext>
            </a:extLst>
          </p:cNvPr>
          <p:cNvSpPr/>
          <p:nvPr/>
        </p:nvSpPr>
        <p:spPr>
          <a:xfrm>
            <a:off x="363929" y="2861579"/>
            <a:ext cx="1842846" cy="1077218"/>
          </a:xfrm>
          <a:prstGeom prst="rect">
            <a:avLst/>
          </a:prstGeom>
        </p:spPr>
        <p:txBody>
          <a:bodyPr wrap="square" lIns="0" tIns="0" rIns="0" bIns="0">
            <a:spAutoFit/>
          </a:bodyPr>
          <a:lstStyle/>
          <a:p>
            <a:pPr lvl="0">
              <a:spcBef>
                <a:spcPts val="600"/>
              </a:spcBef>
              <a:defRPr/>
            </a:pPr>
            <a:r>
              <a:rPr lang="en-US" sz="1350" dirty="0">
                <a:solidFill>
                  <a:srgbClr val="DBDBDB">
                    <a:lumMod val="25000"/>
                  </a:srgbClr>
                </a:solidFill>
                <a:latin typeface="Univers" panose="020B0503020202020204" pitchFamily="34" charset="0"/>
              </a:rPr>
              <a:t>Analysis and visualization of SAP business processes derived from transactional history</a:t>
            </a:r>
          </a:p>
        </p:txBody>
      </p:sp>
      <p:sp>
        <p:nvSpPr>
          <p:cNvPr id="19" name="Rechteck 18">
            <a:extLst>
              <a:ext uri="{FF2B5EF4-FFF2-40B4-BE49-F238E27FC236}">
                <a16:creationId xmlns:a16="http://schemas.microsoft.com/office/drawing/2014/main" id="{98E93C38-99B0-4543-9ECE-6299825F56CE}"/>
              </a:ext>
            </a:extLst>
          </p:cNvPr>
          <p:cNvSpPr/>
          <p:nvPr/>
        </p:nvSpPr>
        <p:spPr>
          <a:xfrm>
            <a:off x="2336588" y="2861579"/>
            <a:ext cx="1795412" cy="861774"/>
          </a:xfrm>
          <a:prstGeom prst="rect">
            <a:avLst/>
          </a:prstGeom>
        </p:spPr>
        <p:txBody>
          <a:bodyPr wrap="square" lIns="0" tIns="0" rIns="0" bIns="0">
            <a:spAutoFit/>
          </a:bodyPr>
          <a:lstStyle/>
          <a:p>
            <a:pPr lvl="0">
              <a:spcBef>
                <a:spcPts val="600"/>
              </a:spcBef>
              <a:defRPr/>
            </a:pPr>
            <a:r>
              <a:rPr lang="en-US" sz="1350" dirty="0">
                <a:solidFill>
                  <a:srgbClr val="DBDBDB">
                    <a:lumMod val="25000"/>
                  </a:srgbClr>
                </a:solidFill>
                <a:latin typeface="Univers" panose="020B0503020202020204" pitchFamily="34" charset="0"/>
              </a:rPr>
              <a:t>Analysis and comparison of systems, data and configuration</a:t>
            </a:r>
          </a:p>
        </p:txBody>
      </p:sp>
      <p:sp>
        <p:nvSpPr>
          <p:cNvPr id="20" name="Rechteck 19">
            <a:extLst>
              <a:ext uri="{FF2B5EF4-FFF2-40B4-BE49-F238E27FC236}">
                <a16:creationId xmlns:a16="http://schemas.microsoft.com/office/drawing/2014/main" id="{92E75806-65D7-784F-AD99-8D509B08ACC9}"/>
              </a:ext>
            </a:extLst>
          </p:cNvPr>
          <p:cNvSpPr/>
          <p:nvPr/>
        </p:nvSpPr>
        <p:spPr>
          <a:xfrm>
            <a:off x="4210884" y="2861579"/>
            <a:ext cx="1842846" cy="1038746"/>
          </a:xfrm>
          <a:prstGeom prst="rect">
            <a:avLst/>
          </a:prstGeom>
        </p:spPr>
        <p:txBody>
          <a:bodyPr wrap="square" lIns="0" tIns="0" rIns="0" bIns="0">
            <a:spAutoFit/>
          </a:bodyPr>
          <a:lstStyle/>
          <a:p>
            <a:pPr lvl="0">
              <a:spcBef>
                <a:spcPts val="600"/>
              </a:spcBef>
              <a:defRPr/>
            </a:pPr>
            <a:r>
              <a:rPr lang="en-US" sz="1350" dirty="0">
                <a:solidFill>
                  <a:schemeClr val="bg2">
                    <a:lumMod val="25000"/>
                  </a:schemeClr>
                </a:solidFill>
                <a:latin typeface="Univers" panose="020B0503020202020204" pitchFamily="34" charset="0"/>
              </a:rPr>
              <a:t>Automatic discovery, analysis and documentation of your communications topology</a:t>
            </a:r>
            <a:endParaRPr lang="en-US" sz="1350" dirty="0">
              <a:solidFill>
                <a:srgbClr val="DBDBDB">
                  <a:lumMod val="25000"/>
                </a:srgbClr>
              </a:solidFill>
              <a:latin typeface="Univers" panose="020B0503020202020204" pitchFamily="34" charset="0"/>
            </a:endParaRPr>
          </a:p>
        </p:txBody>
      </p:sp>
      <p:pic>
        <p:nvPicPr>
          <p:cNvPr id="21" name="Grafik 23" descr="https://service.snp.de/learn/imgcache/7aa035b40d196adec49d7ea26ce9fe18.png">
            <a:extLst>
              <a:ext uri="{FF2B5EF4-FFF2-40B4-BE49-F238E27FC236}">
                <a16:creationId xmlns:a16="http://schemas.microsoft.com/office/drawing/2014/main" id="{06B322E7-4358-2A49-A03A-8768B6EBD26E}"/>
              </a:ext>
            </a:extLst>
          </p:cNvPr>
          <p:cNvPicPr/>
          <p:nvPr/>
        </p:nvPicPr>
        <p:blipFill>
          <a:blip r:embed="rId3" cstate="screen">
            <a:extLst>
              <a:ext uri="{28A0092B-C50C-407E-A947-70E740481C1C}">
                <a14:useLocalDpi xmlns:a14="http://schemas.microsoft.com/office/drawing/2010/main"/>
              </a:ext>
            </a:extLst>
          </a:blip>
          <a:srcRect/>
          <a:stretch>
            <a:fillRect/>
          </a:stretch>
        </p:blipFill>
        <p:spPr bwMode="auto">
          <a:xfrm>
            <a:off x="2279613" y="4251423"/>
            <a:ext cx="1692822" cy="980284"/>
          </a:xfrm>
          <a:prstGeom prst="rect">
            <a:avLst/>
          </a:prstGeom>
          <a:noFill/>
          <a:ln>
            <a:noFill/>
          </a:ln>
        </p:spPr>
      </p:pic>
      <p:pic>
        <p:nvPicPr>
          <p:cNvPr id="22" name="Grafik 24" descr="https://service.snp.de/learn/imgcache/75cabbed1316e1b3038385644aef0b87.png">
            <a:extLst>
              <a:ext uri="{FF2B5EF4-FFF2-40B4-BE49-F238E27FC236}">
                <a16:creationId xmlns:a16="http://schemas.microsoft.com/office/drawing/2014/main" id="{2B40001C-7A0D-7444-9088-3303D3972660}"/>
              </a:ext>
            </a:extLst>
          </p:cNvPr>
          <p:cNvPicPr/>
          <p:nvPr/>
        </p:nvPicPr>
        <p:blipFill rotWithShape="1">
          <a:blip r:embed="rId4" cstate="screen">
            <a:extLst>
              <a:ext uri="{28A0092B-C50C-407E-A947-70E740481C1C}">
                <a14:useLocalDpi xmlns:a14="http://schemas.microsoft.com/office/drawing/2010/main"/>
              </a:ext>
            </a:extLst>
          </a:blip>
          <a:srcRect/>
          <a:stretch/>
        </p:blipFill>
        <p:spPr bwMode="auto">
          <a:xfrm>
            <a:off x="363928" y="4261450"/>
            <a:ext cx="1776677" cy="970257"/>
          </a:xfrm>
          <a:prstGeom prst="rect">
            <a:avLst/>
          </a:prstGeom>
          <a:noFill/>
          <a:ln>
            <a:noFill/>
          </a:ln>
          <a:extLst>
            <a:ext uri="{53640926-AAD7-44D8-BBD7-CCE9431645EC}">
              <a14:shadowObscured xmlns:a14="http://schemas.microsoft.com/office/drawing/2010/main"/>
            </a:ext>
          </a:extLst>
        </p:spPr>
      </p:pic>
      <p:pic>
        <p:nvPicPr>
          <p:cNvPr id="23" name="Picture 53">
            <a:extLst>
              <a:ext uri="{FF2B5EF4-FFF2-40B4-BE49-F238E27FC236}">
                <a16:creationId xmlns:a16="http://schemas.microsoft.com/office/drawing/2014/main" id="{783FF0ED-4DDA-E245-B44B-38847EFC33F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147042" y="4251423"/>
            <a:ext cx="1840340" cy="980284"/>
          </a:xfrm>
          <a:prstGeom prst="rect">
            <a:avLst/>
          </a:prstGeom>
        </p:spPr>
      </p:pic>
      <p:sp>
        <p:nvSpPr>
          <p:cNvPr id="24" name="Rechteck 6">
            <a:extLst>
              <a:ext uri="{FF2B5EF4-FFF2-40B4-BE49-F238E27FC236}">
                <a16:creationId xmlns:a16="http://schemas.microsoft.com/office/drawing/2014/main" id="{E78F1201-4F6A-6D45-9597-B0465434F5F1}"/>
              </a:ext>
            </a:extLst>
          </p:cNvPr>
          <p:cNvSpPr>
            <a:spLocks/>
          </p:cNvSpPr>
          <p:nvPr/>
        </p:nvSpPr>
        <p:spPr>
          <a:xfrm>
            <a:off x="6183543" y="2365176"/>
            <a:ext cx="1785872" cy="276897"/>
          </a:xfrm>
          <a:prstGeom prst="rect">
            <a:avLst/>
          </a:prstGeom>
          <a:noFill/>
          <a:ln>
            <a:noFill/>
          </a:ln>
        </p:spPr>
        <p:txBody>
          <a:bodyPr wrap="square" lIns="0" tIns="0" rIns="0" bIns="0" rtlCol="0" anchor="t" anchorCtr="0">
            <a:noAutofit/>
          </a:bodyPr>
          <a:lstStyle/>
          <a:p>
            <a:pPr marL="0" marR="0" lvl="0" indent="0" defTabSz="1219078" rtl="0" eaLnBrk="1" fontAlgn="auto" latinLnBrk="0" hangingPunct="1">
              <a:lnSpc>
                <a:spcPct val="100000"/>
              </a:lnSpc>
              <a:spcBef>
                <a:spcPts val="600"/>
              </a:spcBef>
              <a:spcAft>
                <a:spcPts val="0"/>
              </a:spcAft>
              <a:buClrTx/>
              <a:buSzTx/>
              <a:buFontTx/>
              <a:buNone/>
              <a:tabLst/>
              <a:defRPr/>
            </a:pPr>
            <a:r>
              <a:rPr kumimoji="0" lang="en-US" sz="1350" b="1" i="0" u="none" strike="noStrike" kern="1200" cap="none" spc="0" normalizeH="0" baseline="0" noProof="0" dirty="0">
                <a:ln>
                  <a:noFill/>
                </a:ln>
                <a:solidFill>
                  <a:schemeClr val="tx2"/>
                </a:solidFill>
                <a:effectLst/>
                <a:uLnTx/>
                <a:uFillTx/>
                <a:latin typeface="Univers" panose="020B0503020202020204" pitchFamily="34" charset="0"/>
              </a:rPr>
              <a:t>SNP Rapid Empty Shell Creation</a:t>
            </a:r>
          </a:p>
        </p:txBody>
      </p:sp>
      <p:sp>
        <p:nvSpPr>
          <p:cNvPr id="25" name="Rechteck 24">
            <a:extLst>
              <a:ext uri="{FF2B5EF4-FFF2-40B4-BE49-F238E27FC236}">
                <a16:creationId xmlns:a16="http://schemas.microsoft.com/office/drawing/2014/main" id="{FA607B8A-26E1-9148-9B63-94C203E9C15C}"/>
              </a:ext>
            </a:extLst>
          </p:cNvPr>
          <p:cNvSpPr/>
          <p:nvPr/>
        </p:nvSpPr>
        <p:spPr>
          <a:xfrm>
            <a:off x="6183544" y="2861578"/>
            <a:ext cx="1621870" cy="861774"/>
          </a:xfrm>
          <a:prstGeom prst="rect">
            <a:avLst/>
          </a:prstGeom>
        </p:spPr>
        <p:txBody>
          <a:bodyPr wrap="square" lIns="0" tIns="0" rIns="0" bIns="0">
            <a:spAutoFit/>
          </a:bodyPr>
          <a:lstStyle/>
          <a:p>
            <a:pPr lvl="0">
              <a:spcBef>
                <a:spcPts val="600"/>
              </a:spcBef>
              <a:defRPr/>
            </a:pPr>
            <a:r>
              <a:rPr lang="en-US" sz="1350" dirty="0">
                <a:solidFill>
                  <a:schemeClr val="bg2">
                    <a:lumMod val="25000"/>
                  </a:schemeClr>
                </a:solidFill>
                <a:latin typeface="Univers" panose="020B0503020202020204" pitchFamily="34" charset="0"/>
              </a:rPr>
              <a:t>Extraction and creation of business-specific target systems</a:t>
            </a:r>
          </a:p>
        </p:txBody>
      </p:sp>
      <p:sp>
        <p:nvSpPr>
          <p:cNvPr id="26" name="Rechteck 6">
            <a:extLst>
              <a:ext uri="{FF2B5EF4-FFF2-40B4-BE49-F238E27FC236}">
                <a16:creationId xmlns:a16="http://schemas.microsoft.com/office/drawing/2014/main" id="{389E95AE-7C7D-2142-A105-824B1391937B}"/>
              </a:ext>
            </a:extLst>
          </p:cNvPr>
          <p:cNvSpPr>
            <a:spLocks/>
          </p:cNvSpPr>
          <p:nvPr/>
        </p:nvSpPr>
        <p:spPr>
          <a:xfrm>
            <a:off x="7928892" y="2365176"/>
            <a:ext cx="1785872" cy="276897"/>
          </a:xfrm>
          <a:prstGeom prst="rect">
            <a:avLst/>
          </a:prstGeom>
          <a:noFill/>
          <a:ln>
            <a:noFill/>
          </a:ln>
        </p:spPr>
        <p:txBody>
          <a:bodyPr wrap="square" lIns="0" tIns="0" rIns="0" bIns="0" rtlCol="0" anchor="t" anchorCtr="0">
            <a:noAutofit/>
          </a:bodyPr>
          <a:lstStyle/>
          <a:p>
            <a:pPr lvl="0">
              <a:spcBef>
                <a:spcPts val="600"/>
              </a:spcBef>
              <a:defRPr/>
            </a:pPr>
            <a:r>
              <a:rPr lang="en-US" sz="1350" b="1" dirty="0">
                <a:solidFill>
                  <a:schemeClr val="tx2"/>
                </a:solidFill>
                <a:latin typeface="Univers" panose="020B0503020202020204" pitchFamily="34" charset="0"/>
              </a:rPr>
              <a:t>SNP Transformation Backbone</a:t>
            </a:r>
            <a:endParaRPr lang="en-US" sz="1350" b="1" baseline="30000" dirty="0">
              <a:solidFill>
                <a:schemeClr val="tx2"/>
              </a:solidFill>
              <a:latin typeface="Univers" panose="020B0503020202020204" pitchFamily="34" charset="0"/>
            </a:endParaRPr>
          </a:p>
        </p:txBody>
      </p:sp>
      <p:sp>
        <p:nvSpPr>
          <p:cNvPr id="27" name="Rechteck 26">
            <a:extLst>
              <a:ext uri="{FF2B5EF4-FFF2-40B4-BE49-F238E27FC236}">
                <a16:creationId xmlns:a16="http://schemas.microsoft.com/office/drawing/2014/main" id="{7AB5DA04-9FE3-DC4C-B139-56094226F92F}"/>
              </a:ext>
            </a:extLst>
          </p:cNvPr>
          <p:cNvSpPr/>
          <p:nvPr/>
        </p:nvSpPr>
        <p:spPr>
          <a:xfrm>
            <a:off x="7928687" y="2861579"/>
            <a:ext cx="1842846" cy="1077218"/>
          </a:xfrm>
          <a:prstGeom prst="rect">
            <a:avLst/>
          </a:prstGeom>
        </p:spPr>
        <p:txBody>
          <a:bodyPr wrap="square" lIns="0" tIns="0" rIns="0" bIns="0">
            <a:spAutoFit/>
          </a:bodyPr>
          <a:lstStyle/>
          <a:p>
            <a:pPr lvl="0">
              <a:spcBef>
                <a:spcPts val="600"/>
              </a:spcBef>
              <a:defRPr/>
            </a:pPr>
            <a:r>
              <a:rPr lang="en-US" sz="1350" dirty="0">
                <a:solidFill>
                  <a:schemeClr val="bg2">
                    <a:lumMod val="25000"/>
                  </a:schemeClr>
                </a:solidFill>
                <a:latin typeface="Univers" panose="020B0503020202020204" pitchFamily="34" charset="0"/>
              </a:rPr>
              <a:t>Unique software with pre-defined content ensuring easy and secure transformations</a:t>
            </a:r>
          </a:p>
        </p:txBody>
      </p:sp>
      <p:sp>
        <p:nvSpPr>
          <p:cNvPr id="28" name="Rechteck 6">
            <a:extLst>
              <a:ext uri="{FF2B5EF4-FFF2-40B4-BE49-F238E27FC236}">
                <a16:creationId xmlns:a16="http://schemas.microsoft.com/office/drawing/2014/main" id="{5C8206BA-2D61-7F49-8407-A388F89F78B8}"/>
              </a:ext>
            </a:extLst>
          </p:cNvPr>
          <p:cNvSpPr>
            <a:spLocks/>
          </p:cNvSpPr>
          <p:nvPr/>
        </p:nvSpPr>
        <p:spPr>
          <a:xfrm>
            <a:off x="9911090" y="2365176"/>
            <a:ext cx="1915385" cy="462113"/>
          </a:xfrm>
          <a:prstGeom prst="rect">
            <a:avLst/>
          </a:prstGeom>
          <a:noFill/>
          <a:ln>
            <a:noFill/>
          </a:ln>
        </p:spPr>
        <p:txBody>
          <a:bodyPr wrap="square" lIns="0" tIns="0" rIns="0" bIns="0" rtlCol="0" anchor="t" anchorCtr="0">
            <a:noAutofit/>
          </a:bodyPr>
          <a:lstStyle/>
          <a:p>
            <a:pPr lvl="0">
              <a:spcBef>
                <a:spcPts val="600"/>
              </a:spcBef>
              <a:defRPr/>
            </a:pPr>
            <a:r>
              <a:rPr lang="en-US" sz="1350" b="1" dirty="0">
                <a:solidFill>
                  <a:schemeClr val="accent2">
                    <a:lumMod val="75000"/>
                  </a:schemeClr>
                </a:solidFill>
                <a:latin typeface="Univers" panose="020B0503020202020204" pitchFamily="34" charset="0"/>
              </a:rPr>
              <a:t>SNP </a:t>
            </a:r>
            <a:r>
              <a:rPr lang="en-US" sz="1350" b="1">
                <a:solidFill>
                  <a:schemeClr val="accent2">
                    <a:lumMod val="75000"/>
                  </a:schemeClr>
                </a:solidFill>
                <a:latin typeface="Univers" panose="020B0503020202020204" pitchFamily="34" charset="0"/>
              </a:rPr>
              <a:t>Data Consistency </a:t>
            </a:r>
            <a:r>
              <a:rPr lang="en-US" sz="1350" b="1" dirty="0">
                <a:solidFill>
                  <a:schemeClr val="accent2">
                    <a:lumMod val="75000"/>
                  </a:schemeClr>
                </a:solidFill>
                <a:latin typeface="Univers" panose="020B0503020202020204" pitchFamily="34" charset="0"/>
              </a:rPr>
              <a:t>Verification</a:t>
            </a:r>
          </a:p>
        </p:txBody>
      </p:sp>
      <p:sp>
        <p:nvSpPr>
          <p:cNvPr id="29" name="Rechteck 28">
            <a:extLst>
              <a:ext uri="{FF2B5EF4-FFF2-40B4-BE49-F238E27FC236}">
                <a16:creationId xmlns:a16="http://schemas.microsoft.com/office/drawing/2014/main" id="{3411D9D4-E53A-9449-A492-AF6B10A64DF0}"/>
              </a:ext>
            </a:extLst>
          </p:cNvPr>
          <p:cNvSpPr/>
          <p:nvPr/>
        </p:nvSpPr>
        <p:spPr>
          <a:xfrm>
            <a:off x="9907257" y="2861579"/>
            <a:ext cx="1842846" cy="1077218"/>
          </a:xfrm>
          <a:prstGeom prst="rect">
            <a:avLst/>
          </a:prstGeom>
        </p:spPr>
        <p:txBody>
          <a:bodyPr wrap="square" lIns="0" tIns="0" rIns="0" bIns="0">
            <a:spAutoFit/>
          </a:bodyPr>
          <a:lstStyle/>
          <a:p>
            <a:pPr lvl="0">
              <a:spcBef>
                <a:spcPts val="600"/>
              </a:spcBef>
              <a:defRPr/>
            </a:pPr>
            <a:r>
              <a:rPr lang="en-US" sz="1350" dirty="0">
                <a:solidFill>
                  <a:schemeClr val="bg2">
                    <a:lumMod val="25000"/>
                  </a:schemeClr>
                </a:solidFill>
                <a:latin typeface="Univers" panose="020B0503020202020204" pitchFamily="34" charset="0"/>
              </a:rPr>
              <a:t>Close the loop in data transformation through automated verification of data integrity</a:t>
            </a:r>
          </a:p>
        </p:txBody>
      </p:sp>
      <p:pic>
        <p:nvPicPr>
          <p:cNvPr id="30" name="Grafik 19">
            <a:extLst>
              <a:ext uri="{FF2B5EF4-FFF2-40B4-BE49-F238E27FC236}">
                <a16:creationId xmlns:a16="http://schemas.microsoft.com/office/drawing/2014/main" id="{0F4853D3-9CE3-5D42-8BC6-153B96AE5D3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172818" y="4285404"/>
            <a:ext cx="1601178" cy="743520"/>
          </a:xfrm>
          <a:prstGeom prst="rect">
            <a:avLst/>
          </a:prstGeom>
        </p:spPr>
      </p:pic>
      <p:pic>
        <p:nvPicPr>
          <p:cNvPr id="31" name="Picture 4">
            <a:extLst>
              <a:ext uri="{FF2B5EF4-FFF2-40B4-BE49-F238E27FC236}">
                <a16:creationId xmlns:a16="http://schemas.microsoft.com/office/drawing/2014/main" id="{90735960-23A0-2A47-9796-0F61D6C990E1}"/>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934865" y="4256090"/>
            <a:ext cx="1779899" cy="1006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Grafik 31">
            <a:extLst>
              <a:ext uri="{FF2B5EF4-FFF2-40B4-BE49-F238E27FC236}">
                <a16:creationId xmlns:a16="http://schemas.microsoft.com/office/drawing/2014/main" id="{2D40630A-FC77-1849-A8A1-0ADAF06845D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49812" y="4225277"/>
            <a:ext cx="1800291" cy="1056330"/>
          </a:xfrm>
          <a:prstGeom prst="rect">
            <a:avLst/>
          </a:prstGeom>
          <a:ln>
            <a:noFill/>
          </a:ln>
        </p:spPr>
      </p:pic>
      <p:sp>
        <p:nvSpPr>
          <p:cNvPr id="33" name="Richtungspfeil 32">
            <a:extLst>
              <a:ext uri="{FF2B5EF4-FFF2-40B4-BE49-F238E27FC236}">
                <a16:creationId xmlns:a16="http://schemas.microsoft.com/office/drawing/2014/main" id="{99528869-9541-6045-B053-7ABD32BE79BC}"/>
              </a:ext>
            </a:extLst>
          </p:cNvPr>
          <p:cNvSpPr/>
          <p:nvPr/>
        </p:nvSpPr>
        <p:spPr>
          <a:xfrm>
            <a:off x="9907257" y="1988840"/>
            <a:ext cx="1876756" cy="264728"/>
          </a:xfrm>
          <a:prstGeom prst="homePlate">
            <a:avLst/>
          </a:prstGeom>
          <a:noFill/>
          <a:ln w="12700">
            <a:gradFill>
              <a:gsLst>
                <a:gs pos="2000">
                  <a:schemeClr val="bg1"/>
                </a:gs>
                <a:gs pos="99000">
                  <a:schemeClr val="accent2">
                    <a:lumMod val="7500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cxnSp>
        <p:nvCxnSpPr>
          <p:cNvPr id="34" name="Straight Connector 26">
            <a:extLst>
              <a:ext uri="{FF2B5EF4-FFF2-40B4-BE49-F238E27FC236}">
                <a16:creationId xmlns:a16="http://schemas.microsoft.com/office/drawing/2014/main" id="{E71BED35-D18D-A244-A9AB-5A4F7A1556B6}"/>
              </a:ext>
            </a:extLst>
          </p:cNvPr>
          <p:cNvCxnSpPr>
            <a:cxnSpLocks/>
          </p:cNvCxnSpPr>
          <p:nvPr/>
        </p:nvCxnSpPr>
        <p:spPr>
          <a:xfrm flipV="1">
            <a:off x="6089424" y="2364039"/>
            <a:ext cx="0" cy="2867668"/>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26">
            <a:extLst>
              <a:ext uri="{FF2B5EF4-FFF2-40B4-BE49-F238E27FC236}">
                <a16:creationId xmlns:a16="http://schemas.microsoft.com/office/drawing/2014/main" id="{EBDF8CE0-5030-134C-AFF4-EDD2A35F8340}"/>
              </a:ext>
            </a:extLst>
          </p:cNvPr>
          <p:cNvCxnSpPr>
            <a:cxnSpLocks/>
          </p:cNvCxnSpPr>
          <p:nvPr/>
        </p:nvCxnSpPr>
        <p:spPr>
          <a:xfrm flipV="1">
            <a:off x="9826537" y="2364039"/>
            <a:ext cx="0" cy="2867668"/>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26">
            <a:extLst>
              <a:ext uri="{FF2B5EF4-FFF2-40B4-BE49-F238E27FC236}">
                <a16:creationId xmlns:a16="http://schemas.microsoft.com/office/drawing/2014/main" id="{A5AA312E-A372-6D4F-BB30-D73BECFB04B1}"/>
              </a:ext>
            </a:extLst>
          </p:cNvPr>
          <p:cNvCxnSpPr>
            <a:cxnSpLocks/>
          </p:cNvCxnSpPr>
          <p:nvPr/>
        </p:nvCxnSpPr>
        <p:spPr>
          <a:xfrm flipV="1">
            <a:off x="7869550" y="2364039"/>
            <a:ext cx="0" cy="2867668"/>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26">
            <a:extLst>
              <a:ext uri="{FF2B5EF4-FFF2-40B4-BE49-F238E27FC236}">
                <a16:creationId xmlns:a16="http://schemas.microsoft.com/office/drawing/2014/main" id="{0FDAE035-DA25-D546-A087-874F2488FF23}"/>
              </a:ext>
            </a:extLst>
          </p:cNvPr>
          <p:cNvCxnSpPr>
            <a:cxnSpLocks/>
          </p:cNvCxnSpPr>
          <p:nvPr/>
        </p:nvCxnSpPr>
        <p:spPr>
          <a:xfrm flipV="1">
            <a:off x="4058126" y="2364039"/>
            <a:ext cx="0" cy="2867668"/>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26">
            <a:extLst>
              <a:ext uri="{FF2B5EF4-FFF2-40B4-BE49-F238E27FC236}">
                <a16:creationId xmlns:a16="http://schemas.microsoft.com/office/drawing/2014/main" id="{B5A0AA76-F9D7-8747-AE03-EF5D607F9E93}"/>
              </a:ext>
            </a:extLst>
          </p:cNvPr>
          <p:cNvCxnSpPr>
            <a:cxnSpLocks/>
          </p:cNvCxnSpPr>
          <p:nvPr/>
        </p:nvCxnSpPr>
        <p:spPr>
          <a:xfrm flipV="1">
            <a:off x="2203689" y="2364039"/>
            <a:ext cx="0" cy="2867668"/>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9" name="Titel 5">
            <a:extLst>
              <a:ext uri="{FF2B5EF4-FFF2-40B4-BE49-F238E27FC236}">
                <a16:creationId xmlns:a16="http://schemas.microsoft.com/office/drawing/2014/main" id="{BBAA85F1-E0C3-A54B-9AC1-7886F573145D}"/>
              </a:ext>
            </a:extLst>
          </p:cNvPr>
          <p:cNvSpPr txBox="1">
            <a:spLocks/>
          </p:cNvSpPr>
          <p:nvPr/>
        </p:nvSpPr>
        <p:spPr>
          <a:xfrm>
            <a:off x="406401" y="342586"/>
            <a:ext cx="3096518" cy="936000"/>
          </a:xfrm>
          <a:prstGeom prst="rect">
            <a:avLst/>
          </a:prstGeom>
        </p:spPr>
        <p:txBody>
          <a:bodyPr vert="horz" lIns="0" tIns="0" rIns="0" bIns="0" rtlCol="0" anchor="t" anchorCtr="0">
            <a:noAutofit/>
          </a:bodyPr>
          <a:lstStyle>
            <a:lvl1pPr algn="l" defTabSz="1219078" rtl="0" eaLnBrk="1" latinLnBrk="0" hangingPunct="1">
              <a:lnSpc>
                <a:spcPct val="90000"/>
              </a:lnSpc>
              <a:spcBef>
                <a:spcPct val="0"/>
              </a:spcBef>
              <a:buNone/>
              <a:defRPr sz="2600" b="0" kern="1200">
                <a:solidFill>
                  <a:schemeClr val="bg2">
                    <a:lumMod val="25000"/>
                  </a:schemeClr>
                </a:solidFill>
                <a:latin typeface="Univers" panose="020B0503020202020204" pitchFamily="34" charset="0"/>
                <a:ea typeface="+mj-ea"/>
                <a:cs typeface="+mj-cs"/>
              </a:defRPr>
            </a:lvl1pPr>
          </a:lstStyle>
          <a:p>
            <a:r>
              <a:rPr lang="en-US" sz="2300" dirty="0">
                <a:solidFill>
                  <a:srgbClr val="DBDBDB">
                    <a:lumMod val="25000"/>
                  </a:srgbClr>
                </a:solidFill>
              </a:rPr>
              <a:t>SNP I End-to-End Transformation Automation Platform</a:t>
            </a:r>
            <a:endParaRPr lang="en-US" dirty="0"/>
          </a:p>
        </p:txBody>
      </p:sp>
      <p:sp>
        <p:nvSpPr>
          <p:cNvPr id="40" name="Dreieck 39">
            <a:extLst>
              <a:ext uri="{FF2B5EF4-FFF2-40B4-BE49-F238E27FC236}">
                <a16:creationId xmlns:a16="http://schemas.microsoft.com/office/drawing/2014/main" id="{EAFFB696-7F95-214A-BD73-F23B9FF6372D}"/>
              </a:ext>
            </a:extLst>
          </p:cNvPr>
          <p:cNvSpPr/>
          <p:nvPr/>
        </p:nvSpPr>
        <p:spPr>
          <a:xfrm rot="10800000">
            <a:off x="263082" y="5300827"/>
            <a:ext cx="5826342" cy="353491"/>
          </a:xfrm>
          <a:prstGeom prst="triangle">
            <a:avLst>
              <a:gd name="adj" fmla="val 50246"/>
            </a:avLst>
          </a:prstGeom>
          <a:noFill/>
          <a:ln w="15875">
            <a:gradFill>
              <a:gsLst>
                <a:gs pos="0">
                  <a:schemeClr val="bg1"/>
                </a:gs>
                <a:gs pos="100000">
                  <a:schemeClr val="bg2">
                    <a:lumMod val="25000"/>
                  </a:schemeClr>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41" name="Rechteck 40">
            <a:extLst>
              <a:ext uri="{FF2B5EF4-FFF2-40B4-BE49-F238E27FC236}">
                <a16:creationId xmlns:a16="http://schemas.microsoft.com/office/drawing/2014/main" id="{F60F767C-BA72-2C42-BEFF-F7631D4DEA6B}"/>
              </a:ext>
            </a:extLst>
          </p:cNvPr>
          <p:cNvSpPr/>
          <p:nvPr/>
        </p:nvSpPr>
        <p:spPr>
          <a:xfrm>
            <a:off x="363928" y="5664616"/>
            <a:ext cx="5689802" cy="419650"/>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r>
              <a:rPr lang="en-US" sz="1400" b="1" dirty="0">
                <a:solidFill>
                  <a:schemeClr val="bg2">
                    <a:lumMod val="25000"/>
                  </a:schemeClr>
                </a:solidFill>
                <a:latin typeface="Univers"/>
              </a:rPr>
              <a:t>CURRENT SOURCE ERP SYSTEMS</a:t>
            </a:r>
            <a:endParaRPr kumimoji="0" lang="en-US" sz="1400" b="1" i="0" u="none" strike="noStrike" kern="1200" cap="none" spc="0" normalizeH="0" baseline="0" noProof="0" dirty="0">
              <a:ln>
                <a:noFill/>
              </a:ln>
              <a:solidFill>
                <a:schemeClr val="bg2">
                  <a:lumMod val="25000"/>
                </a:schemeClr>
              </a:solidFill>
              <a:effectLst/>
              <a:uLnTx/>
              <a:uFillTx/>
              <a:latin typeface="Univers"/>
            </a:endParaRPr>
          </a:p>
        </p:txBody>
      </p:sp>
      <p:sp>
        <p:nvSpPr>
          <p:cNvPr id="42" name="Rechteck 41">
            <a:extLst>
              <a:ext uri="{FF2B5EF4-FFF2-40B4-BE49-F238E27FC236}">
                <a16:creationId xmlns:a16="http://schemas.microsoft.com/office/drawing/2014/main" id="{BDCC823A-F767-0E41-9592-E1BD06A6D938}"/>
              </a:ext>
            </a:extLst>
          </p:cNvPr>
          <p:cNvSpPr/>
          <p:nvPr/>
        </p:nvSpPr>
        <p:spPr>
          <a:xfrm>
            <a:off x="6639235" y="5664616"/>
            <a:ext cx="2711101" cy="419650"/>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r>
              <a:rPr lang="en-US" sz="1400" b="1" dirty="0">
                <a:solidFill>
                  <a:schemeClr val="accent1"/>
                </a:solidFill>
                <a:latin typeface="Univers"/>
              </a:rPr>
              <a:t>S/4HANA TARGET </a:t>
            </a:r>
          </a:p>
          <a:p>
            <a:pPr marL="0" marR="0" lvl="0" indent="0" algn="ctr" defTabSz="1219078" rtl="0" eaLnBrk="1" fontAlgn="auto" latinLnBrk="0" hangingPunct="1">
              <a:lnSpc>
                <a:spcPct val="100000"/>
              </a:lnSpc>
              <a:spcBef>
                <a:spcPts val="0"/>
              </a:spcBef>
              <a:spcAft>
                <a:spcPts val="0"/>
              </a:spcAft>
              <a:buClrTx/>
              <a:buSzTx/>
              <a:buFontTx/>
              <a:buNone/>
              <a:tabLst/>
              <a:defRPr/>
            </a:pPr>
            <a:r>
              <a:rPr lang="en-US" sz="1400" b="1" dirty="0">
                <a:solidFill>
                  <a:schemeClr val="accent1"/>
                </a:solidFill>
                <a:latin typeface="Univers"/>
              </a:rPr>
              <a:t>EMPTY SHELL</a:t>
            </a:r>
            <a:endParaRPr kumimoji="0" lang="en-US" sz="1400" b="1" i="0" u="none" strike="noStrike" kern="1200" cap="none" spc="0" normalizeH="0" baseline="0" noProof="0" dirty="0">
              <a:ln>
                <a:noFill/>
              </a:ln>
              <a:solidFill>
                <a:schemeClr val="accent1"/>
              </a:solidFill>
              <a:effectLst/>
              <a:uLnTx/>
              <a:uFillTx/>
              <a:latin typeface="Univers"/>
            </a:endParaRPr>
          </a:p>
        </p:txBody>
      </p:sp>
      <p:sp>
        <p:nvSpPr>
          <p:cNvPr id="43" name="Rechteck 42">
            <a:extLst>
              <a:ext uri="{FF2B5EF4-FFF2-40B4-BE49-F238E27FC236}">
                <a16:creationId xmlns:a16="http://schemas.microsoft.com/office/drawing/2014/main" id="{72A6433D-6865-B14A-A907-FF8229286C79}"/>
              </a:ext>
            </a:extLst>
          </p:cNvPr>
          <p:cNvSpPr/>
          <p:nvPr/>
        </p:nvSpPr>
        <p:spPr>
          <a:xfrm>
            <a:off x="9935841" y="5661248"/>
            <a:ext cx="1828205" cy="419650"/>
          </a:xfrm>
          <a:prstGeom prst="rect">
            <a:avLst/>
          </a:prstGeom>
          <a:noFill/>
          <a:ln w="3175">
            <a:noFill/>
          </a:ln>
        </p:spPr>
        <p:style>
          <a:lnRef idx="2">
            <a:schemeClr val="dk1"/>
          </a:lnRef>
          <a:fillRef idx="1">
            <a:schemeClr val="lt1"/>
          </a:fillRef>
          <a:effectRef idx="0">
            <a:schemeClr val="dk1"/>
          </a:effectRef>
          <a:fontRef idx="minor">
            <a:schemeClr val="dk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r>
              <a:rPr lang="en-US" sz="1400" b="1" dirty="0">
                <a:solidFill>
                  <a:schemeClr val="accent2">
                    <a:lumMod val="75000"/>
                  </a:schemeClr>
                </a:solidFill>
                <a:latin typeface="Univers"/>
              </a:rPr>
              <a:t>FINAL S/4HANA TARGET SYSTEM </a:t>
            </a:r>
            <a:endParaRPr kumimoji="0" lang="en-US" sz="1400" b="1" i="0" u="none" strike="noStrike" kern="1200" cap="none" spc="0" normalizeH="0" baseline="0" noProof="0" dirty="0">
              <a:ln>
                <a:noFill/>
              </a:ln>
              <a:solidFill>
                <a:schemeClr val="accent2">
                  <a:lumMod val="75000"/>
                </a:schemeClr>
              </a:solidFill>
              <a:effectLst/>
              <a:uLnTx/>
              <a:uFillTx/>
              <a:latin typeface="Univers"/>
            </a:endParaRPr>
          </a:p>
        </p:txBody>
      </p:sp>
      <p:sp>
        <p:nvSpPr>
          <p:cNvPr id="44" name="Dreieck 43">
            <a:extLst>
              <a:ext uri="{FF2B5EF4-FFF2-40B4-BE49-F238E27FC236}">
                <a16:creationId xmlns:a16="http://schemas.microsoft.com/office/drawing/2014/main" id="{2391A97C-1399-DB4F-A2D6-ED2A04166EF9}"/>
              </a:ext>
            </a:extLst>
          </p:cNvPr>
          <p:cNvSpPr/>
          <p:nvPr/>
        </p:nvSpPr>
        <p:spPr>
          <a:xfrm rot="10800000">
            <a:off x="5941506" y="5300826"/>
            <a:ext cx="3901993" cy="353491"/>
          </a:xfrm>
          <a:prstGeom prst="triangle">
            <a:avLst>
              <a:gd name="adj" fmla="val 50246"/>
            </a:avLst>
          </a:prstGeom>
          <a:noFill/>
          <a:ln w="15875">
            <a:gradFill>
              <a:gsLst>
                <a:gs pos="0">
                  <a:schemeClr val="bg1"/>
                </a:gs>
                <a:gs pos="100000">
                  <a:schemeClr val="accent1">
                    <a:lumMod val="75000"/>
                  </a:schemeClr>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45" name="Dreieck 44">
            <a:extLst>
              <a:ext uri="{FF2B5EF4-FFF2-40B4-BE49-F238E27FC236}">
                <a16:creationId xmlns:a16="http://schemas.microsoft.com/office/drawing/2014/main" id="{BC68F8CC-EB46-144B-8752-D3003A1EA834}"/>
              </a:ext>
            </a:extLst>
          </p:cNvPr>
          <p:cNvSpPr/>
          <p:nvPr/>
        </p:nvSpPr>
        <p:spPr>
          <a:xfrm rot="10800000">
            <a:off x="9826536" y="5300823"/>
            <a:ext cx="2173326" cy="278797"/>
          </a:xfrm>
          <a:prstGeom prst="triangle">
            <a:avLst>
              <a:gd name="adj" fmla="val 50246"/>
            </a:avLst>
          </a:prstGeom>
          <a:noFill/>
          <a:ln w="15875">
            <a:gradFill>
              <a:gsLst>
                <a:gs pos="0">
                  <a:schemeClr val="bg1"/>
                </a:gs>
                <a:gs pos="100000">
                  <a:schemeClr val="accent2">
                    <a:lumMod val="75000"/>
                  </a:schemeClr>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cxnSp>
        <p:nvCxnSpPr>
          <p:cNvPr id="48" name="Gerade Verbindung 47">
            <a:extLst>
              <a:ext uri="{FF2B5EF4-FFF2-40B4-BE49-F238E27FC236}">
                <a16:creationId xmlns:a16="http://schemas.microsoft.com/office/drawing/2014/main" id="{7A87D694-65F4-B246-846D-A2B681EE3544}"/>
              </a:ext>
            </a:extLst>
          </p:cNvPr>
          <p:cNvCxnSpPr/>
          <p:nvPr/>
        </p:nvCxnSpPr>
        <p:spPr>
          <a:xfrm>
            <a:off x="5755778" y="5877272"/>
            <a:ext cx="513740" cy="0"/>
          </a:xfrm>
          <a:prstGeom prst="line">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49" name="Gerade Verbindung 48">
            <a:extLst>
              <a:ext uri="{FF2B5EF4-FFF2-40B4-BE49-F238E27FC236}">
                <a16:creationId xmlns:a16="http://schemas.microsoft.com/office/drawing/2014/main" id="{F241E3B7-A956-EB44-BF52-EA45E8C1B4CD}"/>
              </a:ext>
            </a:extLst>
          </p:cNvPr>
          <p:cNvCxnSpPr/>
          <p:nvPr/>
        </p:nvCxnSpPr>
        <p:spPr>
          <a:xfrm>
            <a:off x="9453483" y="5877272"/>
            <a:ext cx="513740" cy="0"/>
          </a:xfrm>
          <a:prstGeom prst="line">
            <a:avLst/>
          </a:prstGeom>
          <a:ln w="19050">
            <a:solidFill>
              <a:schemeClr val="accent2">
                <a:lumMod val="75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7CBAF000-555D-4843-9937-3CCA04E5E9CD}"/>
              </a:ext>
            </a:extLst>
          </p:cNvPr>
          <p:cNvGrpSpPr/>
          <p:nvPr/>
        </p:nvGrpSpPr>
        <p:grpSpPr>
          <a:xfrm>
            <a:off x="8556422" y="897545"/>
            <a:ext cx="1794122" cy="1149201"/>
            <a:chOff x="8770235" y="4689321"/>
            <a:chExt cx="2131243" cy="1332122"/>
          </a:xfrm>
        </p:grpSpPr>
        <p:sp>
          <p:nvSpPr>
            <p:cNvPr id="47" name="Rectangle: Rounded Corners 46">
              <a:extLst>
                <a:ext uri="{FF2B5EF4-FFF2-40B4-BE49-F238E27FC236}">
                  <a16:creationId xmlns:a16="http://schemas.microsoft.com/office/drawing/2014/main" id="{728A6F5D-A2FC-4E91-89ED-81A0EFC5A620}"/>
                </a:ext>
              </a:extLst>
            </p:cNvPr>
            <p:cNvSpPr/>
            <p:nvPr/>
          </p:nvSpPr>
          <p:spPr>
            <a:xfrm>
              <a:off x="8770235" y="4689321"/>
              <a:ext cx="2131243" cy="1332122"/>
            </a:xfrm>
            <a:prstGeom prst="roundRect">
              <a:avLst>
                <a:gd name="adj" fmla="val 8391"/>
              </a:avLst>
            </a:prstGeom>
            <a:solidFill>
              <a:schemeClr val="bg1"/>
            </a:solidFill>
            <a:ln w="12700">
              <a:solidFill>
                <a:srgbClr val="79833B"/>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B8307C"/>
                </a:solidFill>
                <a:effectLst/>
                <a:uLnTx/>
                <a:uFillTx/>
                <a:latin typeface="Arial" panose="020B0604020202020204" pitchFamily="34" charset="0"/>
                <a:ea typeface="Verdana" pitchFamily="34" charset="0"/>
                <a:cs typeface="Arial" panose="020B0604020202020204" pitchFamily="34" charset="0"/>
              </a:endParaRPr>
            </a:p>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B8307C"/>
                </a:solidFill>
                <a:effectLst/>
                <a:uLnTx/>
                <a:uFillTx/>
                <a:latin typeface="Arial" panose="020B0604020202020204" pitchFamily="34" charset="0"/>
                <a:ea typeface="Verdana" pitchFamily="34" charset="0"/>
                <a:cs typeface="Arial" panose="020B0604020202020204" pitchFamily="34" charset="0"/>
              </a:endParaRPr>
            </a:p>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B8307C"/>
                </a:solidFill>
                <a:effectLst/>
                <a:uLnTx/>
                <a:uFillTx/>
                <a:latin typeface="Arial" panose="020B0604020202020204" pitchFamily="34" charset="0"/>
                <a:ea typeface="Verdana" pitchFamily="34" charset="0"/>
                <a:cs typeface="Arial" panose="020B0604020202020204" pitchFamily="34" charset="0"/>
              </a:endParaRPr>
            </a:p>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srgbClr val="B8307C"/>
                </a:solidFill>
                <a:effectLst/>
                <a:uLnTx/>
                <a:uFillTx/>
                <a:latin typeface="Arial" panose="020B0604020202020204" pitchFamily="34" charset="0"/>
                <a:ea typeface="Verdana" pitchFamily="34" charset="0"/>
                <a:cs typeface="Arial" panose="020B0604020202020204" pitchFamily="34" charset="0"/>
              </a:endParaRPr>
            </a:p>
            <a:p>
              <a:pPr marL="0" marR="0" lvl="0" indent="0" algn="ctr" defTabSz="1219078"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Verdana" pitchFamily="34" charset="0"/>
                  <a:cs typeface="Arial" panose="020B0604020202020204" pitchFamily="34" charset="0"/>
                </a:rPr>
                <a:t>Masking and Scrambling</a:t>
              </a:r>
            </a:p>
            <a:p>
              <a:pPr marL="0" marR="0" lvl="0" indent="0" algn="ctr" defTabSz="1219078" rtl="0" eaLnBrk="1" fontAlgn="auto" latinLnBrk="0" hangingPunct="1">
                <a:lnSpc>
                  <a:spcPct val="100000"/>
                </a:lnSpc>
                <a:spcBef>
                  <a:spcPts val="0"/>
                </a:spcBef>
                <a:spcAft>
                  <a:spcPts val="0"/>
                </a:spcAft>
                <a:buClrTx/>
                <a:buSzTx/>
                <a:buFontTx/>
                <a:buNone/>
                <a:tabLst/>
                <a:defRPr/>
              </a:pPr>
              <a:r>
                <a:rPr lang="en-GB" sz="1150" dirty="0">
                  <a:solidFill>
                    <a:srgbClr val="000000">
                      <a:lumMod val="75000"/>
                      <a:lumOff val="25000"/>
                    </a:srgbClr>
                  </a:solidFill>
                  <a:latin typeface="Arial" panose="020B0604020202020204" pitchFamily="34" charset="0"/>
                  <a:ea typeface="Verdana" pitchFamily="34" charset="0"/>
                  <a:cs typeface="Arial" panose="020B0604020202020204" pitchFamily="34" charset="0"/>
                </a:rPr>
                <a:t>d</a:t>
              </a:r>
              <a:r>
                <a:rPr kumimoji="0" lang="en-GB" sz="1150" b="0" i="0" u="none" strike="noStrike" kern="1200" cap="none" spc="0" normalizeH="0" baseline="0" noProof="0" dirty="0" err="1">
                  <a:ln>
                    <a:noFill/>
                  </a:ln>
                  <a:solidFill>
                    <a:srgbClr val="000000">
                      <a:lumMod val="75000"/>
                      <a:lumOff val="25000"/>
                    </a:srgbClr>
                  </a:solidFill>
                  <a:effectLst/>
                  <a:uLnTx/>
                  <a:uFillTx/>
                  <a:latin typeface="Arial" panose="020B0604020202020204" pitchFamily="34" charset="0"/>
                  <a:ea typeface="Verdana" pitchFamily="34" charset="0"/>
                  <a:cs typeface="Arial" panose="020B0604020202020204" pitchFamily="34" charset="0"/>
                </a:rPr>
                <a:t>uring</a:t>
              </a:r>
              <a:r>
                <a:rPr kumimoji="0" lang="en-GB" sz="1150" b="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Verdana" pitchFamily="34" charset="0"/>
                  <a:cs typeface="Arial" panose="020B0604020202020204" pitchFamily="34" charset="0"/>
                </a:rPr>
                <a:t> Test Cycles</a:t>
              </a:r>
            </a:p>
          </p:txBody>
        </p:sp>
        <p:pic>
          <p:nvPicPr>
            <p:cNvPr id="50" name="Graphic 49" descr="Playbook">
              <a:extLst>
                <a:ext uri="{FF2B5EF4-FFF2-40B4-BE49-F238E27FC236}">
                  <a16:creationId xmlns:a16="http://schemas.microsoft.com/office/drawing/2014/main" id="{DC32318A-302C-4198-8013-DB9EB2EDE48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59698" y="4758336"/>
              <a:ext cx="788481" cy="788481"/>
            </a:xfrm>
            <a:prstGeom prst="rect">
              <a:avLst/>
            </a:prstGeom>
          </p:spPr>
        </p:pic>
        <p:pic>
          <p:nvPicPr>
            <p:cNvPr id="51" name="Graphic 50" descr="Puzzle">
              <a:extLst>
                <a:ext uri="{FF2B5EF4-FFF2-40B4-BE49-F238E27FC236}">
                  <a16:creationId xmlns:a16="http://schemas.microsoft.com/office/drawing/2014/main" id="{785F1791-A04D-4E99-B09A-B464068DADB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41915" y="4835565"/>
              <a:ext cx="651229" cy="651229"/>
            </a:xfrm>
            <a:prstGeom prst="rect">
              <a:avLst/>
            </a:prstGeom>
          </p:spPr>
        </p:pic>
      </p:grpSp>
      <p:pic>
        <p:nvPicPr>
          <p:cNvPr id="52" name="Picture 51">
            <a:extLst>
              <a:ext uri="{FF2B5EF4-FFF2-40B4-BE49-F238E27FC236}">
                <a16:creationId xmlns:a16="http://schemas.microsoft.com/office/drawing/2014/main" id="{22610ABF-08BA-4AA6-B633-C7891A16B5DF}"/>
              </a:ext>
            </a:extLst>
          </p:cNvPr>
          <p:cNvPicPr>
            <a:picLocks noChangeAspect="1"/>
          </p:cNvPicPr>
          <p:nvPr/>
        </p:nvPicPr>
        <p:blipFill>
          <a:blip r:embed="rId13"/>
          <a:stretch>
            <a:fillRect/>
          </a:stretch>
        </p:blipFill>
        <p:spPr>
          <a:xfrm>
            <a:off x="9994951" y="384669"/>
            <a:ext cx="1311958" cy="411043"/>
          </a:xfrm>
          <a:prstGeom prst="rect">
            <a:avLst/>
          </a:prstGeom>
        </p:spPr>
      </p:pic>
    </p:spTree>
    <p:extLst>
      <p:ext uri="{BB962C8B-B14F-4D97-AF65-F5344CB8AC3E}">
        <p14:creationId xmlns:p14="http://schemas.microsoft.com/office/powerpoint/2010/main" val="3296476656"/>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3">
            <a:extLst>
              <a:ext uri="{FF2B5EF4-FFF2-40B4-BE49-F238E27FC236}">
                <a16:creationId xmlns:a16="http://schemas.microsoft.com/office/drawing/2014/main" id="{3C5C14A8-0376-40C6-873B-EA573DB21928}"/>
              </a:ext>
            </a:extLst>
          </p:cNvPr>
          <p:cNvSpPr>
            <a:spLocks noGrp="1"/>
          </p:cNvSpPr>
          <p:nvPr>
            <p:ph type="title"/>
          </p:nvPr>
        </p:nvSpPr>
        <p:spPr/>
        <p:txBody>
          <a:bodyPr/>
          <a:lstStyle/>
          <a:p>
            <a:r>
              <a:rPr lang="en-US" dirty="0"/>
              <a:t>SNP S/4HANA Migration – Approach</a:t>
            </a:r>
            <a:endParaRPr lang="en-GB" dirty="0"/>
          </a:p>
        </p:txBody>
      </p:sp>
      <p:sp>
        <p:nvSpPr>
          <p:cNvPr id="2" name="Symbol zastępczy daty 1">
            <a:extLst>
              <a:ext uri="{FF2B5EF4-FFF2-40B4-BE49-F238E27FC236}">
                <a16:creationId xmlns:a16="http://schemas.microsoft.com/office/drawing/2014/main" id="{1D595A0F-FADC-4A41-B60A-363472673873}"/>
              </a:ext>
            </a:extLst>
          </p:cNvPr>
          <p:cNvSpPr>
            <a:spLocks noGrp="1"/>
          </p:cNvSpPr>
          <p:nvPr>
            <p:ph type="dt" sz="half" idx="10"/>
          </p:nvPr>
        </p:nvSpPr>
        <p:spPr/>
        <p:txBody>
          <a:bodyPr/>
          <a:lstStyle/>
          <a:p>
            <a:r>
              <a:rPr lang="en-US">
                <a:solidFill>
                  <a:srgbClr val="6F6F6F"/>
                </a:solidFill>
              </a:rPr>
              <a:t>21/08/2019</a:t>
            </a:r>
            <a:endParaRPr lang="de-DE" dirty="0">
              <a:solidFill>
                <a:srgbClr val="6F6F6F"/>
              </a:solidFill>
            </a:endParaRPr>
          </a:p>
        </p:txBody>
      </p:sp>
      <p:sp>
        <p:nvSpPr>
          <p:cNvPr id="3" name="Symbol zastępczy numeru slajdu 2">
            <a:extLst>
              <a:ext uri="{FF2B5EF4-FFF2-40B4-BE49-F238E27FC236}">
                <a16:creationId xmlns:a16="http://schemas.microsoft.com/office/drawing/2014/main" id="{F61783C6-B963-4C37-8C63-D0F8F8586BEE}"/>
              </a:ext>
            </a:extLst>
          </p:cNvPr>
          <p:cNvSpPr>
            <a:spLocks noGrp="1"/>
          </p:cNvSpPr>
          <p:nvPr>
            <p:ph type="sldNum" sz="quarter" idx="11"/>
          </p:nvPr>
        </p:nvSpPr>
        <p:spPr/>
        <p:txBody>
          <a:bodyPr/>
          <a:lstStyle/>
          <a:p>
            <a:fld id="{221F1D72-F2AC-4B6E-A46C-E63D2CF40C7B}" type="slidenum">
              <a:rPr lang="de-DE" smtClean="0">
                <a:solidFill>
                  <a:srgbClr val="6F6F6F"/>
                </a:solidFill>
              </a:rPr>
              <a:pPr/>
              <a:t>18</a:t>
            </a:fld>
            <a:endParaRPr lang="de-DE">
              <a:solidFill>
                <a:srgbClr val="6F6F6F"/>
              </a:solidFill>
            </a:endParaRPr>
          </a:p>
        </p:txBody>
      </p:sp>
      <p:sp>
        <p:nvSpPr>
          <p:cNvPr id="6" name="Prostokąt 5">
            <a:extLst>
              <a:ext uri="{FF2B5EF4-FFF2-40B4-BE49-F238E27FC236}">
                <a16:creationId xmlns:a16="http://schemas.microsoft.com/office/drawing/2014/main" id="{CDAFD039-AEF9-4FF9-9B20-D2BA29CCFCD3}"/>
              </a:ext>
            </a:extLst>
          </p:cNvPr>
          <p:cNvSpPr/>
          <p:nvPr/>
        </p:nvSpPr>
        <p:spPr>
          <a:xfrm>
            <a:off x="4270127" y="2359198"/>
            <a:ext cx="1098059" cy="1194672"/>
          </a:xfrm>
          <a:prstGeom prst="rect">
            <a:avLst/>
          </a:prstGeom>
          <a:solidFill>
            <a:srgbClr val="FFFFFF"/>
          </a:soli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Arial"/>
              <a:ea typeface="+mn-ea"/>
              <a:cs typeface="+mn-cs"/>
            </a:endParaRPr>
          </a:p>
        </p:txBody>
      </p:sp>
      <p:sp>
        <p:nvSpPr>
          <p:cNvPr id="7" name="Prostokąt: zaokrąglone rogi 6">
            <a:extLst>
              <a:ext uri="{FF2B5EF4-FFF2-40B4-BE49-F238E27FC236}">
                <a16:creationId xmlns:a16="http://schemas.microsoft.com/office/drawing/2014/main" id="{98C6EB19-F237-403E-A944-892EF44A1809}"/>
              </a:ext>
            </a:extLst>
          </p:cNvPr>
          <p:cNvSpPr/>
          <p:nvPr/>
        </p:nvSpPr>
        <p:spPr>
          <a:xfrm>
            <a:off x="6315195" y="1643925"/>
            <a:ext cx="2731308" cy="2227822"/>
          </a:xfrm>
          <a:prstGeom prst="roundRect">
            <a:avLst>
              <a:gd name="adj" fmla="val 5491"/>
            </a:avLst>
          </a:prstGeom>
          <a:noFill/>
          <a:ln w="38100" cap="flat" cmpd="sng" algn="ctr">
            <a:solidFill>
              <a:srgbClr val="10A0CB"/>
            </a:solidFill>
            <a:prstDash val="dash"/>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Arial"/>
              <a:ea typeface="+mn-ea"/>
              <a:cs typeface="+mn-cs"/>
            </a:endParaRPr>
          </a:p>
        </p:txBody>
      </p:sp>
      <p:sp>
        <p:nvSpPr>
          <p:cNvPr id="8" name="Prostokąt 7">
            <a:extLst>
              <a:ext uri="{FF2B5EF4-FFF2-40B4-BE49-F238E27FC236}">
                <a16:creationId xmlns:a16="http://schemas.microsoft.com/office/drawing/2014/main" id="{FA96C581-384D-4E01-A331-5CDE4152B9EF}"/>
              </a:ext>
            </a:extLst>
          </p:cNvPr>
          <p:cNvSpPr/>
          <p:nvPr/>
        </p:nvSpPr>
        <p:spPr>
          <a:xfrm>
            <a:off x="8363548" y="2096318"/>
            <a:ext cx="1267822" cy="627332"/>
          </a:xfrm>
          <a:prstGeom prst="rect">
            <a:avLst/>
          </a:prstGeom>
          <a:solidFill>
            <a:srgbClr val="FFFFFF"/>
          </a:soli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Arial"/>
              <a:ea typeface="+mn-ea"/>
              <a:cs typeface="+mn-cs"/>
            </a:endParaRPr>
          </a:p>
        </p:txBody>
      </p:sp>
      <p:sp>
        <p:nvSpPr>
          <p:cNvPr id="9" name="Prostokąt 8">
            <a:extLst>
              <a:ext uri="{FF2B5EF4-FFF2-40B4-BE49-F238E27FC236}">
                <a16:creationId xmlns:a16="http://schemas.microsoft.com/office/drawing/2014/main" id="{F6AF3565-D02C-4C09-8058-9908BE1071E4}"/>
              </a:ext>
            </a:extLst>
          </p:cNvPr>
          <p:cNvSpPr/>
          <p:nvPr/>
        </p:nvSpPr>
        <p:spPr>
          <a:xfrm>
            <a:off x="8312375" y="2863481"/>
            <a:ext cx="1358434" cy="612969"/>
          </a:xfrm>
          <a:prstGeom prst="rect">
            <a:avLst/>
          </a:prstGeom>
          <a:solidFill>
            <a:srgbClr val="FFFFFF"/>
          </a:soli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0" name="Prostokąt 9">
            <a:extLst>
              <a:ext uri="{FF2B5EF4-FFF2-40B4-BE49-F238E27FC236}">
                <a16:creationId xmlns:a16="http://schemas.microsoft.com/office/drawing/2014/main" id="{2F7F68D6-05DF-4441-9CF3-0B57359CD007}"/>
              </a:ext>
            </a:extLst>
          </p:cNvPr>
          <p:cNvSpPr/>
          <p:nvPr/>
        </p:nvSpPr>
        <p:spPr>
          <a:xfrm>
            <a:off x="8358288" y="2867589"/>
            <a:ext cx="1273082" cy="642797"/>
          </a:xfrm>
          <a:prstGeom prst="rect">
            <a:avLst/>
          </a:prstGeom>
          <a:solidFill>
            <a:srgbClr val="FFFFFF"/>
          </a:soli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Arial"/>
              <a:ea typeface="+mn-ea"/>
              <a:cs typeface="+mn-cs"/>
            </a:endParaRPr>
          </a:p>
        </p:txBody>
      </p:sp>
      <p:sp>
        <p:nvSpPr>
          <p:cNvPr id="11" name="Prostokąt 10">
            <a:extLst>
              <a:ext uri="{FF2B5EF4-FFF2-40B4-BE49-F238E27FC236}">
                <a16:creationId xmlns:a16="http://schemas.microsoft.com/office/drawing/2014/main" id="{041305C4-187F-4EB0-93E4-F4D338578AA8}"/>
              </a:ext>
            </a:extLst>
          </p:cNvPr>
          <p:cNvSpPr/>
          <p:nvPr/>
        </p:nvSpPr>
        <p:spPr>
          <a:xfrm>
            <a:off x="8341691" y="2096318"/>
            <a:ext cx="1267822" cy="579644"/>
          </a:xfrm>
          <a:prstGeom prst="rect">
            <a:avLst/>
          </a:prstGeom>
          <a:solidFill>
            <a:srgbClr val="FFFFFF"/>
          </a:soli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Arial"/>
              <a:ea typeface="+mn-ea"/>
              <a:cs typeface="+mn-cs"/>
            </a:endParaRPr>
          </a:p>
        </p:txBody>
      </p:sp>
      <p:pic>
        <p:nvPicPr>
          <p:cNvPr id="12" name="Grafika 11">
            <a:extLst>
              <a:ext uri="{FF2B5EF4-FFF2-40B4-BE49-F238E27FC236}">
                <a16:creationId xmlns:a16="http://schemas.microsoft.com/office/drawing/2014/main" id="{1C62C4D2-A45B-43FD-BE66-05EE133318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948018" y="2150155"/>
            <a:ext cx="835995" cy="1224136"/>
          </a:xfrm>
          <a:prstGeom prst="rect">
            <a:avLst/>
          </a:prstGeom>
        </p:spPr>
      </p:pic>
      <p:pic>
        <p:nvPicPr>
          <p:cNvPr id="13" name="Grafika 12">
            <a:extLst>
              <a:ext uri="{FF2B5EF4-FFF2-40B4-BE49-F238E27FC236}">
                <a16:creationId xmlns:a16="http://schemas.microsoft.com/office/drawing/2014/main" id="{890DAEDF-72E7-4B8E-8F4A-E92022BFE3F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1782" y="2122587"/>
            <a:ext cx="835995" cy="1224136"/>
          </a:xfrm>
          <a:prstGeom prst="rect">
            <a:avLst/>
          </a:prstGeom>
        </p:spPr>
      </p:pic>
      <p:grpSp>
        <p:nvGrpSpPr>
          <p:cNvPr id="14" name="Grupa 13">
            <a:extLst>
              <a:ext uri="{FF2B5EF4-FFF2-40B4-BE49-F238E27FC236}">
                <a16:creationId xmlns:a16="http://schemas.microsoft.com/office/drawing/2014/main" id="{AE944987-393F-48EC-BB60-40C33D97FA36}"/>
              </a:ext>
            </a:extLst>
          </p:cNvPr>
          <p:cNvGrpSpPr/>
          <p:nvPr/>
        </p:nvGrpSpPr>
        <p:grpSpPr>
          <a:xfrm>
            <a:off x="2509393" y="2571072"/>
            <a:ext cx="1760734" cy="1384626"/>
            <a:chOff x="2591992" y="1710756"/>
            <a:chExt cx="3009082" cy="2366315"/>
          </a:xfrm>
        </p:grpSpPr>
        <p:pic>
          <p:nvPicPr>
            <p:cNvPr id="15" name="Obraz 14">
              <a:extLst>
                <a:ext uri="{FF2B5EF4-FFF2-40B4-BE49-F238E27FC236}">
                  <a16:creationId xmlns:a16="http://schemas.microsoft.com/office/drawing/2014/main" id="{6C8A21AE-B988-4107-8559-9E1CCAD6DC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91992" y="1710756"/>
              <a:ext cx="1310313" cy="980162"/>
            </a:xfrm>
            <a:prstGeom prst="rect">
              <a:avLst/>
            </a:prstGeom>
            <a:effectLst>
              <a:outerShdw blurRad="50800" dist="38100" dir="2700000" algn="tl" rotWithShape="0">
                <a:prstClr val="black">
                  <a:alpha val="40000"/>
                </a:prstClr>
              </a:outerShdw>
            </a:effectLst>
          </p:spPr>
        </p:pic>
        <p:pic>
          <p:nvPicPr>
            <p:cNvPr id="16" name="Obraz 15">
              <a:extLst>
                <a:ext uri="{FF2B5EF4-FFF2-40B4-BE49-F238E27FC236}">
                  <a16:creationId xmlns:a16="http://schemas.microsoft.com/office/drawing/2014/main" id="{CC255F8C-0471-4290-A694-C50239FDF17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596285" y="2852909"/>
              <a:ext cx="3004789" cy="1224162"/>
            </a:xfrm>
            <a:prstGeom prst="rect">
              <a:avLst/>
            </a:prstGeom>
            <a:ln>
              <a:noFill/>
            </a:ln>
            <a:effectLst>
              <a:outerShdw blurRad="50800" dist="38100" dir="2700000" algn="tl" rotWithShape="0">
                <a:prstClr val="black">
                  <a:alpha val="40000"/>
                </a:prstClr>
              </a:outerShdw>
            </a:effectLst>
          </p:spPr>
        </p:pic>
        <p:pic>
          <p:nvPicPr>
            <p:cNvPr id="17" name="Obraz 16">
              <a:extLst>
                <a:ext uri="{FF2B5EF4-FFF2-40B4-BE49-F238E27FC236}">
                  <a16:creationId xmlns:a16="http://schemas.microsoft.com/office/drawing/2014/main" id="{E8440909-A70A-4FF0-BA86-EAB6FEDD913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029363" y="1730645"/>
              <a:ext cx="1571711" cy="968151"/>
            </a:xfrm>
            <a:prstGeom prst="rect">
              <a:avLst/>
            </a:prstGeom>
            <a:ln>
              <a:noFill/>
            </a:ln>
            <a:effectLst>
              <a:outerShdw blurRad="50800" dist="38100" dir="2700000" algn="tl" rotWithShape="0">
                <a:prstClr val="black">
                  <a:alpha val="40000"/>
                </a:prstClr>
              </a:outerShdw>
            </a:effectLst>
          </p:spPr>
        </p:pic>
      </p:grpSp>
      <p:sp>
        <p:nvSpPr>
          <p:cNvPr id="18" name="pole tekstowe 17">
            <a:extLst>
              <a:ext uri="{FF2B5EF4-FFF2-40B4-BE49-F238E27FC236}">
                <a16:creationId xmlns:a16="http://schemas.microsoft.com/office/drawing/2014/main" id="{0DEFE94A-606B-4D5D-8AC3-5F65AA80141A}"/>
              </a:ext>
            </a:extLst>
          </p:cNvPr>
          <p:cNvSpPr txBox="1"/>
          <p:nvPr/>
        </p:nvSpPr>
        <p:spPr>
          <a:xfrm>
            <a:off x="3067328" y="1623878"/>
            <a:ext cx="914400" cy="914400"/>
          </a:xfrm>
          <a:prstGeom prst="rect">
            <a:avLst/>
          </a:prstGeom>
          <a:noFill/>
        </p:spPr>
        <p:txBody>
          <a:bodyPr wrap="none" lIns="36000" tIns="36000" rIns="36000" bIns="36000" rtlCol="0" anchor="ctr" anchorCtr="0">
            <a:noAutofit/>
          </a:bodyPr>
          <a:lstStyle/>
          <a:p>
            <a:pPr algn="ctr"/>
            <a:r>
              <a:rPr lang="pl-PL" sz="1600" b="1" dirty="0">
                <a:solidFill>
                  <a:schemeClr val="bg2">
                    <a:lumMod val="25000"/>
                  </a:schemeClr>
                </a:solidFill>
                <a:latin typeface="Arial"/>
              </a:rPr>
              <a:t>Software-</a:t>
            </a:r>
            <a:r>
              <a:rPr lang="pl-PL" sz="1600" b="1" dirty="0" err="1">
                <a:solidFill>
                  <a:schemeClr val="bg2">
                    <a:lumMod val="25000"/>
                  </a:schemeClr>
                </a:solidFill>
                <a:latin typeface="Arial"/>
              </a:rPr>
              <a:t>based</a:t>
            </a:r>
            <a:r>
              <a:rPr lang="pl-PL" sz="1600" b="1" dirty="0">
                <a:solidFill>
                  <a:schemeClr val="bg2">
                    <a:lumMod val="25000"/>
                  </a:schemeClr>
                </a:solidFill>
                <a:latin typeface="Arial"/>
              </a:rPr>
              <a:t> Analysis</a:t>
            </a:r>
          </a:p>
          <a:p>
            <a:pPr algn="ctr"/>
            <a:r>
              <a:rPr lang="pl-PL" sz="1200" dirty="0">
                <a:solidFill>
                  <a:schemeClr val="bg2">
                    <a:lumMod val="25000"/>
                  </a:schemeClr>
                </a:solidFill>
                <a:latin typeface="Arial"/>
              </a:rPr>
              <a:t>SNP System Scan / </a:t>
            </a:r>
          </a:p>
          <a:p>
            <a:pPr algn="ctr"/>
            <a:r>
              <a:rPr lang="pl-PL" sz="1200" dirty="0">
                <a:solidFill>
                  <a:schemeClr val="bg2">
                    <a:lumMod val="25000"/>
                  </a:schemeClr>
                </a:solidFill>
                <a:latin typeface="Arial"/>
              </a:rPr>
              <a:t>SNP Cr</a:t>
            </a:r>
            <a:r>
              <a:rPr lang="en-US" sz="1200" dirty="0">
                <a:solidFill>
                  <a:schemeClr val="bg2">
                    <a:lumMod val="25000"/>
                  </a:schemeClr>
                </a:solidFill>
                <a:latin typeface="Arial"/>
              </a:rPr>
              <a:t>y</a:t>
            </a:r>
            <a:r>
              <a:rPr lang="pl-PL" sz="1200" dirty="0">
                <a:solidFill>
                  <a:schemeClr val="bg2">
                    <a:lumMod val="25000"/>
                  </a:schemeClr>
                </a:solidFill>
                <a:latin typeface="Arial"/>
              </a:rPr>
              <a:t>stalBridge</a:t>
            </a:r>
          </a:p>
        </p:txBody>
      </p:sp>
      <p:sp>
        <p:nvSpPr>
          <p:cNvPr id="19" name="Freeform 8">
            <a:extLst>
              <a:ext uri="{FF2B5EF4-FFF2-40B4-BE49-F238E27FC236}">
                <a16:creationId xmlns:a16="http://schemas.microsoft.com/office/drawing/2014/main" id="{824A0E13-315B-4B63-B6D2-AC0CCCB54A6B}"/>
              </a:ext>
            </a:extLst>
          </p:cNvPr>
          <p:cNvSpPr>
            <a:spLocks noChangeAspect="1" noEditPoints="1"/>
          </p:cNvSpPr>
          <p:nvPr/>
        </p:nvSpPr>
        <p:spPr bwMode="auto">
          <a:xfrm>
            <a:off x="6826658" y="2058179"/>
            <a:ext cx="816974" cy="804554"/>
          </a:xfrm>
          <a:custGeom>
            <a:avLst/>
            <a:gdLst>
              <a:gd name="T0" fmla="*/ 953 w 1444"/>
              <a:gd name="T1" fmla="*/ 442 h 1377"/>
              <a:gd name="T2" fmla="*/ 932 w 1444"/>
              <a:gd name="T3" fmla="*/ 384 h 1377"/>
              <a:gd name="T4" fmla="*/ 1022 w 1444"/>
              <a:gd name="T5" fmla="*/ 264 h 1377"/>
              <a:gd name="T6" fmla="*/ 933 w 1444"/>
              <a:gd name="T7" fmla="*/ 153 h 1377"/>
              <a:gd name="T8" fmla="*/ 797 w 1444"/>
              <a:gd name="T9" fmla="*/ 216 h 1377"/>
              <a:gd name="T10" fmla="*/ 702 w 1444"/>
              <a:gd name="T11" fmla="*/ 164 h 1377"/>
              <a:gd name="T12" fmla="*/ 681 w 1444"/>
              <a:gd name="T13" fmla="*/ 15 h 1377"/>
              <a:gd name="T14" fmla="*/ 611 w 1444"/>
              <a:gd name="T15" fmla="*/ 3 h 1377"/>
              <a:gd name="T16" fmla="*/ 540 w 1444"/>
              <a:gd name="T17" fmla="*/ 0 h 1377"/>
              <a:gd name="T18" fmla="*/ 488 w 1444"/>
              <a:gd name="T19" fmla="*/ 141 h 1377"/>
              <a:gd name="T20" fmla="*/ 384 w 1444"/>
              <a:gd name="T21" fmla="*/ 172 h 1377"/>
              <a:gd name="T22" fmla="*/ 265 w 1444"/>
              <a:gd name="T23" fmla="*/ 81 h 1377"/>
              <a:gd name="T24" fmla="*/ 154 w 1444"/>
              <a:gd name="T25" fmla="*/ 170 h 1377"/>
              <a:gd name="T26" fmla="*/ 217 w 1444"/>
              <a:gd name="T27" fmla="*/ 306 h 1377"/>
              <a:gd name="T28" fmla="*/ 165 w 1444"/>
              <a:gd name="T29" fmla="*/ 401 h 1377"/>
              <a:gd name="T30" fmla="*/ 16 w 1444"/>
              <a:gd name="T31" fmla="*/ 422 h 1377"/>
              <a:gd name="T32" fmla="*/ 3 w 1444"/>
              <a:gd name="T33" fmla="*/ 492 h 1377"/>
              <a:gd name="T34" fmla="*/ 1 w 1444"/>
              <a:gd name="T35" fmla="*/ 563 h 1377"/>
              <a:gd name="T36" fmla="*/ 142 w 1444"/>
              <a:gd name="T37" fmla="*/ 615 h 1377"/>
              <a:gd name="T38" fmla="*/ 172 w 1444"/>
              <a:gd name="T39" fmla="*/ 719 h 1377"/>
              <a:gd name="T40" fmla="*/ 82 w 1444"/>
              <a:gd name="T41" fmla="*/ 839 h 1377"/>
              <a:gd name="T42" fmla="*/ 171 w 1444"/>
              <a:gd name="T43" fmla="*/ 950 h 1377"/>
              <a:gd name="T44" fmla="*/ 307 w 1444"/>
              <a:gd name="T45" fmla="*/ 887 h 1377"/>
              <a:gd name="T46" fmla="*/ 402 w 1444"/>
              <a:gd name="T47" fmla="*/ 938 h 1377"/>
              <a:gd name="T48" fmla="*/ 423 w 1444"/>
              <a:gd name="T49" fmla="*/ 1087 h 1377"/>
              <a:gd name="T50" fmla="*/ 493 w 1444"/>
              <a:gd name="T51" fmla="*/ 1100 h 1377"/>
              <a:gd name="T52" fmla="*/ 564 w 1444"/>
              <a:gd name="T53" fmla="*/ 1102 h 1377"/>
              <a:gd name="T54" fmla="*/ 616 w 1444"/>
              <a:gd name="T55" fmla="*/ 961 h 1377"/>
              <a:gd name="T56" fmla="*/ 720 w 1444"/>
              <a:gd name="T57" fmla="*/ 931 h 1377"/>
              <a:gd name="T58" fmla="*/ 749 w 1444"/>
              <a:gd name="T59" fmla="*/ 953 h 1377"/>
              <a:gd name="T60" fmla="*/ 744 w 1444"/>
              <a:gd name="T61" fmla="*/ 572 h 1377"/>
              <a:gd name="T62" fmla="*/ 531 w 1444"/>
              <a:gd name="T63" fmla="*/ 743 h 1377"/>
              <a:gd name="T64" fmla="*/ 360 w 1444"/>
              <a:gd name="T65" fmla="*/ 531 h 1377"/>
              <a:gd name="T66" fmla="*/ 573 w 1444"/>
              <a:gd name="T67" fmla="*/ 359 h 1377"/>
              <a:gd name="T68" fmla="*/ 744 w 1444"/>
              <a:gd name="T69" fmla="*/ 572 h 1377"/>
              <a:gd name="T70" fmla="*/ 1419 w 1444"/>
              <a:gd name="T71" fmla="*/ 495 h 1377"/>
              <a:gd name="T72" fmla="*/ 1232 w 1444"/>
              <a:gd name="T73" fmla="*/ 633 h 1377"/>
              <a:gd name="T74" fmla="*/ 1082 w 1444"/>
              <a:gd name="T75" fmla="*/ 465 h 1377"/>
              <a:gd name="T76" fmla="*/ 1274 w 1444"/>
              <a:gd name="T77" fmla="*/ 317 h 1377"/>
              <a:gd name="T78" fmla="*/ 1023 w 1444"/>
              <a:gd name="T79" fmla="*/ 352 h 1377"/>
              <a:gd name="T80" fmla="*/ 953 w 1444"/>
              <a:gd name="T81" fmla="*/ 442 h 1377"/>
              <a:gd name="T82" fmla="*/ 931 w 1444"/>
              <a:gd name="T83" fmla="*/ 517 h 1377"/>
              <a:gd name="T84" fmla="*/ 958 w 1444"/>
              <a:gd name="T85" fmla="*/ 660 h 1377"/>
              <a:gd name="T86" fmla="*/ 553 w 1444"/>
              <a:gd name="T87" fmla="*/ 1229 h 1377"/>
              <a:gd name="T88" fmla="*/ 563 w 1444"/>
              <a:gd name="T89" fmla="*/ 1289 h 1377"/>
              <a:gd name="T90" fmla="*/ 669 w 1444"/>
              <a:gd name="T91" fmla="*/ 1363 h 1377"/>
              <a:gd name="T92" fmla="*/ 729 w 1444"/>
              <a:gd name="T93" fmla="*/ 1353 h 1377"/>
              <a:gd name="T94" fmla="*/ 778 w 1444"/>
              <a:gd name="T95" fmla="*/ 1283 h 1377"/>
              <a:gd name="T96" fmla="*/ 1131 w 1444"/>
              <a:gd name="T97" fmla="*/ 787 h 1377"/>
              <a:gd name="T98" fmla="*/ 1334 w 1444"/>
              <a:gd name="T99" fmla="*/ 733 h 1377"/>
              <a:gd name="T100" fmla="*/ 1419 w 1444"/>
              <a:gd name="T101" fmla="*/ 495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4" h="1377">
                <a:moveTo>
                  <a:pt x="953" y="442"/>
                </a:moveTo>
                <a:cubicBezTo>
                  <a:pt x="947" y="422"/>
                  <a:pt x="940" y="402"/>
                  <a:pt x="932" y="384"/>
                </a:cubicBezTo>
                <a:lnTo>
                  <a:pt x="1022" y="264"/>
                </a:lnTo>
                <a:cubicBezTo>
                  <a:pt x="998" y="223"/>
                  <a:pt x="968" y="186"/>
                  <a:pt x="933" y="153"/>
                </a:cubicBezTo>
                <a:lnTo>
                  <a:pt x="797" y="216"/>
                </a:lnTo>
                <a:cubicBezTo>
                  <a:pt x="768" y="195"/>
                  <a:pt x="736" y="177"/>
                  <a:pt x="702" y="164"/>
                </a:cubicBezTo>
                <a:lnTo>
                  <a:pt x="681" y="15"/>
                </a:lnTo>
                <a:cubicBezTo>
                  <a:pt x="658" y="10"/>
                  <a:pt x="635" y="5"/>
                  <a:pt x="611" y="3"/>
                </a:cubicBezTo>
                <a:cubicBezTo>
                  <a:pt x="587" y="0"/>
                  <a:pt x="563" y="0"/>
                  <a:pt x="540" y="0"/>
                </a:cubicBezTo>
                <a:lnTo>
                  <a:pt x="488" y="141"/>
                </a:lnTo>
                <a:cubicBezTo>
                  <a:pt x="452" y="147"/>
                  <a:pt x="417" y="157"/>
                  <a:pt x="384" y="172"/>
                </a:cubicBezTo>
                <a:lnTo>
                  <a:pt x="265" y="81"/>
                </a:lnTo>
                <a:cubicBezTo>
                  <a:pt x="224" y="106"/>
                  <a:pt x="187" y="136"/>
                  <a:pt x="154" y="170"/>
                </a:cubicBezTo>
                <a:lnTo>
                  <a:pt x="217" y="306"/>
                </a:lnTo>
                <a:cubicBezTo>
                  <a:pt x="196" y="335"/>
                  <a:pt x="178" y="367"/>
                  <a:pt x="165" y="401"/>
                </a:cubicBezTo>
                <a:lnTo>
                  <a:pt x="16" y="422"/>
                </a:lnTo>
                <a:cubicBezTo>
                  <a:pt x="11" y="445"/>
                  <a:pt x="6" y="468"/>
                  <a:pt x="3" y="492"/>
                </a:cubicBezTo>
                <a:cubicBezTo>
                  <a:pt x="1" y="516"/>
                  <a:pt x="0" y="540"/>
                  <a:pt x="1" y="563"/>
                </a:cubicBezTo>
                <a:lnTo>
                  <a:pt x="142" y="615"/>
                </a:lnTo>
                <a:cubicBezTo>
                  <a:pt x="147" y="651"/>
                  <a:pt x="158" y="686"/>
                  <a:pt x="172" y="719"/>
                </a:cubicBezTo>
                <a:lnTo>
                  <a:pt x="82" y="839"/>
                </a:lnTo>
                <a:cubicBezTo>
                  <a:pt x="106" y="879"/>
                  <a:pt x="136" y="917"/>
                  <a:pt x="171" y="950"/>
                </a:cubicBezTo>
                <a:lnTo>
                  <a:pt x="307" y="887"/>
                </a:lnTo>
                <a:cubicBezTo>
                  <a:pt x="336" y="908"/>
                  <a:pt x="368" y="925"/>
                  <a:pt x="402" y="938"/>
                </a:cubicBezTo>
                <a:lnTo>
                  <a:pt x="423" y="1087"/>
                </a:lnTo>
                <a:cubicBezTo>
                  <a:pt x="446" y="1093"/>
                  <a:pt x="469" y="1097"/>
                  <a:pt x="493" y="1100"/>
                </a:cubicBezTo>
                <a:cubicBezTo>
                  <a:pt x="517" y="1103"/>
                  <a:pt x="540" y="1103"/>
                  <a:pt x="564" y="1102"/>
                </a:cubicBezTo>
                <a:lnTo>
                  <a:pt x="616" y="961"/>
                </a:lnTo>
                <a:cubicBezTo>
                  <a:pt x="652" y="956"/>
                  <a:pt x="687" y="946"/>
                  <a:pt x="720" y="931"/>
                </a:cubicBezTo>
                <a:lnTo>
                  <a:pt x="749" y="953"/>
                </a:lnTo>
                <a:moveTo>
                  <a:pt x="744" y="572"/>
                </a:moveTo>
                <a:cubicBezTo>
                  <a:pt x="732" y="678"/>
                  <a:pt x="637" y="755"/>
                  <a:pt x="531" y="743"/>
                </a:cubicBezTo>
                <a:cubicBezTo>
                  <a:pt x="425" y="732"/>
                  <a:pt x="349" y="637"/>
                  <a:pt x="360" y="531"/>
                </a:cubicBezTo>
                <a:cubicBezTo>
                  <a:pt x="371" y="425"/>
                  <a:pt x="467" y="348"/>
                  <a:pt x="573" y="359"/>
                </a:cubicBezTo>
                <a:cubicBezTo>
                  <a:pt x="679" y="371"/>
                  <a:pt x="755" y="466"/>
                  <a:pt x="744" y="572"/>
                </a:cubicBezTo>
                <a:close/>
                <a:moveTo>
                  <a:pt x="1419" y="495"/>
                </a:moveTo>
                <a:lnTo>
                  <a:pt x="1232" y="633"/>
                </a:lnTo>
                <a:lnTo>
                  <a:pt x="1082" y="465"/>
                </a:lnTo>
                <a:lnTo>
                  <a:pt x="1274" y="317"/>
                </a:lnTo>
                <a:cubicBezTo>
                  <a:pt x="1182" y="272"/>
                  <a:pt x="1095" y="294"/>
                  <a:pt x="1023" y="352"/>
                </a:cubicBezTo>
                <a:cubicBezTo>
                  <a:pt x="992" y="377"/>
                  <a:pt x="968" y="408"/>
                  <a:pt x="953" y="442"/>
                </a:cubicBezTo>
                <a:cubicBezTo>
                  <a:pt x="942" y="466"/>
                  <a:pt x="934" y="491"/>
                  <a:pt x="931" y="517"/>
                </a:cubicBezTo>
                <a:cubicBezTo>
                  <a:pt x="926" y="565"/>
                  <a:pt x="934" y="615"/>
                  <a:pt x="958" y="660"/>
                </a:cubicBezTo>
                <a:lnTo>
                  <a:pt x="553" y="1229"/>
                </a:lnTo>
                <a:cubicBezTo>
                  <a:pt x="540" y="1248"/>
                  <a:pt x="544" y="1275"/>
                  <a:pt x="563" y="1289"/>
                </a:cubicBezTo>
                <a:lnTo>
                  <a:pt x="669" y="1363"/>
                </a:lnTo>
                <a:cubicBezTo>
                  <a:pt x="688" y="1377"/>
                  <a:pt x="715" y="1372"/>
                  <a:pt x="729" y="1353"/>
                </a:cubicBezTo>
                <a:lnTo>
                  <a:pt x="778" y="1283"/>
                </a:lnTo>
                <a:lnTo>
                  <a:pt x="1131" y="787"/>
                </a:lnTo>
                <a:cubicBezTo>
                  <a:pt x="1200" y="799"/>
                  <a:pt x="1274" y="781"/>
                  <a:pt x="1334" y="733"/>
                </a:cubicBezTo>
                <a:cubicBezTo>
                  <a:pt x="1406" y="675"/>
                  <a:pt x="1444" y="594"/>
                  <a:pt x="1419" y="495"/>
                </a:cubicBezTo>
                <a:close/>
              </a:path>
            </a:pathLst>
          </a:custGeom>
          <a:noFill/>
          <a:ln w="19050" cap="rnd">
            <a:solidFill>
              <a:srgbClr val="10A0CB"/>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latin typeface="Arial"/>
            </a:endParaRPr>
          </a:p>
        </p:txBody>
      </p:sp>
      <p:sp>
        <p:nvSpPr>
          <p:cNvPr id="20" name="Freeform 5">
            <a:extLst>
              <a:ext uri="{FF2B5EF4-FFF2-40B4-BE49-F238E27FC236}">
                <a16:creationId xmlns:a16="http://schemas.microsoft.com/office/drawing/2014/main" id="{CFA52F4F-CDCC-4BD4-AED4-533486C00313}"/>
              </a:ext>
            </a:extLst>
          </p:cNvPr>
          <p:cNvSpPr>
            <a:spLocks noChangeAspect="1"/>
          </p:cNvSpPr>
          <p:nvPr/>
        </p:nvSpPr>
        <p:spPr bwMode="auto">
          <a:xfrm>
            <a:off x="6494162" y="4864318"/>
            <a:ext cx="913258" cy="888576"/>
          </a:xfrm>
          <a:custGeom>
            <a:avLst/>
            <a:gdLst>
              <a:gd name="T0" fmla="*/ 1302 w 1302"/>
              <a:gd name="T1" fmla="*/ 515 h 1223"/>
              <a:gd name="T2" fmla="*/ 977 w 1302"/>
              <a:gd name="T3" fmla="*/ 597 h 1223"/>
              <a:gd name="T4" fmla="*/ 922 w 1302"/>
              <a:gd name="T5" fmla="*/ 596 h 1223"/>
              <a:gd name="T6" fmla="*/ 893 w 1302"/>
              <a:gd name="T7" fmla="*/ 770 h 1223"/>
              <a:gd name="T8" fmla="*/ 814 w 1302"/>
              <a:gd name="T9" fmla="*/ 685 h 1223"/>
              <a:gd name="T10" fmla="*/ 489 w 1302"/>
              <a:gd name="T11" fmla="*/ 767 h 1223"/>
              <a:gd name="T12" fmla="*/ 424 w 1302"/>
              <a:gd name="T13" fmla="*/ 454 h 1223"/>
              <a:gd name="T14" fmla="*/ 489 w 1302"/>
              <a:gd name="T15" fmla="*/ 538 h 1223"/>
              <a:gd name="T16" fmla="*/ 814 w 1302"/>
              <a:gd name="T17" fmla="*/ 343 h 1223"/>
              <a:gd name="T18" fmla="*/ 489 w 1302"/>
              <a:gd name="T19" fmla="*/ 423 h 1223"/>
              <a:gd name="T20" fmla="*/ 424 w 1302"/>
              <a:gd name="T21" fmla="*/ 112 h 1223"/>
              <a:gd name="T22" fmla="*/ 489 w 1302"/>
              <a:gd name="T23" fmla="*/ 195 h 1223"/>
              <a:gd name="T24" fmla="*/ 814 w 1302"/>
              <a:gd name="T25" fmla="*/ 0 h 1223"/>
              <a:gd name="T26" fmla="*/ 489 w 1302"/>
              <a:gd name="T27" fmla="*/ 84 h 1223"/>
              <a:gd name="T28" fmla="*/ 399 w 1302"/>
              <a:gd name="T29" fmla="*/ 86 h 1223"/>
              <a:gd name="T30" fmla="*/ 396 w 1302"/>
              <a:gd name="T31" fmla="*/ 425 h 1223"/>
              <a:gd name="T32" fmla="*/ 325 w 1302"/>
              <a:gd name="T33" fmla="*/ 343 h 1223"/>
              <a:gd name="T34" fmla="*/ 0 w 1302"/>
              <a:gd name="T35" fmla="*/ 538 h 1223"/>
              <a:gd name="T36" fmla="*/ 325 w 1302"/>
              <a:gd name="T37" fmla="*/ 454 h 1223"/>
              <a:gd name="T38" fmla="*/ 396 w 1302"/>
              <a:gd name="T39" fmla="*/ 1140 h 1223"/>
              <a:gd name="T40" fmla="*/ 399 w 1302"/>
              <a:gd name="T41" fmla="*/ 1141 h 1223"/>
              <a:gd name="T42" fmla="*/ 489 w 1302"/>
              <a:gd name="T43" fmla="*/ 1223 h 1223"/>
              <a:gd name="T44" fmla="*/ 814 w 1302"/>
              <a:gd name="T45" fmla="*/ 1028 h 1223"/>
              <a:gd name="T46" fmla="*/ 489 w 1302"/>
              <a:gd name="T47" fmla="*/ 1112 h 1223"/>
              <a:gd name="T48" fmla="*/ 424 w 1302"/>
              <a:gd name="T49" fmla="*/ 796 h 1223"/>
              <a:gd name="T50" fmla="*/ 489 w 1302"/>
              <a:gd name="T51" fmla="*/ 880 h 1223"/>
              <a:gd name="T52" fmla="*/ 814 w 1302"/>
              <a:gd name="T53" fmla="*/ 799 h 1223"/>
              <a:gd name="T54" fmla="*/ 893 w 1302"/>
              <a:gd name="T55" fmla="*/ 966 h 1223"/>
              <a:gd name="T56" fmla="*/ 895 w 1302"/>
              <a:gd name="T57" fmla="*/ 971 h 1223"/>
              <a:gd name="T58" fmla="*/ 977 w 1302"/>
              <a:gd name="T59" fmla="*/ 1052 h 1223"/>
              <a:gd name="T60" fmla="*/ 1302 w 1302"/>
              <a:gd name="T61" fmla="*/ 857 h 1223"/>
              <a:gd name="T62" fmla="*/ 977 w 1302"/>
              <a:gd name="T63" fmla="*/ 942 h 1223"/>
              <a:gd name="T64" fmla="*/ 922 w 1302"/>
              <a:gd name="T65" fmla="*/ 625 h 1223"/>
              <a:gd name="T66" fmla="*/ 977 w 1302"/>
              <a:gd name="T67" fmla="*/ 710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02" h="1223">
                <a:moveTo>
                  <a:pt x="1302" y="710"/>
                </a:moveTo>
                <a:lnTo>
                  <a:pt x="1302" y="515"/>
                </a:lnTo>
                <a:lnTo>
                  <a:pt x="977" y="515"/>
                </a:lnTo>
                <a:lnTo>
                  <a:pt x="977" y="597"/>
                </a:lnTo>
                <a:lnTo>
                  <a:pt x="922" y="597"/>
                </a:lnTo>
                <a:lnTo>
                  <a:pt x="922" y="596"/>
                </a:lnTo>
                <a:lnTo>
                  <a:pt x="893" y="596"/>
                </a:lnTo>
                <a:lnTo>
                  <a:pt x="893" y="770"/>
                </a:lnTo>
                <a:lnTo>
                  <a:pt x="814" y="770"/>
                </a:lnTo>
                <a:lnTo>
                  <a:pt x="814" y="685"/>
                </a:lnTo>
                <a:lnTo>
                  <a:pt x="489" y="685"/>
                </a:lnTo>
                <a:lnTo>
                  <a:pt x="489" y="767"/>
                </a:lnTo>
                <a:lnTo>
                  <a:pt x="424" y="767"/>
                </a:lnTo>
                <a:lnTo>
                  <a:pt x="424" y="454"/>
                </a:lnTo>
                <a:lnTo>
                  <a:pt x="489" y="454"/>
                </a:lnTo>
                <a:lnTo>
                  <a:pt x="489" y="538"/>
                </a:lnTo>
                <a:lnTo>
                  <a:pt x="814" y="538"/>
                </a:lnTo>
                <a:lnTo>
                  <a:pt x="814" y="343"/>
                </a:lnTo>
                <a:lnTo>
                  <a:pt x="489" y="343"/>
                </a:lnTo>
                <a:lnTo>
                  <a:pt x="489" y="423"/>
                </a:lnTo>
                <a:lnTo>
                  <a:pt x="424" y="423"/>
                </a:lnTo>
                <a:lnTo>
                  <a:pt x="424" y="112"/>
                </a:lnTo>
                <a:lnTo>
                  <a:pt x="489" y="112"/>
                </a:lnTo>
                <a:lnTo>
                  <a:pt x="489" y="195"/>
                </a:lnTo>
                <a:lnTo>
                  <a:pt x="814" y="195"/>
                </a:lnTo>
                <a:lnTo>
                  <a:pt x="814" y="0"/>
                </a:lnTo>
                <a:lnTo>
                  <a:pt x="489" y="0"/>
                </a:lnTo>
                <a:lnTo>
                  <a:pt x="489" y="84"/>
                </a:lnTo>
                <a:lnTo>
                  <a:pt x="399" y="84"/>
                </a:lnTo>
                <a:lnTo>
                  <a:pt x="399" y="86"/>
                </a:lnTo>
                <a:lnTo>
                  <a:pt x="396" y="86"/>
                </a:lnTo>
                <a:lnTo>
                  <a:pt x="396" y="425"/>
                </a:lnTo>
                <a:lnTo>
                  <a:pt x="325" y="425"/>
                </a:lnTo>
                <a:lnTo>
                  <a:pt x="325" y="343"/>
                </a:lnTo>
                <a:lnTo>
                  <a:pt x="0" y="343"/>
                </a:lnTo>
                <a:lnTo>
                  <a:pt x="0" y="538"/>
                </a:lnTo>
                <a:lnTo>
                  <a:pt x="325" y="538"/>
                </a:lnTo>
                <a:lnTo>
                  <a:pt x="325" y="454"/>
                </a:lnTo>
                <a:lnTo>
                  <a:pt x="396" y="454"/>
                </a:lnTo>
                <a:lnTo>
                  <a:pt x="396" y="1140"/>
                </a:lnTo>
                <a:lnTo>
                  <a:pt x="399" y="1140"/>
                </a:lnTo>
                <a:lnTo>
                  <a:pt x="399" y="1141"/>
                </a:lnTo>
                <a:lnTo>
                  <a:pt x="489" y="1141"/>
                </a:lnTo>
                <a:lnTo>
                  <a:pt x="489" y="1223"/>
                </a:lnTo>
                <a:lnTo>
                  <a:pt x="814" y="1223"/>
                </a:lnTo>
                <a:lnTo>
                  <a:pt x="814" y="1028"/>
                </a:lnTo>
                <a:lnTo>
                  <a:pt x="489" y="1028"/>
                </a:lnTo>
                <a:lnTo>
                  <a:pt x="489" y="1112"/>
                </a:lnTo>
                <a:lnTo>
                  <a:pt x="424" y="1112"/>
                </a:lnTo>
                <a:lnTo>
                  <a:pt x="424" y="796"/>
                </a:lnTo>
                <a:lnTo>
                  <a:pt x="489" y="796"/>
                </a:lnTo>
                <a:lnTo>
                  <a:pt x="489" y="880"/>
                </a:lnTo>
                <a:lnTo>
                  <a:pt x="814" y="880"/>
                </a:lnTo>
                <a:lnTo>
                  <a:pt x="814" y="799"/>
                </a:lnTo>
                <a:lnTo>
                  <a:pt x="893" y="799"/>
                </a:lnTo>
                <a:lnTo>
                  <a:pt x="893" y="966"/>
                </a:lnTo>
                <a:lnTo>
                  <a:pt x="895" y="966"/>
                </a:lnTo>
                <a:lnTo>
                  <a:pt x="895" y="971"/>
                </a:lnTo>
                <a:lnTo>
                  <a:pt x="977" y="971"/>
                </a:lnTo>
                <a:lnTo>
                  <a:pt x="977" y="1052"/>
                </a:lnTo>
                <a:lnTo>
                  <a:pt x="1302" y="1052"/>
                </a:lnTo>
                <a:lnTo>
                  <a:pt x="1302" y="857"/>
                </a:lnTo>
                <a:lnTo>
                  <a:pt x="977" y="857"/>
                </a:lnTo>
                <a:lnTo>
                  <a:pt x="977" y="942"/>
                </a:lnTo>
                <a:lnTo>
                  <a:pt x="922" y="942"/>
                </a:lnTo>
                <a:lnTo>
                  <a:pt x="922" y="625"/>
                </a:lnTo>
                <a:lnTo>
                  <a:pt x="977" y="625"/>
                </a:lnTo>
                <a:lnTo>
                  <a:pt x="977" y="710"/>
                </a:lnTo>
                <a:lnTo>
                  <a:pt x="1302" y="710"/>
                </a:lnTo>
                <a:close/>
              </a:path>
            </a:pathLst>
          </a:custGeom>
          <a:noFill/>
          <a:ln w="12700" cap="rnd">
            <a:solidFill>
              <a:srgbClr val="706F6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Arial"/>
            </a:endParaRPr>
          </a:p>
        </p:txBody>
      </p:sp>
      <p:grpSp>
        <p:nvGrpSpPr>
          <p:cNvPr id="21" name="Gruppieren 76">
            <a:extLst>
              <a:ext uri="{FF2B5EF4-FFF2-40B4-BE49-F238E27FC236}">
                <a16:creationId xmlns:a16="http://schemas.microsoft.com/office/drawing/2014/main" id="{78484DED-8EA3-4DF0-961C-32A6DAB8E133}"/>
              </a:ext>
            </a:extLst>
          </p:cNvPr>
          <p:cNvGrpSpPr>
            <a:grpSpLocks noChangeAspect="1"/>
          </p:cNvGrpSpPr>
          <p:nvPr/>
        </p:nvGrpSpPr>
        <p:grpSpPr>
          <a:xfrm>
            <a:off x="4732559" y="2441252"/>
            <a:ext cx="541301" cy="529721"/>
            <a:chOff x="10274300" y="3806825"/>
            <a:chExt cx="593725" cy="581024"/>
          </a:xfrm>
          <a:noFill/>
        </p:grpSpPr>
        <p:sp>
          <p:nvSpPr>
            <p:cNvPr id="22" name="Freeform 19">
              <a:extLst>
                <a:ext uri="{FF2B5EF4-FFF2-40B4-BE49-F238E27FC236}">
                  <a16:creationId xmlns:a16="http://schemas.microsoft.com/office/drawing/2014/main" id="{47E9CEEC-E481-4579-AEA6-74C54382724C}"/>
                </a:ext>
              </a:extLst>
            </p:cNvPr>
            <p:cNvSpPr>
              <a:spLocks/>
            </p:cNvSpPr>
            <p:nvPr/>
          </p:nvSpPr>
          <p:spPr bwMode="auto">
            <a:xfrm>
              <a:off x="10274300" y="4205287"/>
              <a:ext cx="184150" cy="182562"/>
            </a:xfrm>
            <a:custGeom>
              <a:avLst/>
              <a:gdLst>
                <a:gd name="T0" fmla="*/ 679 w 679"/>
                <a:gd name="T1" fmla="*/ 196 h 678"/>
                <a:gd name="T2" fmla="*/ 249 w 679"/>
                <a:gd name="T3" fmla="*/ 624 h 678"/>
                <a:gd name="T4" fmla="*/ 54 w 679"/>
                <a:gd name="T5" fmla="*/ 624 h 678"/>
                <a:gd name="T6" fmla="*/ 54 w 679"/>
                <a:gd name="T7" fmla="*/ 624 h 678"/>
                <a:gd name="T8" fmla="*/ 54 w 679"/>
                <a:gd name="T9" fmla="*/ 429 h 678"/>
                <a:gd name="T10" fmla="*/ 484 w 679"/>
                <a:gd name="T11" fmla="*/ 0 h 678"/>
              </a:gdLst>
              <a:ahLst/>
              <a:cxnLst>
                <a:cxn ang="0">
                  <a:pos x="T0" y="T1"/>
                </a:cxn>
                <a:cxn ang="0">
                  <a:pos x="T2" y="T3"/>
                </a:cxn>
                <a:cxn ang="0">
                  <a:pos x="T4" y="T5"/>
                </a:cxn>
                <a:cxn ang="0">
                  <a:pos x="T6" y="T7"/>
                </a:cxn>
                <a:cxn ang="0">
                  <a:pos x="T8" y="T9"/>
                </a:cxn>
                <a:cxn ang="0">
                  <a:pos x="T10" y="T11"/>
                </a:cxn>
              </a:cxnLst>
              <a:rect l="0" t="0" r="r" b="b"/>
              <a:pathLst>
                <a:path w="679" h="678">
                  <a:moveTo>
                    <a:pt x="679" y="196"/>
                  </a:moveTo>
                  <a:lnTo>
                    <a:pt x="249" y="624"/>
                  </a:lnTo>
                  <a:cubicBezTo>
                    <a:pt x="195" y="678"/>
                    <a:pt x="108" y="678"/>
                    <a:pt x="54" y="624"/>
                  </a:cubicBezTo>
                  <a:lnTo>
                    <a:pt x="54" y="624"/>
                  </a:lnTo>
                  <a:cubicBezTo>
                    <a:pt x="0" y="570"/>
                    <a:pt x="0" y="482"/>
                    <a:pt x="54" y="429"/>
                  </a:cubicBezTo>
                  <a:lnTo>
                    <a:pt x="484" y="0"/>
                  </a:lnTo>
                </a:path>
              </a:pathLst>
            </a:custGeom>
            <a:grpFill/>
            <a:ln w="12700" cap="rnd">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chemeClr val="bg2">
                    <a:lumMod val="25000"/>
                  </a:schemeClr>
                </a:solidFill>
                <a:effectLst/>
                <a:uLnTx/>
                <a:uFillTx/>
                <a:latin typeface="Arial"/>
              </a:endParaRPr>
            </a:p>
          </p:txBody>
        </p:sp>
        <p:sp>
          <p:nvSpPr>
            <p:cNvPr id="23" name="Oval 20">
              <a:extLst>
                <a:ext uri="{FF2B5EF4-FFF2-40B4-BE49-F238E27FC236}">
                  <a16:creationId xmlns:a16="http://schemas.microsoft.com/office/drawing/2014/main" id="{AA7DF1AC-C03B-4A59-8402-CC50D0624FA2}"/>
                </a:ext>
              </a:extLst>
            </p:cNvPr>
            <p:cNvSpPr>
              <a:spLocks noChangeArrowheads="1"/>
            </p:cNvSpPr>
            <p:nvPr/>
          </p:nvSpPr>
          <p:spPr bwMode="auto">
            <a:xfrm>
              <a:off x="10363200" y="3806825"/>
              <a:ext cx="504825" cy="506412"/>
            </a:xfrm>
            <a:prstGeom prst="ellipse">
              <a:avLst/>
            </a:prstGeom>
            <a:grpFill/>
            <a:ln w="12700" cap="rnd">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chemeClr val="bg2">
                    <a:lumMod val="25000"/>
                  </a:schemeClr>
                </a:solidFill>
                <a:effectLst/>
                <a:uLnTx/>
                <a:uFillTx/>
                <a:latin typeface="Arial"/>
              </a:endParaRPr>
            </a:p>
          </p:txBody>
        </p:sp>
        <p:sp>
          <p:nvSpPr>
            <p:cNvPr id="24" name="Freeform 21">
              <a:extLst>
                <a:ext uri="{FF2B5EF4-FFF2-40B4-BE49-F238E27FC236}">
                  <a16:creationId xmlns:a16="http://schemas.microsoft.com/office/drawing/2014/main" id="{A8FD50E4-7790-49E5-8159-8F1BD5080C95}"/>
                </a:ext>
              </a:extLst>
            </p:cNvPr>
            <p:cNvSpPr>
              <a:spLocks noEditPoints="1"/>
            </p:cNvSpPr>
            <p:nvPr/>
          </p:nvSpPr>
          <p:spPr bwMode="auto">
            <a:xfrm>
              <a:off x="10460037" y="3889375"/>
              <a:ext cx="298450" cy="358775"/>
            </a:xfrm>
            <a:custGeom>
              <a:avLst/>
              <a:gdLst>
                <a:gd name="T0" fmla="*/ 157 w 1104"/>
                <a:gd name="T1" fmla="*/ 102 h 1325"/>
                <a:gd name="T2" fmla="*/ 327 w 1104"/>
                <a:gd name="T3" fmla="*/ 102 h 1325"/>
                <a:gd name="T4" fmla="*/ 327 w 1104"/>
                <a:gd name="T5" fmla="*/ 271 h 1325"/>
                <a:gd name="T6" fmla="*/ 157 w 1104"/>
                <a:gd name="T7" fmla="*/ 271 h 1325"/>
                <a:gd name="T8" fmla="*/ 157 w 1104"/>
                <a:gd name="T9" fmla="*/ 102 h 1325"/>
                <a:gd name="T10" fmla="*/ 686 w 1104"/>
                <a:gd name="T11" fmla="*/ 0 h 1325"/>
                <a:gd name="T12" fmla="*/ 819 w 1104"/>
                <a:gd name="T13" fmla="*/ 0 h 1325"/>
                <a:gd name="T14" fmla="*/ 819 w 1104"/>
                <a:gd name="T15" fmla="*/ 132 h 1325"/>
                <a:gd name="T16" fmla="*/ 686 w 1104"/>
                <a:gd name="T17" fmla="*/ 132 h 1325"/>
                <a:gd name="T18" fmla="*/ 686 w 1104"/>
                <a:gd name="T19" fmla="*/ 0 h 1325"/>
                <a:gd name="T20" fmla="*/ 521 w 1104"/>
                <a:gd name="T21" fmla="*/ 1192 h 1325"/>
                <a:gd name="T22" fmla="*/ 654 w 1104"/>
                <a:gd name="T23" fmla="*/ 1192 h 1325"/>
                <a:gd name="T24" fmla="*/ 654 w 1104"/>
                <a:gd name="T25" fmla="*/ 1325 h 1325"/>
                <a:gd name="T26" fmla="*/ 521 w 1104"/>
                <a:gd name="T27" fmla="*/ 1325 h 1325"/>
                <a:gd name="T28" fmla="*/ 521 w 1104"/>
                <a:gd name="T29" fmla="*/ 1192 h 1325"/>
                <a:gd name="T30" fmla="*/ 237 w 1104"/>
                <a:gd name="T31" fmla="*/ 1086 h 1325"/>
                <a:gd name="T32" fmla="*/ 370 w 1104"/>
                <a:gd name="T33" fmla="*/ 1086 h 1325"/>
                <a:gd name="T34" fmla="*/ 370 w 1104"/>
                <a:gd name="T35" fmla="*/ 1219 h 1325"/>
                <a:gd name="T36" fmla="*/ 237 w 1104"/>
                <a:gd name="T37" fmla="*/ 1219 h 1325"/>
                <a:gd name="T38" fmla="*/ 237 w 1104"/>
                <a:gd name="T39" fmla="*/ 1086 h 1325"/>
                <a:gd name="T40" fmla="*/ 935 w 1104"/>
                <a:gd name="T41" fmla="*/ 271 h 1325"/>
                <a:gd name="T42" fmla="*/ 1104 w 1104"/>
                <a:gd name="T43" fmla="*/ 271 h 1325"/>
                <a:gd name="T44" fmla="*/ 1104 w 1104"/>
                <a:gd name="T45" fmla="*/ 441 h 1325"/>
                <a:gd name="T46" fmla="*/ 935 w 1104"/>
                <a:gd name="T47" fmla="*/ 441 h 1325"/>
                <a:gd name="T48" fmla="*/ 935 w 1104"/>
                <a:gd name="T49" fmla="*/ 271 h 1325"/>
                <a:gd name="T50" fmla="*/ 441 w 1104"/>
                <a:gd name="T51" fmla="*/ 240 h 1325"/>
                <a:gd name="T52" fmla="*/ 691 w 1104"/>
                <a:gd name="T53" fmla="*/ 240 h 1325"/>
                <a:gd name="T54" fmla="*/ 691 w 1104"/>
                <a:gd name="T55" fmla="*/ 490 h 1325"/>
                <a:gd name="T56" fmla="*/ 441 w 1104"/>
                <a:gd name="T57" fmla="*/ 490 h 1325"/>
                <a:gd name="T58" fmla="*/ 441 w 1104"/>
                <a:gd name="T59" fmla="*/ 240 h 1325"/>
                <a:gd name="T60" fmla="*/ 527 w 1104"/>
                <a:gd name="T61" fmla="*/ 638 h 1325"/>
                <a:gd name="T62" fmla="*/ 978 w 1104"/>
                <a:gd name="T63" fmla="*/ 638 h 1325"/>
                <a:gd name="T64" fmla="*/ 978 w 1104"/>
                <a:gd name="T65" fmla="*/ 1089 h 1325"/>
                <a:gd name="T66" fmla="*/ 527 w 1104"/>
                <a:gd name="T67" fmla="*/ 1089 h 1325"/>
                <a:gd name="T68" fmla="*/ 527 w 1104"/>
                <a:gd name="T69" fmla="*/ 638 h 1325"/>
                <a:gd name="T70" fmla="*/ 0 w 1104"/>
                <a:gd name="T71" fmla="*/ 583 h 1325"/>
                <a:gd name="T72" fmla="*/ 308 w 1104"/>
                <a:gd name="T73" fmla="*/ 583 h 1325"/>
                <a:gd name="T74" fmla="*/ 308 w 1104"/>
                <a:gd name="T75" fmla="*/ 891 h 1325"/>
                <a:gd name="T76" fmla="*/ 0 w 1104"/>
                <a:gd name="T77" fmla="*/ 891 h 1325"/>
                <a:gd name="T78" fmla="*/ 0 w 1104"/>
                <a:gd name="T79" fmla="*/ 583 h 1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4" h="1325">
                  <a:moveTo>
                    <a:pt x="157" y="102"/>
                  </a:moveTo>
                  <a:lnTo>
                    <a:pt x="327" y="102"/>
                  </a:lnTo>
                  <a:lnTo>
                    <a:pt x="327" y="271"/>
                  </a:lnTo>
                  <a:lnTo>
                    <a:pt x="157" y="271"/>
                  </a:lnTo>
                  <a:lnTo>
                    <a:pt x="157" y="102"/>
                  </a:lnTo>
                  <a:close/>
                  <a:moveTo>
                    <a:pt x="686" y="0"/>
                  </a:moveTo>
                  <a:lnTo>
                    <a:pt x="819" y="0"/>
                  </a:lnTo>
                  <a:lnTo>
                    <a:pt x="819" y="132"/>
                  </a:lnTo>
                  <a:lnTo>
                    <a:pt x="686" y="132"/>
                  </a:lnTo>
                  <a:lnTo>
                    <a:pt x="686" y="0"/>
                  </a:lnTo>
                  <a:close/>
                  <a:moveTo>
                    <a:pt x="521" y="1192"/>
                  </a:moveTo>
                  <a:lnTo>
                    <a:pt x="654" y="1192"/>
                  </a:lnTo>
                  <a:lnTo>
                    <a:pt x="654" y="1325"/>
                  </a:lnTo>
                  <a:lnTo>
                    <a:pt x="521" y="1325"/>
                  </a:lnTo>
                  <a:lnTo>
                    <a:pt x="521" y="1192"/>
                  </a:lnTo>
                  <a:close/>
                  <a:moveTo>
                    <a:pt x="237" y="1086"/>
                  </a:moveTo>
                  <a:lnTo>
                    <a:pt x="370" y="1086"/>
                  </a:lnTo>
                  <a:lnTo>
                    <a:pt x="370" y="1219"/>
                  </a:lnTo>
                  <a:lnTo>
                    <a:pt x="237" y="1219"/>
                  </a:lnTo>
                  <a:lnTo>
                    <a:pt x="237" y="1086"/>
                  </a:lnTo>
                  <a:close/>
                  <a:moveTo>
                    <a:pt x="935" y="271"/>
                  </a:moveTo>
                  <a:lnTo>
                    <a:pt x="1104" y="271"/>
                  </a:lnTo>
                  <a:lnTo>
                    <a:pt x="1104" y="441"/>
                  </a:lnTo>
                  <a:lnTo>
                    <a:pt x="935" y="441"/>
                  </a:lnTo>
                  <a:lnTo>
                    <a:pt x="935" y="271"/>
                  </a:lnTo>
                  <a:close/>
                  <a:moveTo>
                    <a:pt x="441" y="240"/>
                  </a:moveTo>
                  <a:lnTo>
                    <a:pt x="691" y="240"/>
                  </a:lnTo>
                  <a:lnTo>
                    <a:pt x="691" y="490"/>
                  </a:lnTo>
                  <a:lnTo>
                    <a:pt x="441" y="490"/>
                  </a:lnTo>
                  <a:lnTo>
                    <a:pt x="441" y="240"/>
                  </a:lnTo>
                  <a:close/>
                  <a:moveTo>
                    <a:pt x="527" y="638"/>
                  </a:moveTo>
                  <a:lnTo>
                    <a:pt x="978" y="638"/>
                  </a:lnTo>
                  <a:lnTo>
                    <a:pt x="978" y="1089"/>
                  </a:lnTo>
                  <a:lnTo>
                    <a:pt x="527" y="1089"/>
                  </a:lnTo>
                  <a:lnTo>
                    <a:pt x="527" y="638"/>
                  </a:lnTo>
                  <a:close/>
                  <a:moveTo>
                    <a:pt x="0" y="583"/>
                  </a:moveTo>
                  <a:lnTo>
                    <a:pt x="308" y="583"/>
                  </a:lnTo>
                  <a:lnTo>
                    <a:pt x="308" y="891"/>
                  </a:lnTo>
                  <a:lnTo>
                    <a:pt x="0" y="891"/>
                  </a:lnTo>
                  <a:lnTo>
                    <a:pt x="0" y="583"/>
                  </a:lnTo>
                  <a:close/>
                </a:path>
              </a:pathLst>
            </a:custGeom>
            <a:grpFill/>
            <a:ln w="12700" cap="rnd">
              <a:solidFill>
                <a:schemeClr val="bg2">
                  <a:lumMod val="2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chemeClr val="bg2">
                    <a:lumMod val="25000"/>
                  </a:schemeClr>
                </a:solidFill>
                <a:effectLst/>
                <a:uLnTx/>
                <a:uFillTx/>
                <a:latin typeface="Arial"/>
              </a:endParaRPr>
            </a:p>
          </p:txBody>
        </p:sp>
      </p:grpSp>
      <p:sp>
        <p:nvSpPr>
          <p:cNvPr id="25" name="pole tekstowe 24">
            <a:extLst>
              <a:ext uri="{FF2B5EF4-FFF2-40B4-BE49-F238E27FC236}">
                <a16:creationId xmlns:a16="http://schemas.microsoft.com/office/drawing/2014/main" id="{09A3D988-6C30-4E6E-A4F2-8F76B8F640F5}"/>
              </a:ext>
            </a:extLst>
          </p:cNvPr>
          <p:cNvSpPr txBox="1"/>
          <p:nvPr/>
        </p:nvSpPr>
        <p:spPr>
          <a:xfrm>
            <a:off x="4499699" y="2810138"/>
            <a:ext cx="914400" cy="914400"/>
          </a:xfrm>
          <a:prstGeom prst="rect">
            <a:avLst/>
          </a:prstGeom>
          <a:noFill/>
        </p:spPr>
        <p:txBody>
          <a:bodyPr wrap="none" lIns="36000" tIns="36000" rIns="36000" bIns="36000" rtlCol="0" anchor="ctr" anchorCtr="0">
            <a:noAutofit/>
          </a:bodyPr>
          <a:lstStyle/>
          <a:p>
            <a:pPr algn="ctr"/>
            <a:r>
              <a:rPr lang="pl-PL" sz="1050" dirty="0">
                <a:solidFill>
                  <a:schemeClr val="bg2">
                    <a:lumMod val="25000"/>
                  </a:schemeClr>
                </a:solidFill>
                <a:latin typeface="Arial"/>
              </a:rPr>
              <a:t>Choice of the </a:t>
            </a:r>
          </a:p>
          <a:p>
            <a:pPr algn="ctr"/>
            <a:r>
              <a:rPr lang="pl-PL" sz="1050" dirty="0" err="1">
                <a:solidFill>
                  <a:schemeClr val="bg2">
                    <a:lumMod val="25000"/>
                  </a:schemeClr>
                </a:solidFill>
                <a:latin typeface="Arial"/>
              </a:rPr>
              <a:t>optimal</a:t>
            </a:r>
            <a:r>
              <a:rPr lang="pl-PL" sz="1050" dirty="0">
                <a:solidFill>
                  <a:schemeClr val="bg2">
                    <a:lumMod val="25000"/>
                  </a:schemeClr>
                </a:solidFill>
                <a:latin typeface="Arial"/>
              </a:rPr>
              <a:t> </a:t>
            </a:r>
            <a:r>
              <a:rPr lang="pl-PL" sz="1050" dirty="0" err="1">
                <a:solidFill>
                  <a:schemeClr val="bg2">
                    <a:lumMod val="25000"/>
                  </a:schemeClr>
                </a:solidFill>
                <a:latin typeface="Arial"/>
              </a:rPr>
              <a:t>approach</a:t>
            </a:r>
            <a:endParaRPr lang="en-US" sz="1050" dirty="0">
              <a:solidFill>
                <a:schemeClr val="bg2">
                  <a:lumMod val="25000"/>
                </a:schemeClr>
              </a:solidFill>
              <a:latin typeface="Arial"/>
            </a:endParaRPr>
          </a:p>
        </p:txBody>
      </p:sp>
      <p:sp>
        <p:nvSpPr>
          <p:cNvPr id="26" name="Prostokąt 25">
            <a:extLst>
              <a:ext uri="{FF2B5EF4-FFF2-40B4-BE49-F238E27FC236}">
                <a16:creationId xmlns:a16="http://schemas.microsoft.com/office/drawing/2014/main" id="{33967D8F-CDE6-4E68-998A-C66063130F3E}"/>
              </a:ext>
            </a:extLst>
          </p:cNvPr>
          <p:cNvSpPr/>
          <p:nvPr/>
        </p:nvSpPr>
        <p:spPr>
          <a:xfrm>
            <a:off x="6610634" y="3021907"/>
            <a:ext cx="1268227" cy="415498"/>
          </a:xfrm>
          <a:prstGeom prst="rect">
            <a:avLst/>
          </a:prstGeom>
          <a:noFill/>
        </p:spPr>
        <p:txBody>
          <a:bodyPr wrap="none" lIns="36000" tIns="36000" rIns="36000" bIns="36000" rtlCol="0" anchor="ctr" anchorCtr="0">
            <a:noAutofit/>
          </a:bodyPr>
          <a:lstStyle/>
          <a:p>
            <a:pPr algn="ctr"/>
            <a:r>
              <a:rPr lang="pl-PL" sz="1600" b="1" dirty="0">
                <a:solidFill>
                  <a:srgbClr val="10A0CB"/>
                </a:solidFill>
                <a:latin typeface="Arial"/>
              </a:rPr>
              <a:t>SNP S/4HANA</a:t>
            </a:r>
          </a:p>
          <a:p>
            <a:pPr algn="ctr"/>
            <a:r>
              <a:rPr lang="pl-PL" sz="1600" b="1" dirty="0">
                <a:solidFill>
                  <a:srgbClr val="10A0CB"/>
                </a:solidFill>
                <a:latin typeface="Arial"/>
              </a:rPr>
              <a:t>Conversion</a:t>
            </a:r>
            <a:endParaRPr lang="en-US" sz="1600" b="1" dirty="0">
              <a:solidFill>
                <a:srgbClr val="10A0CB"/>
              </a:solidFill>
              <a:latin typeface="Arial"/>
            </a:endParaRPr>
          </a:p>
        </p:txBody>
      </p:sp>
      <p:sp>
        <p:nvSpPr>
          <p:cNvPr id="27" name="Prostokąt 26">
            <a:extLst>
              <a:ext uri="{FF2B5EF4-FFF2-40B4-BE49-F238E27FC236}">
                <a16:creationId xmlns:a16="http://schemas.microsoft.com/office/drawing/2014/main" id="{6D50B4BD-E2B7-4065-A085-0D0858900375}"/>
              </a:ext>
            </a:extLst>
          </p:cNvPr>
          <p:cNvSpPr/>
          <p:nvPr/>
        </p:nvSpPr>
        <p:spPr>
          <a:xfrm>
            <a:off x="6196045" y="5867196"/>
            <a:ext cx="1602721" cy="415498"/>
          </a:xfrm>
          <a:prstGeom prst="rect">
            <a:avLst/>
          </a:prstGeom>
          <a:noFill/>
        </p:spPr>
        <p:txBody>
          <a:bodyPr wrap="none" lIns="36000" tIns="36000" rIns="36000" bIns="36000" rtlCol="0" anchor="ctr" anchorCtr="0">
            <a:noAutofit/>
          </a:bodyPr>
          <a:lstStyle/>
          <a:p>
            <a:pPr algn="ctr"/>
            <a:r>
              <a:rPr lang="pl-PL" sz="1200" dirty="0">
                <a:solidFill>
                  <a:schemeClr val="bg2">
                    <a:lumMod val="25000"/>
                  </a:schemeClr>
                </a:solidFill>
                <a:latin typeface="Arial"/>
              </a:rPr>
              <a:t>SNP S/4HANA </a:t>
            </a:r>
            <a:r>
              <a:rPr lang="pl-PL" sz="1200" dirty="0" err="1">
                <a:solidFill>
                  <a:schemeClr val="bg2">
                    <a:lumMod val="25000"/>
                  </a:schemeClr>
                </a:solidFill>
                <a:latin typeface="Arial"/>
              </a:rPr>
              <a:t>Fitting</a:t>
            </a:r>
            <a:br>
              <a:rPr lang="pl-PL" sz="1200" dirty="0">
                <a:solidFill>
                  <a:schemeClr val="bg2">
                    <a:lumMod val="25000"/>
                  </a:schemeClr>
                </a:solidFill>
                <a:latin typeface="Arial"/>
              </a:rPr>
            </a:br>
            <a:r>
              <a:rPr lang="pl-PL" sz="1200" dirty="0">
                <a:solidFill>
                  <a:schemeClr val="bg2">
                    <a:lumMod val="25000"/>
                  </a:schemeClr>
                </a:solidFill>
                <a:latin typeface="Arial"/>
              </a:rPr>
              <a:t>(</a:t>
            </a:r>
            <a:r>
              <a:rPr lang="pl-PL" sz="1200" dirty="0" err="1">
                <a:solidFill>
                  <a:schemeClr val="bg2">
                    <a:lumMod val="25000"/>
                  </a:schemeClr>
                </a:solidFill>
                <a:latin typeface="Arial"/>
              </a:rPr>
              <a:t>Deep</a:t>
            </a:r>
            <a:r>
              <a:rPr lang="pl-PL" sz="1200" dirty="0">
                <a:solidFill>
                  <a:schemeClr val="bg2">
                    <a:lumMod val="25000"/>
                  </a:schemeClr>
                </a:solidFill>
                <a:latin typeface="Arial"/>
              </a:rPr>
              <a:t> Analysis)</a:t>
            </a:r>
            <a:endParaRPr lang="en-US" sz="1200" dirty="0">
              <a:solidFill>
                <a:schemeClr val="bg2">
                  <a:lumMod val="25000"/>
                </a:schemeClr>
              </a:solidFill>
              <a:latin typeface="Arial"/>
            </a:endParaRPr>
          </a:p>
        </p:txBody>
      </p:sp>
      <p:sp>
        <p:nvSpPr>
          <p:cNvPr id="28" name="Prostokąt: zaokrąglone rogi 27">
            <a:extLst>
              <a:ext uri="{FF2B5EF4-FFF2-40B4-BE49-F238E27FC236}">
                <a16:creationId xmlns:a16="http://schemas.microsoft.com/office/drawing/2014/main" id="{58EC7D98-7C7B-4F04-8C31-6A0A27F3A8B3}"/>
              </a:ext>
            </a:extLst>
          </p:cNvPr>
          <p:cNvSpPr/>
          <p:nvPr/>
        </p:nvSpPr>
        <p:spPr>
          <a:xfrm>
            <a:off x="8475102" y="2160695"/>
            <a:ext cx="1075359" cy="461785"/>
          </a:xfrm>
          <a:prstGeom prst="roundRect">
            <a:avLst>
              <a:gd name="adj" fmla="val 26998"/>
            </a:avLst>
          </a:prstGeom>
          <a:noFill/>
          <a:ln w="12700" cap="flat" cmpd="sng" algn="ctr">
            <a:solidFill>
              <a:srgbClr val="10A0CB"/>
            </a:solidFill>
            <a:prstDash val="dash"/>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200" b="0" i="0" u="none" strike="noStrike" kern="0" cap="none" spc="0" normalizeH="0" baseline="0" noProof="0" dirty="0">
                <a:ln>
                  <a:noFill/>
                </a:ln>
                <a:solidFill>
                  <a:srgbClr val="10A0CB"/>
                </a:solidFill>
                <a:effectLst/>
                <a:uLnTx/>
                <a:uFillTx/>
                <a:latin typeface="Arial"/>
                <a:ea typeface="+mn-ea"/>
                <a:cs typeface="+mn-cs"/>
              </a:rPr>
              <a:t>Standard</a:t>
            </a:r>
            <a:endParaRPr kumimoji="0" lang="en-US" sz="1200" b="0" i="0" u="none" strike="noStrike" kern="0" cap="none" spc="0" normalizeH="0" baseline="0" noProof="0" dirty="0">
              <a:ln>
                <a:noFill/>
              </a:ln>
              <a:solidFill>
                <a:srgbClr val="10A0CB"/>
              </a:solidFill>
              <a:effectLst/>
              <a:uLnTx/>
              <a:uFillTx/>
              <a:latin typeface="Arial"/>
              <a:ea typeface="+mn-ea"/>
              <a:cs typeface="+mn-cs"/>
            </a:endParaRPr>
          </a:p>
        </p:txBody>
      </p:sp>
      <p:sp>
        <p:nvSpPr>
          <p:cNvPr id="29" name="Prostokąt: zaokrąglone rogi 28">
            <a:extLst>
              <a:ext uri="{FF2B5EF4-FFF2-40B4-BE49-F238E27FC236}">
                <a16:creationId xmlns:a16="http://schemas.microsoft.com/office/drawing/2014/main" id="{149738B4-2F49-451E-8DCD-D578C1353489}"/>
              </a:ext>
            </a:extLst>
          </p:cNvPr>
          <p:cNvSpPr/>
          <p:nvPr/>
        </p:nvSpPr>
        <p:spPr>
          <a:xfrm>
            <a:off x="8483221" y="2948158"/>
            <a:ext cx="1075359" cy="461785"/>
          </a:xfrm>
          <a:prstGeom prst="roundRect">
            <a:avLst>
              <a:gd name="adj" fmla="val 21833"/>
            </a:avLst>
          </a:prstGeom>
          <a:noFill/>
          <a:ln w="12700" cap="flat" cmpd="sng" algn="ctr">
            <a:solidFill>
              <a:srgbClr val="10A0CB"/>
            </a:solidFill>
            <a:prstDash val="dash"/>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200" b="0" i="0" u="none" strike="noStrike" kern="0" cap="none" spc="0" normalizeH="0" baseline="0" noProof="0" dirty="0">
                <a:ln>
                  <a:noFill/>
                </a:ln>
                <a:solidFill>
                  <a:srgbClr val="10A0CB"/>
                </a:solidFill>
                <a:effectLst/>
                <a:uLnTx/>
                <a:uFillTx/>
                <a:latin typeface="Arial"/>
                <a:ea typeface="+mn-ea"/>
                <a:cs typeface="+mn-cs"/>
              </a:rPr>
              <a:t>Extended</a:t>
            </a:r>
            <a:endParaRPr kumimoji="0" lang="en-US" sz="1200" b="0" i="0" u="none" strike="noStrike" kern="0" cap="none" spc="0" normalizeH="0" baseline="0" noProof="0" dirty="0">
              <a:ln>
                <a:noFill/>
              </a:ln>
              <a:solidFill>
                <a:srgbClr val="10A0CB"/>
              </a:solidFill>
              <a:effectLst/>
              <a:uLnTx/>
              <a:uFillTx/>
              <a:latin typeface="Arial"/>
              <a:ea typeface="+mn-ea"/>
              <a:cs typeface="+mn-cs"/>
            </a:endParaRPr>
          </a:p>
        </p:txBody>
      </p:sp>
      <p:sp>
        <p:nvSpPr>
          <p:cNvPr id="30" name="Prostokąt 29">
            <a:extLst>
              <a:ext uri="{FF2B5EF4-FFF2-40B4-BE49-F238E27FC236}">
                <a16:creationId xmlns:a16="http://schemas.microsoft.com/office/drawing/2014/main" id="{9C1D1B4A-D50D-42D5-BF55-06A648934C44}"/>
              </a:ext>
            </a:extLst>
          </p:cNvPr>
          <p:cNvSpPr/>
          <p:nvPr/>
        </p:nvSpPr>
        <p:spPr>
          <a:xfrm>
            <a:off x="8356918" y="4209879"/>
            <a:ext cx="1268039" cy="581626"/>
          </a:xfrm>
          <a:prstGeom prst="rect">
            <a:avLst/>
          </a:prstGeom>
          <a:solidFill>
            <a:srgbClr val="FFFFFF"/>
          </a:soli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Arial"/>
              <a:ea typeface="+mn-ea"/>
              <a:cs typeface="+mn-cs"/>
            </a:endParaRPr>
          </a:p>
        </p:txBody>
      </p:sp>
      <p:sp>
        <p:nvSpPr>
          <p:cNvPr id="31" name="Prostokąt: zaokrąglone rogi 30">
            <a:extLst>
              <a:ext uri="{FF2B5EF4-FFF2-40B4-BE49-F238E27FC236}">
                <a16:creationId xmlns:a16="http://schemas.microsoft.com/office/drawing/2014/main" id="{262F85FB-A4FF-4B94-9D22-3660F670B4B2}"/>
              </a:ext>
            </a:extLst>
          </p:cNvPr>
          <p:cNvSpPr/>
          <p:nvPr/>
        </p:nvSpPr>
        <p:spPr>
          <a:xfrm>
            <a:off x="8462555" y="4307416"/>
            <a:ext cx="1075359" cy="461785"/>
          </a:xfrm>
          <a:prstGeom prst="roundRect">
            <a:avLst>
              <a:gd name="adj" fmla="val 26998"/>
            </a:avLst>
          </a:prstGeom>
          <a:noFill/>
          <a:ln w="12700" cap="flat" cmpd="sng" algn="ctr">
            <a:solidFill>
              <a:srgbClr val="005A9A"/>
            </a:solidFill>
            <a:prstDash val="dash"/>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200" b="0" i="0" u="none" strike="noStrike" kern="0" cap="none" spc="0" normalizeH="0" baseline="0" noProof="0" dirty="0" err="1">
                <a:ln>
                  <a:noFill/>
                </a:ln>
                <a:solidFill>
                  <a:srgbClr val="005A9A"/>
                </a:solidFill>
                <a:effectLst/>
                <a:uLnTx/>
                <a:uFillTx/>
                <a:latin typeface="Arial"/>
                <a:ea typeface="+mn-ea"/>
                <a:cs typeface="+mn-cs"/>
              </a:rPr>
              <a:t>Bluefield</a:t>
            </a:r>
            <a:endParaRPr kumimoji="0" lang="en-US" sz="1200" b="0" i="0" u="none" strike="noStrike" kern="0" cap="none" spc="0" normalizeH="0" baseline="0" noProof="0" dirty="0">
              <a:ln>
                <a:noFill/>
              </a:ln>
              <a:solidFill>
                <a:srgbClr val="005A9A"/>
              </a:solidFill>
              <a:effectLst/>
              <a:uLnTx/>
              <a:uFillTx/>
              <a:latin typeface="Arial"/>
              <a:ea typeface="+mn-ea"/>
              <a:cs typeface="+mn-cs"/>
            </a:endParaRPr>
          </a:p>
        </p:txBody>
      </p:sp>
      <p:sp>
        <p:nvSpPr>
          <p:cNvPr id="32" name="Prostokąt 31">
            <a:extLst>
              <a:ext uri="{FF2B5EF4-FFF2-40B4-BE49-F238E27FC236}">
                <a16:creationId xmlns:a16="http://schemas.microsoft.com/office/drawing/2014/main" id="{45117322-9862-4061-BD08-8992DF83C54B}"/>
              </a:ext>
            </a:extLst>
          </p:cNvPr>
          <p:cNvSpPr/>
          <p:nvPr/>
        </p:nvSpPr>
        <p:spPr>
          <a:xfrm>
            <a:off x="8377926" y="4925943"/>
            <a:ext cx="1247031" cy="538928"/>
          </a:xfrm>
          <a:prstGeom prst="rect">
            <a:avLst/>
          </a:prstGeom>
          <a:solidFill>
            <a:srgbClr val="FFFFFF"/>
          </a:soli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Arial"/>
              <a:ea typeface="+mn-ea"/>
              <a:cs typeface="+mn-cs"/>
            </a:endParaRPr>
          </a:p>
        </p:txBody>
      </p:sp>
      <p:sp>
        <p:nvSpPr>
          <p:cNvPr id="33" name="Prostokąt: zaokrąglone rogi 32">
            <a:extLst>
              <a:ext uri="{FF2B5EF4-FFF2-40B4-BE49-F238E27FC236}">
                <a16:creationId xmlns:a16="http://schemas.microsoft.com/office/drawing/2014/main" id="{C7E9FDC7-F40B-460B-B215-91C89263653E}"/>
              </a:ext>
            </a:extLst>
          </p:cNvPr>
          <p:cNvSpPr/>
          <p:nvPr/>
        </p:nvSpPr>
        <p:spPr>
          <a:xfrm>
            <a:off x="8483563" y="4982906"/>
            <a:ext cx="1075359" cy="461785"/>
          </a:xfrm>
          <a:prstGeom prst="roundRect">
            <a:avLst>
              <a:gd name="adj" fmla="val 26998"/>
            </a:avLst>
          </a:prstGeom>
          <a:noFill/>
          <a:ln w="12700" cap="flat" cmpd="sng" algn="ctr">
            <a:solidFill>
              <a:srgbClr val="E18800">
                <a:lumMod val="50000"/>
              </a:srgbClr>
            </a:solidFill>
            <a:prstDash val="dash"/>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200" b="0" i="0" u="none" strike="noStrike" kern="0" cap="none" spc="0" normalizeH="0" baseline="0" noProof="0" dirty="0" err="1">
                <a:ln>
                  <a:noFill/>
                </a:ln>
                <a:solidFill>
                  <a:srgbClr val="E18800">
                    <a:lumMod val="50000"/>
                  </a:srgbClr>
                </a:solidFill>
                <a:effectLst/>
                <a:uLnTx/>
                <a:uFillTx/>
                <a:latin typeface="Arial"/>
                <a:ea typeface="+mn-ea"/>
                <a:cs typeface="+mn-cs"/>
              </a:rPr>
              <a:t>Brownfield</a:t>
            </a:r>
            <a:endParaRPr kumimoji="0" lang="en-US" sz="1200" b="0" i="0" u="none" strike="noStrike" kern="0" cap="none" spc="0" normalizeH="0" baseline="0" noProof="0" dirty="0">
              <a:ln>
                <a:noFill/>
              </a:ln>
              <a:solidFill>
                <a:srgbClr val="E18800">
                  <a:lumMod val="50000"/>
                </a:srgbClr>
              </a:solidFill>
              <a:effectLst/>
              <a:uLnTx/>
              <a:uFillTx/>
              <a:latin typeface="Arial"/>
              <a:ea typeface="+mn-ea"/>
              <a:cs typeface="+mn-cs"/>
            </a:endParaRPr>
          </a:p>
        </p:txBody>
      </p:sp>
      <p:sp>
        <p:nvSpPr>
          <p:cNvPr id="34" name="Prostokąt 33">
            <a:extLst>
              <a:ext uri="{FF2B5EF4-FFF2-40B4-BE49-F238E27FC236}">
                <a16:creationId xmlns:a16="http://schemas.microsoft.com/office/drawing/2014/main" id="{4873AB4D-4E03-4E7D-8DAF-F4ACED926CA7}"/>
              </a:ext>
            </a:extLst>
          </p:cNvPr>
          <p:cNvSpPr/>
          <p:nvPr/>
        </p:nvSpPr>
        <p:spPr>
          <a:xfrm>
            <a:off x="8373732" y="5599309"/>
            <a:ext cx="1273082" cy="575373"/>
          </a:xfrm>
          <a:prstGeom prst="rect">
            <a:avLst/>
          </a:prstGeom>
          <a:solidFill>
            <a:srgbClr val="FFFFFF"/>
          </a:solidFill>
          <a:ln w="12700" cap="flat" cmpd="sng" algn="ctr">
            <a:noFill/>
            <a:prstDash val="solid"/>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Arial"/>
              <a:ea typeface="+mn-ea"/>
              <a:cs typeface="+mn-cs"/>
            </a:endParaRPr>
          </a:p>
        </p:txBody>
      </p:sp>
      <p:sp>
        <p:nvSpPr>
          <p:cNvPr id="35" name="Prostokąt: zaokrąglone rogi 34">
            <a:extLst>
              <a:ext uri="{FF2B5EF4-FFF2-40B4-BE49-F238E27FC236}">
                <a16:creationId xmlns:a16="http://schemas.microsoft.com/office/drawing/2014/main" id="{530AF7CB-3938-474E-BAC8-E8AE0136522B}"/>
              </a:ext>
            </a:extLst>
          </p:cNvPr>
          <p:cNvSpPr/>
          <p:nvPr/>
        </p:nvSpPr>
        <p:spPr>
          <a:xfrm>
            <a:off x="8479369" y="5648625"/>
            <a:ext cx="1075359" cy="461785"/>
          </a:xfrm>
          <a:prstGeom prst="roundRect">
            <a:avLst>
              <a:gd name="adj" fmla="val 26998"/>
            </a:avLst>
          </a:prstGeom>
          <a:noFill/>
          <a:ln w="12700" cap="flat" cmpd="sng" algn="ctr">
            <a:solidFill>
              <a:srgbClr val="A1AF4E">
                <a:lumMod val="75000"/>
              </a:srgbClr>
            </a:solidFill>
            <a:prstDash val="dash"/>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pl-PL" sz="1200" b="0" i="0" u="none" strike="noStrike" kern="0" cap="none" spc="0" normalizeH="0" baseline="0" noProof="0" dirty="0" err="1">
                <a:ln>
                  <a:noFill/>
                </a:ln>
                <a:solidFill>
                  <a:srgbClr val="A1AF4E">
                    <a:lumMod val="75000"/>
                  </a:srgbClr>
                </a:solidFill>
                <a:effectLst/>
                <a:uLnTx/>
                <a:uFillTx/>
                <a:latin typeface="Arial"/>
                <a:ea typeface="+mn-ea"/>
                <a:cs typeface="+mn-cs"/>
              </a:rPr>
              <a:t>Greenfield</a:t>
            </a:r>
            <a:endParaRPr kumimoji="0" lang="en-US" sz="1200" b="0" i="0" u="none" strike="noStrike" kern="0" cap="none" spc="0" normalizeH="0" baseline="0" noProof="0" dirty="0">
              <a:ln>
                <a:noFill/>
              </a:ln>
              <a:solidFill>
                <a:srgbClr val="A1AF4E">
                  <a:lumMod val="75000"/>
                </a:srgbClr>
              </a:solidFill>
              <a:effectLst/>
              <a:uLnTx/>
              <a:uFillTx/>
              <a:latin typeface="Arial"/>
              <a:ea typeface="+mn-ea"/>
              <a:cs typeface="+mn-cs"/>
            </a:endParaRPr>
          </a:p>
        </p:txBody>
      </p:sp>
      <p:sp>
        <p:nvSpPr>
          <p:cNvPr id="36" name="pole tekstowe 35">
            <a:extLst>
              <a:ext uri="{FF2B5EF4-FFF2-40B4-BE49-F238E27FC236}">
                <a16:creationId xmlns:a16="http://schemas.microsoft.com/office/drawing/2014/main" id="{1267EF92-7194-4321-AFAE-9674F5E2CA22}"/>
              </a:ext>
            </a:extLst>
          </p:cNvPr>
          <p:cNvSpPr txBox="1"/>
          <p:nvPr/>
        </p:nvSpPr>
        <p:spPr>
          <a:xfrm>
            <a:off x="123525" y="3380822"/>
            <a:ext cx="1507912" cy="610229"/>
          </a:xfrm>
          <a:prstGeom prst="rect">
            <a:avLst/>
          </a:prstGeom>
          <a:noFill/>
        </p:spPr>
        <p:txBody>
          <a:bodyPr wrap="none" lIns="36000" tIns="36000" rIns="36000" bIns="36000" rtlCol="0" anchor="ctr" anchorCtr="0">
            <a:noAutofit/>
          </a:bodyPr>
          <a:lstStyle/>
          <a:p>
            <a:pPr algn="ctr"/>
            <a:r>
              <a:rPr lang="pl-PL" sz="1400" dirty="0">
                <a:latin typeface="Arial"/>
              </a:rPr>
              <a:t>SAP ERP / ECC</a:t>
            </a:r>
            <a:endParaRPr lang="en-US" sz="1400" dirty="0">
              <a:latin typeface="Arial"/>
            </a:endParaRPr>
          </a:p>
        </p:txBody>
      </p:sp>
      <p:sp>
        <p:nvSpPr>
          <p:cNvPr id="37" name="pole tekstowe 36">
            <a:extLst>
              <a:ext uri="{FF2B5EF4-FFF2-40B4-BE49-F238E27FC236}">
                <a16:creationId xmlns:a16="http://schemas.microsoft.com/office/drawing/2014/main" id="{244BC7D2-2271-4A11-A5CC-02118FC2BD0A}"/>
              </a:ext>
            </a:extLst>
          </p:cNvPr>
          <p:cNvSpPr txBox="1"/>
          <p:nvPr/>
        </p:nvSpPr>
        <p:spPr>
          <a:xfrm>
            <a:off x="10703650" y="3342988"/>
            <a:ext cx="1480774" cy="610229"/>
          </a:xfrm>
          <a:prstGeom prst="rect">
            <a:avLst/>
          </a:prstGeom>
          <a:noFill/>
        </p:spPr>
        <p:txBody>
          <a:bodyPr wrap="none" lIns="36000" tIns="36000" rIns="36000" bIns="36000" rtlCol="0" anchor="ctr" anchorCtr="0">
            <a:noAutofit/>
          </a:bodyPr>
          <a:lstStyle/>
          <a:p>
            <a:pPr algn="ctr"/>
            <a:r>
              <a:rPr lang="pl-PL" sz="1400" dirty="0">
                <a:solidFill>
                  <a:srgbClr val="10A0CB"/>
                </a:solidFill>
                <a:latin typeface="Arial"/>
              </a:rPr>
              <a:t>SAP S/4HANA</a:t>
            </a:r>
            <a:endParaRPr lang="en-US" sz="1400" dirty="0">
              <a:solidFill>
                <a:srgbClr val="10A0CB"/>
              </a:solidFill>
              <a:latin typeface="Arial"/>
            </a:endParaRPr>
          </a:p>
        </p:txBody>
      </p:sp>
      <p:cxnSp>
        <p:nvCxnSpPr>
          <p:cNvPr id="38" name="Łącznik prosty 37">
            <a:extLst>
              <a:ext uri="{FF2B5EF4-FFF2-40B4-BE49-F238E27FC236}">
                <a16:creationId xmlns:a16="http://schemas.microsoft.com/office/drawing/2014/main" id="{40CD1ECB-8182-4FAB-B9C7-C8EAC1870645}"/>
              </a:ext>
            </a:extLst>
          </p:cNvPr>
          <p:cNvCxnSpPr>
            <a:cxnSpLocks/>
          </p:cNvCxnSpPr>
          <p:nvPr/>
        </p:nvCxnSpPr>
        <p:spPr>
          <a:xfrm>
            <a:off x="1490068" y="2902949"/>
            <a:ext cx="678488" cy="0"/>
          </a:xfrm>
          <a:prstGeom prst="line">
            <a:avLst/>
          </a:prstGeom>
          <a:noFill/>
          <a:ln w="9525" cap="flat" cmpd="sng" algn="ctr">
            <a:solidFill>
              <a:srgbClr val="000000"/>
            </a:solidFill>
            <a:prstDash val="solid"/>
            <a:round/>
            <a:headEnd type="none" w="med" len="med"/>
            <a:tailEnd type="arrow" w="med" len="med"/>
          </a:ln>
          <a:effectLst/>
        </p:spPr>
      </p:cxnSp>
      <p:cxnSp>
        <p:nvCxnSpPr>
          <p:cNvPr id="39" name="Łącznik prosty 38">
            <a:extLst>
              <a:ext uri="{FF2B5EF4-FFF2-40B4-BE49-F238E27FC236}">
                <a16:creationId xmlns:a16="http://schemas.microsoft.com/office/drawing/2014/main" id="{51DEA2CF-AB05-45D7-982B-751E67D82958}"/>
              </a:ext>
            </a:extLst>
          </p:cNvPr>
          <p:cNvCxnSpPr>
            <a:cxnSpLocks/>
          </p:cNvCxnSpPr>
          <p:nvPr/>
        </p:nvCxnSpPr>
        <p:spPr>
          <a:xfrm>
            <a:off x="5453491" y="2909454"/>
            <a:ext cx="767378" cy="0"/>
          </a:xfrm>
          <a:prstGeom prst="line">
            <a:avLst/>
          </a:prstGeom>
          <a:noFill/>
          <a:ln w="9525" cap="flat" cmpd="sng" algn="ctr">
            <a:solidFill>
              <a:srgbClr val="000000"/>
            </a:solidFill>
            <a:prstDash val="solid"/>
            <a:round/>
            <a:headEnd type="none" w="med" len="med"/>
            <a:tailEnd type="arrow" w="med" len="med"/>
          </a:ln>
          <a:effectLst/>
        </p:spPr>
      </p:cxnSp>
      <p:cxnSp>
        <p:nvCxnSpPr>
          <p:cNvPr id="40" name="Łącznik prosty 39">
            <a:extLst>
              <a:ext uri="{FF2B5EF4-FFF2-40B4-BE49-F238E27FC236}">
                <a16:creationId xmlns:a16="http://schemas.microsoft.com/office/drawing/2014/main" id="{5F9EE770-D9AE-4AC6-8C21-DAE61273FB8C}"/>
              </a:ext>
            </a:extLst>
          </p:cNvPr>
          <p:cNvCxnSpPr>
            <a:cxnSpLocks/>
          </p:cNvCxnSpPr>
          <p:nvPr/>
        </p:nvCxnSpPr>
        <p:spPr>
          <a:xfrm flipV="1">
            <a:off x="8122802" y="2369347"/>
            <a:ext cx="316952" cy="2958"/>
          </a:xfrm>
          <a:prstGeom prst="line">
            <a:avLst/>
          </a:prstGeom>
          <a:noFill/>
          <a:ln w="9525" cap="flat" cmpd="sng" algn="ctr">
            <a:solidFill>
              <a:srgbClr val="000000"/>
            </a:solidFill>
            <a:prstDash val="solid"/>
            <a:round/>
            <a:headEnd type="none" w="med" len="med"/>
            <a:tailEnd type="arrow" w="med" len="med"/>
          </a:ln>
          <a:effectLst/>
        </p:spPr>
      </p:cxnSp>
      <p:cxnSp>
        <p:nvCxnSpPr>
          <p:cNvPr id="41" name="Łącznik prosty 40">
            <a:extLst>
              <a:ext uri="{FF2B5EF4-FFF2-40B4-BE49-F238E27FC236}">
                <a16:creationId xmlns:a16="http://schemas.microsoft.com/office/drawing/2014/main" id="{2DC53F59-E9C5-4043-9035-6517DE8928E4}"/>
              </a:ext>
            </a:extLst>
          </p:cNvPr>
          <p:cNvCxnSpPr>
            <a:cxnSpLocks/>
          </p:cNvCxnSpPr>
          <p:nvPr/>
        </p:nvCxnSpPr>
        <p:spPr>
          <a:xfrm>
            <a:off x="8122802" y="3187545"/>
            <a:ext cx="319606" cy="0"/>
          </a:xfrm>
          <a:prstGeom prst="line">
            <a:avLst/>
          </a:prstGeom>
          <a:noFill/>
          <a:ln w="9525" cap="flat" cmpd="sng" algn="ctr">
            <a:solidFill>
              <a:srgbClr val="000000"/>
            </a:solidFill>
            <a:prstDash val="solid"/>
            <a:round/>
            <a:headEnd type="none" w="med" len="med"/>
            <a:tailEnd type="arrow" w="med" len="med"/>
          </a:ln>
          <a:effectLst/>
        </p:spPr>
      </p:cxnSp>
      <p:cxnSp>
        <p:nvCxnSpPr>
          <p:cNvPr id="42" name="Łącznik prosty 41">
            <a:extLst>
              <a:ext uri="{FF2B5EF4-FFF2-40B4-BE49-F238E27FC236}">
                <a16:creationId xmlns:a16="http://schemas.microsoft.com/office/drawing/2014/main" id="{06C339FD-F7AE-42A0-A421-F32AFCC5D269}"/>
              </a:ext>
            </a:extLst>
          </p:cNvPr>
          <p:cNvCxnSpPr>
            <a:cxnSpLocks/>
          </p:cNvCxnSpPr>
          <p:nvPr/>
        </p:nvCxnSpPr>
        <p:spPr>
          <a:xfrm>
            <a:off x="10100010" y="2871340"/>
            <a:ext cx="764034" cy="0"/>
          </a:xfrm>
          <a:prstGeom prst="line">
            <a:avLst/>
          </a:prstGeom>
          <a:noFill/>
          <a:ln w="9525" cap="flat" cmpd="sng" algn="ctr">
            <a:solidFill>
              <a:srgbClr val="000000">
                <a:shade val="95000"/>
                <a:satMod val="105000"/>
              </a:srgbClr>
            </a:solidFill>
            <a:prstDash val="solid"/>
            <a:headEnd type="none" w="med" len="med"/>
            <a:tailEnd type="arrow" w="med" len="med"/>
          </a:ln>
          <a:effectLst/>
        </p:spPr>
      </p:cxnSp>
      <p:cxnSp>
        <p:nvCxnSpPr>
          <p:cNvPr id="43" name="Łącznik prosty 42">
            <a:extLst>
              <a:ext uri="{FF2B5EF4-FFF2-40B4-BE49-F238E27FC236}">
                <a16:creationId xmlns:a16="http://schemas.microsoft.com/office/drawing/2014/main" id="{94FDFBBF-3AB4-401C-BC69-0E1D50E98AF4}"/>
              </a:ext>
            </a:extLst>
          </p:cNvPr>
          <p:cNvCxnSpPr>
            <a:cxnSpLocks/>
          </p:cNvCxnSpPr>
          <p:nvPr/>
        </p:nvCxnSpPr>
        <p:spPr>
          <a:xfrm>
            <a:off x="5832119" y="2909454"/>
            <a:ext cx="5061" cy="2366857"/>
          </a:xfrm>
          <a:prstGeom prst="line">
            <a:avLst/>
          </a:prstGeom>
          <a:noFill/>
          <a:ln w="9525" cap="flat" cmpd="sng" algn="ctr">
            <a:solidFill>
              <a:srgbClr val="000000">
                <a:shade val="95000"/>
                <a:satMod val="105000"/>
              </a:srgbClr>
            </a:solidFill>
            <a:prstDash val="solid"/>
          </a:ln>
          <a:effectLst/>
        </p:spPr>
      </p:cxnSp>
      <p:cxnSp>
        <p:nvCxnSpPr>
          <p:cNvPr id="44" name="Łącznik prosty 43">
            <a:extLst>
              <a:ext uri="{FF2B5EF4-FFF2-40B4-BE49-F238E27FC236}">
                <a16:creationId xmlns:a16="http://schemas.microsoft.com/office/drawing/2014/main" id="{F0C9C885-2AF0-4136-AA46-2AA855FB5481}"/>
              </a:ext>
            </a:extLst>
          </p:cNvPr>
          <p:cNvCxnSpPr>
            <a:cxnSpLocks/>
          </p:cNvCxnSpPr>
          <p:nvPr/>
        </p:nvCxnSpPr>
        <p:spPr>
          <a:xfrm flipV="1">
            <a:off x="5820233" y="5272079"/>
            <a:ext cx="470611" cy="4232"/>
          </a:xfrm>
          <a:prstGeom prst="line">
            <a:avLst/>
          </a:prstGeom>
          <a:noFill/>
          <a:ln w="9525" cap="flat" cmpd="sng" algn="ctr">
            <a:solidFill>
              <a:srgbClr val="000000"/>
            </a:solidFill>
            <a:prstDash val="solid"/>
            <a:round/>
            <a:headEnd type="none" w="med" len="med"/>
            <a:tailEnd type="arrow" w="med" len="med"/>
          </a:ln>
          <a:effectLst/>
        </p:spPr>
      </p:cxnSp>
      <p:cxnSp>
        <p:nvCxnSpPr>
          <p:cNvPr id="45" name="Łącznik prosty 44">
            <a:extLst>
              <a:ext uri="{FF2B5EF4-FFF2-40B4-BE49-F238E27FC236}">
                <a16:creationId xmlns:a16="http://schemas.microsoft.com/office/drawing/2014/main" id="{B540B775-56A1-404A-90BC-BAF5ED7ADAD6}"/>
              </a:ext>
            </a:extLst>
          </p:cNvPr>
          <p:cNvCxnSpPr>
            <a:cxnSpLocks/>
          </p:cNvCxnSpPr>
          <p:nvPr/>
        </p:nvCxnSpPr>
        <p:spPr>
          <a:xfrm>
            <a:off x="8001810" y="4553375"/>
            <a:ext cx="412854" cy="2013"/>
          </a:xfrm>
          <a:prstGeom prst="line">
            <a:avLst/>
          </a:prstGeom>
          <a:noFill/>
          <a:ln w="9525" cap="flat" cmpd="sng" algn="ctr">
            <a:solidFill>
              <a:srgbClr val="000000"/>
            </a:solidFill>
            <a:prstDash val="solid"/>
            <a:round/>
            <a:headEnd type="none" w="med" len="med"/>
            <a:tailEnd type="arrow" w="med" len="med"/>
          </a:ln>
          <a:effectLst/>
        </p:spPr>
      </p:cxnSp>
      <p:cxnSp>
        <p:nvCxnSpPr>
          <p:cNvPr id="46" name="Łącznik prosty 45">
            <a:extLst>
              <a:ext uri="{FF2B5EF4-FFF2-40B4-BE49-F238E27FC236}">
                <a16:creationId xmlns:a16="http://schemas.microsoft.com/office/drawing/2014/main" id="{CA8C4171-21CA-4DA3-BE84-CFBDC0A44D83}"/>
              </a:ext>
            </a:extLst>
          </p:cNvPr>
          <p:cNvCxnSpPr>
            <a:cxnSpLocks/>
          </p:cNvCxnSpPr>
          <p:nvPr/>
        </p:nvCxnSpPr>
        <p:spPr>
          <a:xfrm>
            <a:off x="8001810" y="5274298"/>
            <a:ext cx="412854" cy="2013"/>
          </a:xfrm>
          <a:prstGeom prst="line">
            <a:avLst/>
          </a:prstGeom>
          <a:noFill/>
          <a:ln w="9525" cap="flat" cmpd="sng" algn="ctr">
            <a:solidFill>
              <a:srgbClr val="000000"/>
            </a:solidFill>
            <a:prstDash val="solid"/>
            <a:round/>
            <a:headEnd type="none" w="med" len="med"/>
            <a:tailEnd type="arrow" w="med" len="med"/>
          </a:ln>
          <a:effectLst/>
        </p:spPr>
      </p:cxnSp>
      <p:cxnSp>
        <p:nvCxnSpPr>
          <p:cNvPr id="47" name="Łącznik prosty 46">
            <a:extLst>
              <a:ext uri="{FF2B5EF4-FFF2-40B4-BE49-F238E27FC236}">
                <a16:creationId xmlns:a16="http://schemas.microsoft.com/office/drawing/2014/main" id="{E45A0B5E-35F9-4A45-8BC3-0AB92CEA9CD2}"/>
              </a:ext>
            </a:extLst>
          </p:cNvPr>
          <p:cNvCxnSpPr>
            <a:cxnSpLocks/>
          </p:cNvCxnSpPr>
          <p:nvPr/>
        </p:nvCxnSpPr>
        <p:spPr>
          <a:xfrm>
            <a:off x="8013697" y="5890595"/>
            <a:ext cx="412854" cy="2013"/>
          </a:xfrm>
          <a:prstGeom prst="line">
            <a:avLst/>
          </a:prstGeom>
          <a:noFill/>
          <a:ln w="9525" cap="flat" cmpd="sng" algn="ctr">
            <a:solidFill>
              <a:srgbClr val="000000"/>
            </a:solidFill>
            <a:prstDash val="solid"/>
            <a:round/>
            <a:headEnd type="none" w="med" len="med"/>
            <a:tailEnd type="arrow" w="med" len="med"/>
          </a:ln>
          <a:effectLst/>
        </p:spPr>
      </p:cxnSp>
      <p:cxnSp>
        <p:nvCxnSpPr>
          <p:cNvPr id="48" name="Łącznik prosty 47">
            <a:extLst>
              <a:ext uri="{FF2B5EF4-FFF2-40B4-BE49-F238E27FC236}">
                <a16:creationId xmlns:a16="http://schemas.microsoft.com/office/drawing/2014/main" id="{0452A331-AF04-483D-91B4-C0259A3DF258}"/>
              </a:ext>
            </a:extLst>
          </p:cNvPr>
          <p:cNvCxnSpPr>
            <a:cxnSpLocks/>
          </p:cNvCxnSpPr>
          <p:nvPr/>
        </p:nvCxnSpPr>
        <p:spPr>
          <a:xfrm>
            <a:off x="8001810" y="4553375"/>
            <a:ext cx="0" cy="1339233"/>
          </a:xfrm>
          <a:prstGeom prst="line">
            <a:avLst/>
          </a:prstGeom>
          <a:noFill/>
          <a:ln w="9525" cap="flat" cmpd="sng" algn="ctr">
            <a:solidFill>
              <a:srgbClr val="000000">
                <a:shade val="95000"/>
                <a:satMod val="105000"/>
              </a:srgbClr>
            </a:solidFill>
            <a:prstDash val="solid"/>
          </a:ln>
          <a:effectLst/>
        </p:spPr>
      </p:cxnSp>
      <p:cxnSp>
        <p:nvCxnSpPr>
          <p:cNvPr id="49" name="Łącznik prosty 48">
            <a:extLst>
              <a:ext uri="{FF2B5EF4-FFF2-40B4-BE49-F238E27FC236}">
                <a16:creationId xmlns:a16="http://schemas.microsoft.com/office/drawing/2014/main" id="{AFC7F601-D68F-40A4-8D8F-4598A54B7807}"/>
              </a:ext>
            </a:extLst>
          </p:cNvPr>
          <p:cNvCxnSpPr>
            <a:cxnSpLocks/>
          </p:cNvCxnSpPr>
          <p:nvPr/>
        </p:nvCxnSpPr>
        <p:spPr>
          <a:xfrm>
            <a:off x="10094708" y="2359198"/>
            <a:ext cx="2531" cy="3507998"/>
          </a:xfrm>
          <a:prstGeom prst="line">
            <a:avLst/>
          </a:prstGeom>
          <a:noFill/>
          <a:ln w="9525" cap="flat" cmpd="sng" algn="ctr">
            <a:solidFill>
              <a:srgbClr val="000000">
                <a:shade val="95000"/>
                <a:satMod val="105000"/>
              </a:srgbClr>
            </a:solidFill>
            <a:prstDash val="solid"/>
          </a:ln>
          <a:effectLst/>
        </p:spPr>
      </p:cxnSp>
      <p:cxnSp>
        <p:nvCxnSpPr>
          <p:cNvPr id="50" name="Łącznik prosty 49">
            <a:extLst>
              <a:ext uri="{FF2B5EF4-FFF2-40B4-BE49-F238E27FC236}">
                <a16:creationId xmlns:a16="http://schemas.microsoft.com/office/drawing/2014/main" id="{F888EADE-6FDF-41E2-AA70-0DB29EF9D95E}"/>
              </a:ext>
            </a:extLst>
          </p:cNvPr>
          <p:cNvCxnSpPr>
            <a:cxnSpLocks/>
          </p:cNvCxnSpPr>
          <p:nvPr/>
        </p:nvCxnSpPr>
        <p:spPr>
          <a:xfrm flipH="1" flipV="1">
            <a:off x="7549731" y="5267847"/>
            <a:ext cx="459601" cy="4232"/>
          </a:xfrm>
          <a:prstGeom prst="line">
            <a:avLst/>
          </a:prstGeom>
          <a:noFill/>
          <a:ln w="9525" cap="flat" cmpd="sng" algn="ctr">
            <a:solidFill>
              <a:srgbClr val="000000">
                <a:shade val="95000"/>
                <a:satMod val="105000"/>
              </a:srgbClr>
            </a:solidFill>
            <a:prstDash val="solid"/>
          </a:ln>
          <a:effectLst/>
        </p:spPr>
      </p:cxnSp>
      <p:cxnSp>
        <p:nvCxnSpPr>
          <p:cNvPr id="51" name="Łącznik prosty 50">
            <a:extLst>
              <a:ext uri="{FF2B5EF4-FFF2-40B4-BE49-F238E27FC236}">
                <a16:creationId xmlns:a16="http://schemas.microsoft.com/office/drawing/2014/main" id="{78AD36BD-BF57-4A42-89B3-6BFE331FB88D}"/>
              </a:ext>
            </a:extLst>
          </p:cNvPr>
          <p:cNvCxnSpPr>
            <a:cxnSpLocks/>
          </p:cNvCxnSpPr>
          <p:nvPr/>
        </p:nvCxnSpPr>
        <p:spPr>
          <a:xfrm flipH="1" flipV="1">
            <a:off x="9634150" y="2364122"/>
            <a:ext cx="459601" cy="4232"/>
          </a:xfrm>
          <a:prstGeom prst="line">
            <a:avLst/>
          </a:prstGeom>
          <a:noFill/>
          <a:ln w="9525" cap="flat" cmpd="sng" algn="ctr">
            <a:solidFill>
              <a:srgbClr val="000000">
                <a:shade val="95000"/>
                <a:satMod val="105000"/>
              </a:srgbClr>
            </a:solidFill>
            <a:prstDash val="solid"/>
          </a:ln>
          <a:effectLst/>
        </p:spPr>
      </p:cxnSp>
      <p:cxnSp>
        <p:nvCxnSpPr>
          <p:cNvPr id="52" name="Łącznik prosty 51">
            <a:extLst>
              <a:ext uri="{FF2B5EF4-FFF2-40B4-BE49-F238E27FC236}">
                <a16:creationId xmlns:a16="http://schemas.microsoft.com/office/drawing/2014/main" id="{ABD94E0C-E4D1-49E8-B7E8-E77CFB494246}"/>
              </a:ext>
            </a:extLst>
          </p:cNvPr>
          <p:cNvCxnSpPr>
            <a:cxnSpLocks/>
          </p:cNvCxnSpPr>
          <p:nvPr/>
        </p:nvCxnSpPr>
        <p:spPr>
          <a:xfrm flipH="1" flipV="1">
            <a:off x="9632988" y="3195029"/>
            <a:ext cx="459601" cy="4232"/>
          </a:xfrm>
          <a:prstGeom prst="line">
            <a:avLst/>
          </a:prstGeom>
          <a:noFill/>
          <a:ln w="9525" cap="flat" cmpd="sng" algn="ctr">
            <a:solidFill>
              <a:srgbClr val="000000">
                <a:shade val="95000"/>
                <a:satMod val="105000"/>
              </a:srgbClr>
            </a:solidFill>
            <a:prstDash val="solid"/>
          </a:ln>
          <a:effectLst/>
        </p:spPr>
      </p:cxnSp>
      <p:cxnSp>
        <p:nvCxnSpPr>
          <p:cNvPr id="53" name="Łącznik prosty 52">
            <a:extLst>
              <a:ext uri="{FF2B5EF4-FFF2-40B4-BE49-F238E27FC236}">
                <a16:creationId xmlns:a16="http://schemas.microsoft.com/office/drawing/2014/main" id="{6B5FC51E-2668-4B50-B902-38E4A13D10E1}"/>
              </a:ext>
            </a:extLst>
          </p:cNvPr>
          <p:cNvCxnSpPr>
            <a:cxnSpLocks/>
          </p:cNvCxnSpPr>
          <p:nvPr/>
        </p:nvCxnSpPr>
        <p:spPr>
          <a:xfrm flipH="1" flipV="1">
            <a:off x="9640409" y="4508903"/>
            <a:ext cx="459601" cy="4232"/>
          </a:xfrm>
          <a:prstGeom prst="line">
            <a:avLst/>
          </a:prstGeom>
          <a:noFill/>
          <a:ln w="9525" cap="flat" cmpd="sng" algn="ctr">
            <a:solidFill>
              <a:srgbClr val="000000">
                <a:shade val="95000"/>
                <a:satMod val="105000"/>
              </a:srgbClr>
            </a:solidFill>
            <a:prstDash val="solid"/>
          </a:ln>
          <a:effectLst/>
        </p:spPr>
      </p:cxnSp>
      <p:cxnSp>
        <p:nvCxnSpPr>
          <p:cNvPr id="54" name="Łącznik prosty 53">
            <a:extLst>
              <a:ext uri="{FF2B5EF4-FFF2-40B4-BE49-F238E27FC236}">
                <a16:creationId xmlns:a16="http://schemas.microsoft.com/office/drawing/2014/main" id="{33B1B08C-534F-4B60-8338-32924BBC8DB4}"/>
              </a:ext>
            </a:extLst>
          </p:cNvPr>
          <p:cNvCxnSpPr>
            <a:cxnSpLocks/>
          </p:cNvCxnSpPr>
          <p:nvPr/>
        </p:nvCxnSpPr>
        <p:spPr>
          <a:xfrm flipH="1" flipV="1">
            <a:off x="9624957" y="5191175"/>
            <a:ext cx="459601" cy="4232"/>
          </a:xfrm>
          <a:prstGeom prst="line">
            <a:avLst/>
          </a:prstGeom>
          <a:noFill/>
          <a:ln w="9525" cap="flat" cmpd="sng" algn="ctr">
            <a:solidFill>
              <a:srgbClr val="000000">
                <a:shade val="95000"/>
                <a:satMod val="105000"/>
              </a:srgbClr>
            </a:solidFill>
            <a:prstDash val="solid"/>
          </a:ln>
          <a:effectLst/>
        </p:spPr>
      </p:cxnSp>
      <p:cxnSp>
        <p:nvCxnSpPr>
          <p:cNvPr id="55" name="Łącznik prosty 54">
            <a:extLst>
              <a:ext uri="{FF2B5EF4-FFF2-40B4-BE49-F238E27FC236}">
                <a16:creationId xmlns:a16="http://schemas.microsoft.com/office/drawing/2014/main" id="{6DC9C485-672D-455E-835F-1AE734545CA0}"/>
              </a:ext>
            </a:extLst>
          </p:cNvPr>
          <p:cNvCxnSpPr>
            <a:cxnSpLocks/>
          </p:cNvCxnSpPr>
          <p:nvPr/>
        </p:nvCxnSpPr>
        <p:spPr>
          <a:xfrm flipH="1" flipV="1">
            <a:off x="9637638" y="5864351"/>
            <a:ext cx="459601" cy="4232"/>
          </a:xfrm>
          <a:prstGeom prst="line">
            <a:avLst/>
          </a:prstGeom>
          <a:noFill/>
          <a:ln w="9525" cap="flat" cmpd="sng" algn="ctr">
            <a:solidFill>
              <a:srgbClr val="000000">
                <a:shade val="95000"/>
                <a:satMod val="105000"/>
              </a:srgbClr>
            </a:solidFill>
            <a:prstDash val="solid"/>
          </a:ln>
          <a:effectLst/>
        </p:spPr>
      </p:cxnSp>
      <p:sp>
        <p:nvSpPr>
          <p:cNvPr id="57" name="Fußzeilenplatzhalter 4">
            <a:extLst>
              <a:ext uri="{FF2B5EF4-FFF2-40B4-BE49-F238E27FC236}">
                <a16:creationId xmlns:a16="http://schemas.microsoft.com/office/drawing/2014/main" id="{9A50CB07-5F37-4F2E-AF92-49FD30DF07BB}"/>
              </a:ext>
            </a:extLst>
          </p:cNvPr>
          <p:cNvSpPr>
            <a:spLocks noGrp="1"/>
          </p:cNvSpPr>
          <p:nvPr>
            <p:ph type="ftr" sz="quarter" idx="12"/>
          </p:nvPr>
        </p:nvSpPr>
        <p:spPr>
          <a:xfrm>
            <a:off x="1054646" y="6501507"/>
            <a:ext cx="4896000" cy="180000"/>
          </a:xfrm>
        </p:spPr>
        <p:txBody>
          <a:bodyPr/>
          <a:lstStyle/>
          <a:p>
            <a:r>
              <a:rPr lang="en-US">
                <a:solidFill>
                  <a:srgbClr val="6F6F6F"/>
                </a:solidFill>
              </a:rPr>
              <a:t>NZSUG Auckland Event + SAP Forum</a:t>
            </a:r>
            <a:endParaRPr lang="en-US" dirty="0">
              <a:solidFill>
                <a:srgbClr val="6F6F6F"/>
              </a:solidFill>
            </a:endParaRPr>
          </a:p>
        </p:txBody>
      </p:sp>
      <p:pic>
        <p:nvPicPr>
          <p:cNvPr id="56" name="Picture 55">
            <a:extLst>
              <a:ext uri="{FF2B5EF4-FFF2-40B4-BE49-F238E27FC236}">
                <a16:creationId xmlns:a16="http://schemas.microsoft.com/office/drawing/2014/main" id="{05578489-FC99-45DC-BA83-DF0A62CD1249}"/>
              </a:ext>
            </a:extLst>
          </p:cNvPr>
          <p:cNvPicPr>
            <a:picLocks noChangeAspect="1"/>
          </p:cNvPicPr>
          <p:nvPr/>
        </p:nvPicPr>
        <p:blipFill>
          <a:blip r:embed="rId9"/>
          <a:stretch>
            <a:fillRect/>
          </a:stretch>
        </p:blipFill>
        <p:spPr>
          <a:xfrm>
            <a:off x="9994951" y="384669"/>
            <a:ext cx="1311958" cy="411043"/>
          </a:xfrm>
          <a:prstGeom prst="rect">
            <a:avLst/>
          </a:prstGeom>
        </p:spPr>
      </p:pic>
    </p:spTree>
    <p:extLst>
      <p:ext uri="{BB962C8B-B14F-4D97-AF65-F5344CB8AC3E}">
        <p14:creationId xmlns:p14="http://schemas.microsoft.com/office/powerpoint/2010/main" val="855635920"/>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7C9CE9-D497-4B5A-8641-DB1530D11094}"/>
              </a:ext>
            </a:extLst>
          </p:cNvPr>
          <p:cNvSpPr>
            <a:spLocks noGrp="1"/>
          </p:cNvSpPr>
          <p:nvPr>
            <p:ph type="title"/>
          </p:nvPr>
        </p:nvSpPr>
        <p:spPr/>
        <p:txBody>
          <a:bodyPr/>
          <a:lstStyle/>
          <a:p>
            <a:r>
              <a:rPr lang="en-US" dirty="0"/>
              <a:t>S/4HANA I REFERENCES</a:t>
            </a:r>
          </a:p>
        </p:txBody>
      </p:sp>
      <p:pic>
        <p:nvPicPr>
          <p:cNvPr id="5" name="Grafik 4">
            <a:extLst>
              <a:ext uri="{FF2B5EF4-FFF2-40B4-BE49-F238E27FC236}">
                <a16:creationId xmlns:a16="http://schemas.microsoft.com/office/drawing/2014/main" id="{1D9F65EB-36E5-4011-AB59-1820DFB9F1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24347" y="3195649"/>
            <a:ext cx="1155091" cy="275236"/>
          </a:xfrm>
          <a:prstGeom prst="rect">
            <a:avLst/>
          </a:prstGeom>
        </p:spPr>
      </p:pic>
      <p:pic>
        <p:nvPicPr>
          <p:cNvPr id="6" name="Grafik 5">
            <a:extLst>
              <a:ext uri="{FF2B5EF4-FFF2-40B4-BE49-F238E27FC236}">
                <a16:creationId xmlns:a16="http://schemas.microsoft.com/office/drawing/2014/main" id="{2DA18D6C-B639-4B98-8E30-2DDD80298D0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46801" y="2986033"/>
            <a:ext cx="856566" cy="661830"/>
          </a:xfrm>
          <a:prstGeom prst="rect">
            <a:avLst/>
          </a:prstGeom>
        </p:spPr>
      </p:pic>
      <p:pic>
        <p:nvPicPr>
          <p:cNvPr id="7" name="Grafik 6">
            <a:extLst>
              <a:ext uri="{FF2B5EF4-FFF2-40B4-BE49-F238E27FC236}">
                <a16:creationId xmlns:a16="http://schemas.microsoft.com/office/drawing/2014/main" id="{70190136-C6FB-4745-8CF3-1080ADB6895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083149" y="4372514"/>
            <a:ext cx="983869" cy="238589"/>
          </a:xfrm>
          <a:prstGeom prst="rect">
            <a:avLst/>
          </a:prstGeom>
        </p:spPr>
      </p:pic>
      <p:pic>
        <p:nvPicPr>
          <p:cNvPr id="8" name="Grafik 7">
            <a:extLst>
              <a:ext uri="{FF2B5EF4-FFF2-40B4-BE49-F238E27FC236}">
                <a16:creationId xmlns:a16="http://schemas.microsoft.com/office/drawing/2014/main" id="{BCE3C5D1-8A90-4585-8890-036530D446F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431687" y="5371816"/>
            <a:ext cx="1299962" cy="785825"/>
          </a:xfrm>
          <a:prstGeom prst="rect">
            <a:avLst/>
          </a:prstGeom>
        </p:spPr>
      </p:pic>
      <p:pic>
        <p:nvPicPr>
          <p:cNvPr id="9" name="Grafik 8">
            <a:extLst>
              <a:ext uri="{FF2B5EF4-FFF2-40B4-BE49-F238E27FC236}">
                <a16:creationId xmlns:a16="http://schemas.microsoft.com/office/drawing/2014/main" id="{CD65676F-9E78-4E2B-B64B-D90FCFE54C5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755638" y="4350763"/>
            <a:ext cx="1247926" cy="420147"/>
          </a:xfrm>
          <a:prstGeom prst="rect">
            <a:avLst/>
          </a:prstGeom>
        </p:spPr>
      </p:pic>
      <p:pic>
        <p:nvPicPr>
          <p:cNvPr id="10" name="Grafik 9">
            <a:extLst>
              <a:ext uri="{FF2B5EF4-FFF2-40B4-BE49-F238E27FC236}">
                <a16:creationId xmlns:a16="http://schemas.microsoft.com/office/drawing/2014/main" id="{DA9BAEED-A212-4A2F-8B8A-5AA6A7EC62C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20651" y="4356672"/>
            <a:ext cx="1362483" cy="303833"/>
          </a:xfrm>
          <a:prstGeom prst="rect">
            <a:avLst/>
          </a:prstGeom>
        </p:spPr>
      </p:pic>
      <p:pic>
        <p:nvPicPr>
          <p:cNvPr id="11" name="Grafik 10">
            <a:extLst>
              <a:ext uri="{FF2B5EF4-FFF2-40B4-BE49-F238E27FC236}">
                <a16:creationId xmlns:a16="http://schemas.microsoft.com/office/drawing/2014/main" id="{FED96DBB-9C2F-4FBE-AF05-00C43175303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722005" y="3111532"/>
            <a:ext cx="1353898" cy="370413"/>
          </a:xfrm>
          <a:prstGeom prst="rect">
            <a:avLst/>
          </a:prstGeom>
        </p:spPr>
      </p:pic>
      <p:pic>
        <p:nvPicPr>
          <p:cNvPr id="12" name="Grafik 11">
            <a:extLst>
              <a:ext uri="{FF2B5EF4-FFF2-40B4-BE49-F238E27FC236}">
                <a16:creationId xmlns:a16="http://schemas.microsoft.com/office/drawing/2014/main" id="{D3DACD77-F808-4BF6-85FB-4B7D516B1426}"/>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10857" b="14811"/>
          <a:stretch/>
        </p:blipFill>
        <p:spPr>
          <a:xfrm>
            <a:off x="10609961" y="2803521"/>
            <a:ext cx="1121688" cy="642706"/>
          </a:xfrm>
          <a:prstGeom prst="rect">
            <a:avLst/>
          </a:prstGeom>
        </p:spPr>
      </p:pic>
      <p:pic>
        <p:nvPicPr>
          <p:cNvPr id="13" name="Grafik 12">
            <a:extLst>
              <a:ext uri="{FF2B5EF4-FFF2-40B4-BE49-F238E27FC236}">
                <a16:creationId xmlns:a16="http://schemas.microsoft.com/office/drawing/2014/main" id="{9FF34AD0-3AFC-43AD-8D93-773C3D1C3F2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315093" y="5619193"/>
            <a:ext cx="1373598" cy="353875"/>
          </a:xfrm>
          <a:prstGeom prst="rect">
            <a:avLst/>
          </a:prstGeom>
        </p:spPr>
      </p:pic>
      <p:pic>
        <p:nvPicPr>
          <p:cNvPr id="14" name="Grafik 13">
            <a:extLst>
              <a:ext uri="{FF2B5EF4-FFF2-40B4-BE49-F238E27FC236}">
                <a16:creationId xmlns:a16="http://schemas.microsoft.com/office/drawing/2014/main" id="{8EBBAF32-4F6D-4333-B558-A96974BA336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216593" y="5452641"/>
            <a:ext cx="709669" cy="695568"/>
          </a:xfrm>
          <a:prstGeom prst="rect">
            <a:avLst/>
          </a:prstGeom>
        </p:spPr>
      </p:pic>
      <p:pic>
        <p:nvPicPr>
          <p:cNvPr id="15" name="Grafik 14">
            <a:extLst>
              <a:ext uri="{FF2B5EF4-FFF2-40B4-BE49-F238E27FC236}">
                <a16:creationId xmlns:a16="http://schemas.microsoft.com/office/drawing/2014/main" id="{0A12C392-0384-4E0F-A29A-C34DBC938EE8}"/>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83779" y="4165656"/>
            <a:ext cx="1174052" cy="494849"/>
          </a:xfrm>
          <a:prstGeom prst="rect">
            <a:avLst/>
          </a:prstGeom>
        </p:spPr>
      </p:pic>
      <p:pic>
        <p:nvPicPr>
          <p:cNvPr id="16" name="Grafik 15">
            <a:extLst>
              <a:ext uri="{FF2B5EF4-FFF2-40B4-BE49-F238E27FC236}">
                <a16:creationId xmlns:a16="http://schemas.microsoft.com/office/drawing/2014/main" id="{7C7DA789-1041-4B6F-99AF-E836CB7182F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103045" y="5526808"/>
            <a:ext cx="591818" cy="594901"/>
          </a:xfrm>
          <a:prstGeom prst="rect">
            <a:avLst/>
          </a:prstGeom>
        </p:spPr>
      </p:pic>
      <p:pic>
        <p:nvPicPr>
          <p:cNvPr id="19" name="Picture 18">
            <a:extLst>
              <a:ext uri="{FF2B5EF4-FFF2-40B4-BE49-F238E27FC236}">
                <a16:creationId xmlns:a16="http://schemas.microsoft.com/office/drawing/2014/main" id="{948A0D9B-C6AD-4AE4-B6A3-0D66CF7649B8}"/>
              </a:ext>
            </a:extLst>
          </p:cNvPr>
          <p:cNvPicPr>
            <a:picLocks noChangeAspect="1"/>
          </p:cNvPicPr>
          <p:nvPr/>
        </p:nvPicPr>
        <p:blipFill>
          <a:blip r:embed="rId14"/>
          <a:stretch>
            <a:fillRect/>
          </a:stretch>
        </p:blipFill>
        <p:spPr>
          <a:xfrm>
            <a:off x="6959302" y="2034449"/>
            <a:ext cx="1317980" cy="567551"/>
          </a:xfrm>
          <a:prstGeom prst="rect">
            <a:avLst/>
          </a:prstGeom>
        </p:spPr>
      </p:pic>
      <p:pic>
        <p:nvPicPr>
          <p:cNvPr id="21" name="Grafik 48">
            <a:extLst>
              <a:ext uri="{FF2B5EF4-FFF2-40B4-BE49-F238E27FC236}">
                <a16:creationId xmlns:a16="http://schemas.microsoft.com/office/drawing/2014/main" id="{E24FCA1C-0238-41DB-9FB4-24D2D51BACBF}"/>
              </a:ext>
            </a:extLst>
          </p:cNvPr>
          <p:cNvPicPr>
            <a:picLocks noChangeAspect="1"/>
          </p:cNvPicPr>
          <p:nvPr/>
        </p:nvPicPr>
        <p:blipFill>
          <a:blip r:embed="rId15"/>
          <a:stretch>
            <a:fillRect/>
          </a:stretch>
        </p:blipFill>
        <p:spPr>
          <a:xfrm>
            <a:off x="8780002" y="2092492"/>
            <a:ext cx="2667513" cy="312447"/>
          </a:xfrm>
          <a:prstGeom prst="rect">
            <a:avLst/>
          </a:prstGeom>
        </p:spPr>
      </p:pic>
      <p:pic>
        <p:nvPicPr>
          <p:cNvPr id="22" name="Grafik 57">
            <a:extLst>
              <a:ext uri="{FF2B5EF4-FFF2-40B4-BE49-F238E27FC236}">
                <a16:creationId xmlns:a16="http://schemas.microsoft.com/office/drawing/2014/main" id="{DE0D84AF-2050-4087-8E6E-7AA0A297E9D9}"/>
              </a:ext>
            </a:extLst>
          </p:cNvPr>
          <p:cNvPicPr>
            <a:picLocks noChangeAspect="1"/>
          </p:cNvPicPr>
          <p:nvPr/>
        </p:nvPicPr>
        <p:blipFill>
          <a:blip r:embed="rId16"/>
          <a:stretch>
            <a:fillRect/>
          </a:stretch>
        </p:blipFill>
        <p:spPr>
          <a:xfrm>
            <a:off x="4424347" y="2092492"/>
            <a:ext cx="961463" cy="464600"/>
          </a:xfrm>
          <a:prstGeom prst="rect">
            <a:avLst/>
          </a:prstGeom>
        </p:spPr>
      </p:pic>
      <p:pic>
        <p:nvPicPr>
          <p:cNvPr id="23" name="Grafik 55">
            <a:extLst>
              <a:ext uri="{FF2B5EF4-FFF2-40B4-BE49-F238E27FC236}">
                <a16:creationId xmlns:a16="http://schemas.microsoft.com/office/drawing/2014/main" id="{85094BC7-57C8-4FAB-858C-BC98933A25DC}"/>
              </a:ext>
            </a:extLst>
          </p:cNvPr>
          <p:cNvPicPr>
            <a:picLocks noChangeAspect="1"/>
          </p:cNvPicPr>
          <p:nvPr/>
        </p:nvPicPr>
        <p:blipFill>
          <a:blip r:embed="rId17"/>
          <a:stretch>
            <a:fillRect/>
          </a:stretch>
        </p:blipFill>
        <p:spPr>
          <a:xfrm>
            <a:off x="7042270" y="836900"/>
            <a:ext cx="961097" cy="804011"/>
          </a:xfrm>
          <a:prstGeom prst="rect">
            <a:avLst/>
          </a:prstGeom>
        </p:spPr>
      </p:pic>
      <p:pic>
        <p:nvPicPr>
          <p:cNvPr id="24" name="Grafik 56">
            <a:extLst>
              <a:ext uri="{FF2B5EF4-FFF2-40B4-BE49-F238E27FC236}">
                <a16:creationId xmlns:a16="http://schemas.microsoft.com/office/drawing/2014/main" id="{55913DFC-5BDF-4C61-AB08-DDB359AA9AEE}"/>
              </a:ext>
            </a:extLst>
          </p:cNvPr>
          <p:cNvPicPr>
            <a:picLocks noChangeAspect="1"/>
          </p:cNvPicPr>
          <p:nvPr/>
        </p:nvPicPr>
        <p:blipFill>
          <a:blip r:embed="rId18"/>
          <a:stretch>
            <a:fillRect/>
          </a:stretch>
        </p:blipFill>
        <p:spPr>
          <a:xfrm>
            <a:off x="9257654" y="879676"/>
            <a:ext cx="501807" cy="687870"/>
          </a:xfrm>
          <a:prstGeom prst="rect">
            <a:avLst/>
          </a:prstGeom>
        </p:spPr>
      </p:pic>
      <p:pic>
        <p:nvPicPr>
          <p:cNvPr id="25" name="Grafik 55">
            <a:extLst>
              <a:ext uri="{FF2B5EF4-FFF2-40B4-BE49-F238E27FC236}">
                <a16:creationId xmlns:a16="http://schemas.microsoft.com/office/drawing/2014/main" id="{0DDBEA24-6ABF-4921-9217-A30B3D0343E5}"/>
              </a:ext>
            </a:extLst>
          </p:cNvPr>
          <p:cNvPicPr>
            <a:picLocks noChangeAspect="1"/>
          </p:cNvPicPr>
          <p:nvPr/>
        </p:nvPicPr>
        <p:blipFill>
          <a:blip r:embed="rId19"/>
          <a:stretch>
            <a:fillRect/>
          </a:stretch>
        </p:blipFill>
        <p:spPr>
          <a:xfrm>
            <a:off x="4255918" y="1142372"/>
            <a:ext cx="1427216" cy="656312"/>
          </a:xfrm>
          <a:prstGeom prst="rect">
            <a:avLst/>
          </a:prstGeom>
        </p:spPr>
      </p:pic>
      <p:sp>
        <p:nvSpPr>
          <p:cNvPr id="26" name="Datumsplatzhalter 3">
            <a:extLst>
              <a:ext uri="{FF2B5EF4-FFF2-40B4-BE49-F238E27FC236}">
                <a16:creationId xmlns:a16="http://schemas.microsoft.com/office/drawing/2014/main" id="{C8A57A21-8EC5-477F-A3E9-C298EDD4DAE6}"/>
              </a:ext>
            </a:extLst>
          </p:cNvPr>
          <p:cNvSpPr>
            <a:spLocks noGrp="1"/>
          </p:cNvSpPr>
          <p:nvPr>
            <p:ph type="dt" sz="half" idx="10"/>
          </p:nvPr>
        </p:nvSpPr>
        <p:spPr>
          <a:xfrm>
            <a:off x="406400" y="6501507"/>
            <a:ext cx="648000" cy="180000"/>
          </a:xfrm>
        </p:spPr>
        <p:txBody>
          <a:bodyPr/>
          <a:lstStyle/>
          <a:p>
            <a:r>
              <a:rPr lang="en-US">
                <a:solidFill>
                  <a:srgbClr val="6F6F6F"/>
                </a:solidFill>
              </a:rPr>
              <a:t>21/08/2019</a:t>
            </a:r>
            <a:endParaRPr lang="de-DE" dirty="0">
              <a:solidFill>
                <a:srgbClr val="6F6F6F"/>
              </a:solidFill>
            </a:endParaRPr>
          </a:p>
        </p:txBody>
      </p:sp>
      <p:sp>
        <p:nvSpPr>
          <p:cNvPr id="27" name="Foliennummernplatzhalter 16">
            <a:extLst>
              <a:ext uri="{FF2B5EF4-FFF2-40B4-BE49-F238E27FC236}">
                <a16:creationId xmlns:a16="http://schemas.microsoft.com/office/drawing/2014/main" id="{0D568774-F294-4E4C-A46A-A20ABFE89A17}"/>
              </a:ext>
            </a:extLst>
          </p:cNvPr>
          <p:cNvSpPr>
            <a:spLocks noGrp="1"/>
          </p:cNvSpPr>
          <p:nvPr>
            <p:ph type="sldNum" sz="quarter" idx="11"/>
          </p:nvPr>
        </p:nvSpPr>
        <p:spPr>
          <a:xfrm>
            <a:off x="11111017" y="6501507"/>
            <a:ext cx="672996" cy="180000"/>
          </a:xfrm>
        </p:spPr>
        <p:txBody>
          <a:bodyPr/>
          <a:lstStyle/>
          <a:p>
            <a:fld id="{221F1D72-F2AC-4B6E-A46C-E63D2CF40C7B}" type="slidenum">
              <a:rPr lang="de-DE" smtClean="0">
                <a:solidFill>
                  <a:srgbClr val="6F6F6F"/>
                </a:solidFill>
              </a:rPr>
              <a:pPr/>
              <a:t>19</a:t>
            </a:fld>
            <a:endParaRPr lang="de-DE" dirty="0">
              <a:solidFill>
                <a:srgbClr val="6F6F6F"/>
              </a:solidFill>
            </a:endParaRPr>
          </a:p>
        </p:txBody>
      </p:sp>
      <p:sp>
        <p:nvSpPr>
          <p:cNvPr id="28" name="Fußzeilenplatzhalter 4">
            <a:extLst>
              <a:ext uri="{FF2B5EF4-FFF2-40B4-BE49-F238E27FC236}">
                <a16:creationId xmlns:a16="http://schemas.microsoft.com/office/drawing/2014/main" id="{5A354751-EA38-428C-8922-833C4864FBDE}"/>
              </a:ext>
            </a:extLst>
          </p:cNvPr>
          <p:cNvSpPr>
            <a:spLocks noGrp="1"/>
          </p:cNvSpPr>
          <p:nvPr>
            <p:ph type="ftr" sz="quarter" idx="12"/>
          </p:nvPr>
        </p:nvSpPr>
        <p:spPr>
          <a:xfrm>
            <a:off x="1054646" y="6501507"/>
            <a:ext cx="4896000" cy="180000"/>
          </a:xfrm>
        </p:spPr>
        <p:txBody>
          <a:bodyPr/>
          <a:lstStyle/>
          <a:p>
            <a:r>
              <a:rPr lang="en-US">
                <a:solidFill>
                  <a:srgbClr val="6F6F6F"/>
                </a:solidFill>
              </a:rPr>
              <a:t>NZSUG Auckland Event + SAP Forum</a:t>
            </a:r>
            <a:endParaRPr lang="en-US" dirty="0">
              <a:solidFill>
                <a:srgbClr val="6F6F6F"/>
              </a:solidFill>
            </a:endParaRPr>
          </a:p>
        </p:txBody>
      </p:sp>
      <p:pic>
        <p:nvPicPr>
          <p:cNvPr id="29" name="Picture 28">
            <a:extLst>
              <a:ext uri="{FF2B5EF4-FFF2-40B4-BE49-F238E27FC236}">
                <a16:creationId xmlns:a16="http://schemas.microsoft.com/office/drawing/2014/main" id="{587F7167-7E61-412E-B273-A54EE2DC6F63}"/>
              </a:ext>
            </a:extLst>
          </p:cNvPr>
          <p:cNvPicPr>
            <a:picLocks noChangeAspect="1"/>
          </p:cNvPicPr>
          <p:nvPr/>
        </p:nvPicPr>
        <p:blipFill>
          <a:blip r:embed="rId20"/>
          <a:stretch>
            <a:fillRect/>
          </a:stretch>
        </p:blipFill>
        <p:spPr>
          <a:xfrm>
            <a:off x="9994951" y="384669"/>
            <a:ext cx="1311958" cy="411043"/>
          </a:xfrm>
          <a:prstGeom prst="rect">
            <a:avLst/>
          </a:prstGeom>
        </p:spPr>
      </p:pic>
    </p:spTree>
    <p:extLst>
      <p:ext uri="{BB962C8B-B14F-4D97-AF65-F5344CB8AC3E}">
        <p14:creationId xmlns:p14="http://schemas.microsoft.com/office/powerpoint/2010/main" val="3439586697"/>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F059E4-079A-4226-B64A-FD68F4685CA6}"/>
              </a:ext>
            </a:extLst>
          </p:cNvPr>
          <p:cNvSpPr>
            <a:spLocks noGrp="1"/>
          </p:cNvSpPr>
          <p:nvPr>
            <p:ph type="dt" sz="half" idx="10"/>
          </p:nvPr>
        </p:nvSpPr>
        <p:spPr/>
        <p:txBody>
          <a:bodyPr/>
          <a:lstStyle/>
          <a:p>
            <a:r>
              <a:rPr lang="en-US"/>
              <a:t>21/08/2019</a:t>
            </a:r>
            <a:endParaRPr lang="de-DE" dirty="0"/>
          </a:p>
        </p:txBody>
      </p:sp>
      <p:sp>
        <p:nvSpPr>
          <p:cNvPr id="3" name="Slide Number Placeholder 2">
            <a:extLst>
              <a:ext uri="{FF2B5EF4-FFF2-40B4-BE49-F238E27FC236}">
                <a16:creationId xmlns:a16="http://schemas.microsoft.com/office/drawing/2014/main" id="{6325B81D-0797-4FD7-B6B4-6C2F68BFF89F}"/>
              </a:ext>
            </a:extLst>
          </p:cNvPr>
          <p:cNvSpPr>
            <a:spLocks noGrp="1"/>
          </p:cNvSpPr>
          <p:nvPr>
            <p:ph type="sldNum" sz="quarter" idx="11"/>
          </p:nvPr>
        </p:nvSpPr>
        <p:spPr/>
        <p:txBody>
          <a:bodyPr/>
          <a:lstStyle/>
          <a:p>
            <a:fld id="{221F1D72-F2AC-4B6E-A46C-E63D2CF40C7B}" type="slidenum">
              <a:rPr lang="de-DE" smtClean="0"/>
              <a:pPr/>
              <a:t>2</a:t>
            </a:fld>
            <a:endParaRPr lang="de-DE" dirty="0"/>
          </a:p>
        </p:txBody>
      </p:sp>
      <p:sp>
        <p:nvSpPr>
          <p:cNvPr id="4" name="Footer Placeholder 3">
            <a:extLst>
              <a:ext uri="{FF2B5EF4-FFF2-40B4-BE49-F238E27FC236}">
                <a16:creationId xmlns:a16="http://schemas.microsoft.com/office/drawing/2014/main" id="{7D80F78C-8B42-4968-B05A-CAE74B680DA5}"/>
              </a:ext>
            </a:extLst>
          </p:cNvPr>
          <p:cNvSpPr>
            <a:spLocks noGrp="1"/>
          </p:cNvSpPr>
          <p:nvPr>
            <p:ph type="ftr" sz="quarter" idx="12"/>
          </p:nvPr>
        </p:nvSpPr>
        <p:spPr/>
        <p:txBody>
          <a:bodyPr/>
          <a:lstStyle/>
          <a:p>
            <a:r>
              <a:rPr lang="en-GB"/>
              <a:t>NZSUG Auckland Event + SAP Forum</a:t>
            </a:r>
            <a:endParaRPr lang="de-DE" dirty="0"/>
          </a:p>
        </p:txBody>
      </p:sp>
      <p:sp>
        <p:nvSpPr>
          <p:cNvPr id="5" name="Title 4">
            <a:extLst>
              <a:ext uri="{FF2B5EF4-FFF2-40B4-BE49-F238E27FC236}">
                <a16:creationId xmlns:a16="http://schemas.microsoft.com/office/drawing/2014/main" id="{590FA54C-37D6-4251-BAA5-1551B026243E}"/>
              </a:ext>
            </a:extLst>
          </p:cNvPr>
          <p:cNvSpPr>
            <a:spLocks noGrp="1"/>
          </p:cNvSpPr>
          <p:nvPr>
            <p:ph type="title"/>
          </p:nvPr>
        </p:nvSpPr>
        <p:spPr>
          <a:xfrm rot="5400000">
            <a:off x="8366756" y="3034347"/>
            <a:ext cx="6858001" cy="789312"/>
          </a:xfrm>
        </p:spPr>
        <p:txBody>
          <a:bodyPr/>
          <a:lstStyle/>
          <a:p>
            <a:pPr algn="ctr"/>
            <a:br>
              <a:rPr lang="de-DE" dirty="0"/>
            </a:br>
            <a:r>
              <a:rPr lang="de-DE" dirty="0"/>
              <a:t>SNP BLUEFIELD</a:t>
            </a:r>
            <a:r>
              <a:rPr lang="de-DE" baseline="30000" dirty="0"/>
              <a:t>TM</a:t>
            </a:r>
            <a:endParaRPr lang="en-GB" baseline="30000" dirty="0"/>
          </a:p>
        </p:txBody>
      </p:sp>
    </p:spTree>
    <p:extLst>
      <p:ext uri="{BB962C8B-B14F-4D97-AF65-F5344CB8AC3E}">
        <p14:creationId xmlns:p14="http://schemas.microsoft.com/office/powerpoint/2010/main" val="3494207266"/>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hlinkClick r:id="rId2" action="ppaction://hlinksldjump"/>
            <a:extLst>
              <a:ext uri="{FF2B5EF4-FFF2-40B4-BE49-F238E27FC236}">
                <a16:creationId xmlns:a16="http://schemas.microsoft.com/office/drawing/2014/main" id="{83A79E42-FC74-41FB-B91A-AD3D14A9EB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5863" y="1126751"/>
            <a:ext cx="7778686" cy="4896544"/>
          </a:xfrm>
          <a:prstGeom prst="rect">
            <a:avLst/>
          </a:prstGeom>
        </p:spPr>
      </p:pic>
      <p:sp>
        <p:nvSpPr>
          <p:cNvPr id="33" name="Titel 3">
            <a:extLst>
              <a:ext uri="{FF2B5EF4-FFF2-40B4-BE49-F238E27FC236}">
                <a16:creationId xmlns:a16="http://schemas.microsoft.com/office/drawing/2014/main" id="{015CA3B3-D6C9-4A73-979B-1AC1F73C79F7}"/>
              </a:ext>
            </a:extLst>
          </p:cNvPr>
          <p:cNvSpPr>
            <a:spLocks noGrp="1"/>
          </p:cNvSpPr>
          <p:nvPr>
            <p:ph type="title"/>
          </p:nvPr>
        </p:nvSpPr>
        <p:spPr/>
        <p:txBody>
          <a:bodyPr/>
          <a:lstStyle/>
          <a:p>
            <a:r>
              <a:rPr lang="en-US" dirty="0"/>
              <a:t>SNP CrystalBridge</a:t>
            </a:r>
            <a:endParaRPr lang="de-DE" dirty="0"/>
          </a:p>
        </p:txBody>
      </p:sp>
      <p:sp>
        <p:nvSpPr>
          <p:cNvPr id="3" name="Foliennummernplatzhalter 2">
            <a:extLst>
              <a:ext uri="{FF2B5EF4-FFF2-40B4-BE49-F238E27FC236}">
                <a16:creationId xmlns:a16="http://schemas.microsoft.com/office/drawing/2014/main" id="{AFE1286A-F9F3-4D35-BD41-A1F5D0D7B66F}"/>
              </a:ext>
            </a:extLst>
          </p:cNvPr>
          <p:cNvSpPr>
            <a:spLocks noGrp="1"/>
          </p:cNvSpPr>
          <p:nvPr>
            <p:ph type="sldNum" sz="quarter" idx="11"/>
          </p:nvPr>
        </p:nvSpPr>
        <p:spPr/>
        <p:txBody>
          <a:bodyPr/>
          <a:lstStyle/>
          <a:p>
            <a:fld id="{221F1D72-F2AC-4B6E-A46C-E63D2CF40C7B}" type="slidenum">
              <a:rPr lang="de-DE" smtClean="0"/>
              <a:pPr/>
              <a:t>20</a:t>
            </a:fld>
            <a:endParaRPr lang="de-DE"/>
          </a:p>
        </p:txBody>
      </p:sp>
      <p:sp>
        <p:nvSpPr>
          <p:cNvPr id="4" name="Date Placeholder 3">
            <a:extLst>
              <a:ext uri="{FF2B5EF4-FFF2-40B4-BE49-F238E27FC236}">
                <a16:creationId xmlns:a16="http://schemas.microsoft.com/office/drawing/2014/main" id="{3C275322-824F-41FC-8AB9-30E35079B137}"/>
              </a:ext>
            </a:extLst>
          </p:cNvPr>
          <p:cNvSpPr>
            <a:spLocks noGrp="1"/>
          </p:cNvSpPr>
          <p:nvPr>
            <p:ph type="dt" sz="half" idx="10"/>
          </p:nvPr>
        </p:nvSpPr>
        <p:spPr/>
        <p:txBody>
          <a:bodyPr/>
          <a:lstStyle/>
          <a:p>
            <a:r>
              <a:rPr lang="en-US"/>
              <a:t>21/08/2019</a:t>
            </a:r>
            <a:endParaRPr lang="de-DE" dirty="0"/>
          </a:p>
        </p:txBody>
      </p:sp>
      <p:pic>
        <p:nvPicPr>
          <p:cNvPr id="8" name="Picture 7">
            <a:extLst>
              <a:ext uri="{FF2B5EF4-FFF2-40B4-BE49-F238E27FC236}">
                <a16:creationId xmlns:a16="http://schemas.microsoft.com/office/drawing/2014/main" id="{A93C444E-F770-417D-A6CA-EE5B30A01414}"/>
              </a:ext>
            </a:extLst>
          </p:cNvPr>
          <p:cNvPicPr>
            <a:picLocks noChangeAspect="1"/>
          </p:cNvPicPr>
          <p:nvPr/>
        </p:nvPicPr>
        <p:blipFill>
          <a:blip r:embed="rId4"/>
          <a:stretch>
            <a:fillRect/>
          </a:stretch>
        </p:blipFill>
        <p:spPr>
          <a:xfrm>
            <a:off x="9994951" y="384669"/>
            <a:ext cx="1311958" cy="411043"/>
          </a:xfrm>
          <a:prstGeom prst="rect">
            <a:avLst/>
          </a:prstGeom>
        </p:spPr>
      </p:pic>
      <p:sp>
        <p:nvSpPr>
          <p:cNvPr id="9" name="Footer Placeholder 5">
            <a:extLst>
              <a:ext uri="{FF2B5EF4-FFF2-40B4-BE49-F238E27FC236}">
                <a16:creationId xmlns:a16="http://schemas.microsoft.com/office/drawing/2014/main" id="{1CA1048B-505E-47BB-95D5-82F20A4489CB}"/>
              </a:ext>
            </a:extLst>
          </p:cNvPr>
          <p:cNvSpPr txBox="1">
            <a:spLocks/>
          </p:cNvSpPr>
          <p:nvPr/>
        </p:nvSpPr>
        <p:spPr>
          <a:xfrm>
            <a:off x="1054646" y="6475131"/>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GB" sz="900" dirty="0">
                <a:solidFill>
                  <a:srgbClr val="6F6F6F"/>
                </a:solidFill>
              </a:rPr>
              <a:t>NZSUG Auckland Event + SAP Forum</a:t>
            </a:r>
            <a:endParaRPr lang="de-DE" sz="900" dirty="0">
              <a:solidFill>
                <a:srgbClr val="6F6F6F"/>
              </a:solidFill>
            </a:endParaRPr>
          </a:p>
        </p:txBody>
      </p:sp>
    </p:spTree>
    <p:extLst>
      <p:ext uri="{BB962C8B-B14F-4D97-AF65-F5344CB8AC3E}">
        <p14:creationId xmlns:p14="http://schemas.microsoft.com/office/powerpoint/2010/main" val="3633554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el 3">
            <a:extLst>
              <a:ext uri="{FF2B5EF4-FFF2-40B4-BE49-F238E27FC236}">
                <a16:creationId xmlns:a16="http://schemas.microsoft.com/office/drawing/2014/main" id="{015CA3B3-D6C9-4A73-979B-1AC1F73C79F7}"/>
              </a:ext>
            </a:extLst>
          </p:cNvPr>
          <p:cNvSpPr>
            <a:spLocks noGrp="1"/>
          </p:cNvSpPr>
          <p:nvPr>
            <p:ph type="title"/>
          </p:nvPr>
        </p:nvSpPr>
        <p:spPr>
          <a:xfrm>
            <a:off x="406400" y="475438"/>
            <a:ext cx="10704617" cy="765824"/>
          </a:xfrm>
        </p:spPr>
        <p:txBody>
          <a:bodyPr/>
          <a:lstStyle/>
          <a:p>
            <a:r>
              <a:rPr lang="en-US" dirty="0"/>
              <a:t>SNP CrystalBridge: </a:t>
            </a:r>
            <a:r>
              <a:rPr lang="en-US" sz="2800" b="1" dirty="0">
                <a:ea typeface="Verdana" pitchFamily="34" charset="0"/>
                <a:cs typeface="Verdana" pitchFamily="34" charset="0"/>
              </a:rPr>
              <a:t>VALUE DISCOVERY</a:t>
            </a:r>
            <a:endParaRPr lang="de-DE" dirty="0">
              <a:solidFill>
                <a:schemeClr val="bg2">
                  <a:lumMod val="10000"/>
                </a:schemeClr>
              </a:solidFill>
            </a:endParaRPr>
          </a:p>
        </p:txBody>
      </p:sp>
      <p:sp>
        <p:nvSpPr>
          <p:cNvPr id="3" name="Foliennummernplatzhalter 2">
            <a:extLst>
              <a:ext uri="{FF2B5EF4-FFF2-40B4-BE49-F238E27FC236}">
                <a16:creationId xmlns:a16="http://schemas.microsoft.com/office/drawing/2014/main" id="{AFE1286A-F9F3-4D35-BD41-A1F5D0D7B66F}"/>
              </a:ext>
            </a:extLst>
          </p:cNvPr>
          <p:cNvSpPr>
            <a:spLocks noGrp="1"/>
          </p:cNvSpPr>
          <p:nvPr>
            <p:ph type="sldNum" sz="quarter" idx="11"/>
          </p:nvPr>
        </p:nvSpPr>
        <p:spPr/>
        <p:txBody>
          <a:bodyPr/>
          <a:lstStyle/>
          <a:p>
            <a:fld id="{221F1D72-F2AC-4B6E-A46C-E63D2CF40C7B}" type="slidenum">
              <a:rPr lang="de-DE" smtClean="0"/>
              <a:pPr/>
              <a:t>21</a:t>
            </a:fld>
            <a:endParaRPr lang="de-DE"/>
          </a:p>
        </p:txBody>
      </p:sp>
      <p:sp>
        <p:nvSpPr>
          <p:cNvPr id="4" name="Date Placeholder 3">
            <a:extLst>
              <a:ext uri="{FF2B5EF4-FFF2-40B4-BE49-F238E27FC236}">
                <a16:creationId xmlns:a16="http://schemas.microsoft.com/office/drawing/2014/main" id="{3C275322-824F-41FC-8AB9-30E35079B137}"/>
              </a:ext>
            </a:extLst>
          </p:cNvPr>
          <p:cNvSpPr>
            <a:spLocks noGrp="1"/>
          </p:cNvSpPr>
          <p:nvPr>
            <p:ph type="dt" sz="half" idx="10"/>
          </p:nvPr>
        </p:nvSpPr>
        <p:spPr/>
        <p:txBody>
          <a:bodyPr/>
          <a:lstStyle/>
          <a:p>
            <a:r>
              <a:rPr lang="en-US"/>
              <a:t>21/08/2019</a:t>
            </a:r>
            <a:endParaRPr lang="de-DE" dirty="0"/>
          </a:p>
        </p:txBody>
      </p:sp>
      <p:pic>
        <p:nvPicPr>
          <p:cNvPr id="10" name="Grafik 14">
            <a:hlinkClick r:id="" action="ppaction://noaction"/>
            <a:extLst>
              <a:ext uri="{FF2B5EF4-FFF2-40B4-BE49-F238E27FC236}">
                <a16:creationId xmlns:a16="http://schemas.microsoft.com/office/drawing/2014/main" id="{AFE8D5BF-EC31-4E62-9000-41C27B42B600}"/>
              </a:ext>
            </a:extLst>
          </p:cNvPr>
          <p:cNvPicPr>
            <a:picLocks noChangeAspect="1"/>
          </p:cNvPicPr>
          <p:nvPr/>
        </p:nvPicPr>
        <p:blipFill>
          <a:blip r:embed="rId2"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266677" y="2785873"/>
            <a:ext cx="1069850" cy="1191770"/>
          </a:xfrm>
          <a:prstGeom prst="rect">
            <a:avLst/>
          </a:prstGeom>
        </p:spPr>
      </p:pic>
      <p:pic>
        <p:nvPicPr>
          <p:cNvPr id="11" name="Grafik 2">
            <a:extLst>
              <a:ext uri="{FF2B5EF4-FFF2-40B4-BE49-F238E27FC236}">
                <a16:creationId xmlns:a16="http://schemas.microsoft.com/office/drawing/2014/main" id="{738243D5-C533-4E21-B481-999FD2EE9C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2957" y="1837788"/>
            <a:ext cx="1066802" cy="1188722"/>
          </a:xfrm>
          <a:prstGeom prst="rect">
            <a:avLst/>
          </a:prstGeom>
        </p:spPr>
      </p:pic>
      <p:pic>
        <p:nvPicPr>
          <p:cNvPr id="12" name="Grafik 6">
            <a:hlinkClick r:id="" action="ppaction://noaction"/>
            <a:extLst>
              <a:ext uri="{FF2B5EF4-FFF2-40B4-BE49-F238E27FC236}">
                <a16:creationId xmlns:a16="http://schemas.microsoft.com/office/drawing/2014/main" id="{EA97B249-0ED7-4C10-A347-3DE7E6659DAB}"/>
              </a:ext>
            </a:extLst>
          </p:cNvPr>
          <p:cNvPicPr>
            <a:picLocks noChangeAspect="1"/>
          </p:cNvPicPr>
          <p:nvPr/>
        </p:nvPicPr>
        <p:blipFill>
          <a:blip r:embed="rId4"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720157" y="1840836"/>
            <a:ext cx="1066802" cy="1188722"/>
          </a:xfrm>
          <a:prstGeom prst="rect">
            <a:avLst/>
          </a:prstGeom>
        </p:spPr>
      </p:pic>
      <p:pic>
        <p:nvPicPr>
          <p:cNvPr id="13" name="Grafik 7">
            <a:hlinkClick r:id="" action="ppaction://noaction"/>
            <a:extLst>
              <a:ext uri="{FF2B5EF4-FFF2-40B4-BE49-F238E27FC236}">
                <a16:creationId xmlns:a16="http://schemas.microsoft.com/office/drawing/2014/main" id="{1498621F-E9A3-4DD1-9B84-6D186F71DB5C}"/>
              </a:ext>
            </a:extLst>
          </p:cNvPr>
          <p:cNvPicPr>
            <a:picLocks noChangeAspect="1"/>
          </p:cNvPicPr>
          <p:nvPr/>
        </p:nvPicPr>
        <p:blipFill>
          <a:blip r:embed="rId5"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602957" y="3745373"/>
            <a:ext cx="1069850" cy="1188722"/>
          </a:xfrm>
          <a:prstGeom prst="rect">
            <a:avLst/>
          </a:prstGeom>
        </p:spPr>
      </p:pic>
      <p:pic>
        <p:nvPicPr>
          <p:cNvPr id="14" name="Grafik 12">
            <a:hlinkClick r:id="" action="ppaction://noaction"/>
            <a:extLst>
              <a:ext uri="{FF2B5EF4-FFF2-40B4-BE49-F238E27FC236}">
                <a16:creationId xmlns:a16="http://schemas.microsoft.com/office/drawing/2014/main" id="{9F3DD236-3043-482D-9B6C-798A564E4684}"/>
              </a:ext>
            </a:extLst>
          </p:cNvPr>
          <p:cNvPicPr>
            <a:picLocks noChangeAspect="1"/>
          </p:cNvPicPr>
          <p:nvPr/>
        </p:nvPicPr>
        <p:blipFill>
          <a:blip r:embed="rId6"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720157" y="3759887"/>
            <a:ext cx="1066802" cy="1188722"/>
          </a:xfrm>
          <a:prstGeom prst="rect">
            <a:avLst/>
          </a:prstGeom>
        </p:spPr>
      </p:pic>
      <p:pic>
        <p:nvPicPr>
          <p:cNvPr id="15" name="Grafik 8">
            <a:hlinkClick r:id="" action="ppaction://noaction"/>
            <a:extLst>
              <a:ext uri="{FF2B5EF4-FFF2-40B4-BE49-F238E27FC236}">
                <a16:creationId xmlns:a16="http://schemas.microsoft.com/office/drawing/2014/main" id="{866D490E-E02C-4721-A818-0AB4AE872271}"/>
              </a:ext>
            </a:extLst>
          </p:cNvPr>
          <p:cNvPicPr>
            <a:picLocks noChangeAspect="1"/>
          </p:cNvPicPr>
          <p:nvPr/>
        </p:nvPicPr>
        <p:blipFill>
          <a:blip r:embed="rId7"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58302" y="2785873"/>
            <a:ext cx="1063754" cy="1188722"/>
          </a:xfrm>
          <a:prstGeom prst="rect">
            <a:avLst/>
          </a:prstGeom>
        </p:spPr>
      </p:pic>
      <p:pic>
        <p:nvPicPr>
          <p:cNvPr id="16" name="Grafik 3">
            <a:hlinkClick r:id="rId8"/>
            <a:extLst>
              <a:ext uri="{FF2B5EF4-FFF2-40B4-BE49-F238E27FC236}">
                <a16:creationId xmlns:a16="http://schemas.microsoft.com/office/drawing/2014/main" id="{ADB79D13-50EA-4C71-85FA-6FA3281FAE05}"/>
              </a:ext>
            </a:extLst>
          </p:cNvPr>
          <p:cNvPicPr>
            <a:picLocks noChangeAspect="1"/>
          </p:cNvPicPr>
          <p:nvPr/>
        </p:nvPicPr>
        <p:blipFill>
          <a:blip r:embed="rId9"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2160965" y="2785873"/>
            <a:ext cx="1066802" cy="1191770"/>
          </a:xfrm>
          <a:prstGeom prst="rect">
            <a:avLst/>
          </a:prstGeom>
        </p:spPr>
      </p:pic>
      <p:sp>
        <p:nvSpPr>
          <p:cNvPr id="17" name="Textplatzhalter 4">
            <a:extLst>
              <a:ext uri="{FF2B5EF4-FFF2-40B4-BE49-F238E27FC236}">
                <a16:creationId xmlns:a16="http://schemas.microsoft.com/office/drawing/2014/main" id="{E8602CB3-843C-4E0A-9E4A-27B61DC8E7DF}"/>
              </a:ext>
            </a:extLst>
          </p:cNvPr>
          <p:cNvSpPr txBox="1">
            <a:spLocks/>
          </p:cNvSpPr>
          <p:nvPr/>
        </p:nvSpPr>
        <p:spPr>
          <a:xfrm>
            <a:off x="4832144" y="2770635"/>
            <a:ext cx="7142622" cy="1203960"/>
          </a:xfrm>
          <a:prstGeom prst="rect">
            <a:avLst/>
          </a:prstGeom>
        </p:spPr>
        <p:txBody>
          <a:bodyPr lIns="0" tIns="0" rIns="0" bIns="0" anchor="ctr" anchorCtr="0"/>
          <a:lstStyle>
            <a:lvl1pPr marL="0" indent="0" algn="l" defTabSz="1219078" rtl="0" eaLnBrk="1" latinLnBrk="0" hangingPunct="1">
              <a:lnSpc>
                <a:spcPct val="100000"/>
              </a:lnSpc>
              <a:spcBef>
                <a:spcPts val="0"/>
              </a:spcBef>
              <a:buFont typeface="Arial" panose="020B0604020202020204" pitchFamily="34" charset="0"/>
              <a:buNone/>
              <a:defRPr sz="1800" b="1" kern="1200">
                <a:solidFill>
                  <a:schemeClr val="tx2"/>
                </a:solidFill>
                <a:latin typeface="Univers" panose="020B0503020202020204" pitchFamily="34" charset="0"/>
                <a:ea typeface="+mn-ea"/>
                <a:cs typeface="+mn-cs"/>
              </a:defRPr>
            </a:lvl1pPr>
            <a:lvl2pPr marL="0" indent="0" algn="l" defTabSz="1219078" rtl="0" eaLnBrk="1" latinLnBrk="0" hangingPunct="1">
              <a:lnSpc>
                <a:spcPct val="100000"/>
              </a:lnSpc>
              <a:spcBef>
                <a:spcPts val="0"/>
              </a:spcBef>
              <a:buFont typeface="Arial" panose="020B0604020202020204" pitchFamily="34" charset="0"/>
              <a:buNone/>
              <a:defRPr sz="1800" kern="1200">
                <a:solidFill>
                  <a:schemeClr val="tx1"/>
                </a:solidFill>
                <a:latin typeface="Univers" panose="020B0503020202020204" pitchFamily="34" charset="0"/>
                <a:ea typeface="+mn-ea"/>
                <a:cs typeface="+mn-cs"/>
              </a:defRPr>
            </a:lvl2pPr>
            <a:lvl3pPr marL="216000" indent="-216000" algn="l" defTabSz="1219078" rtl="0" eaLnBrk="1" latinLnBrk="0" hangingPunct="1">
              <a:lnSpc>
                <a:spcPct val="100000"/>
              </a:lnSpc>
              <a:spcBef>
                <a:spcPts val="600"/>
              </a:spcBef>
              <a:buClr>
                <a:schemeClr val="tx2"/>
              </a:buClr>
              <a:buFont typeface="Wingdings 2" panose="05020102010507070707" pitchFamily="18" charset="2"/>
              <a:buChar char=""/>
              <a:defRPr sz="1800" kern="1200">
                <a:solidFill>
                  <a:schemeClr val="tx1"/>
                </a:solidFill>
                <a:latin typeface="Univers" panose="020B0503020202020204" pitchFamily="34" charset="0"/>
                <a:ea typeface="+mn-ea"/>
                <a:cs typeface="+mn-cs"/>
              </a:defRPr>
            </a:lvl3pPr>
            <a:lvl4pPr marL="432000" indent="-216000" algn="l" defTabSz="1219078" rtl="0" eaLnBrk="1" latinLnBrk="0" hangingPunct="1">
              <a:lnSpc>
                <a:spcPct val="100000"/>
              </a:lnSpc>
              <a:spcBef>
                <a:spcPts val="600"/>
              </a:spcBef>
              <a:buClr>
                <a:schemeClr val="tx2"/>
              </a:buClr>
              <a:buFont typeface="Symbol" panose="05050102010706020507" pitchFamily="18" charset="2"/>
              <a:buChar char="-"/>
              <a:defRPr sz="1800" kern="1200">
                <a:solidFill>
                  <a:schemeClr val="tx1"/>
                </a:solidFill>
                <a:latin typeface="Univers" panose="020B0503020202020204" pitchFamily="34" charset="0"/>
                <a:ea typeface="+mn-ea"/>
                <a:cs typeface="+mn-cs"/>
              </a:defRPr>
            </a:lvl4pPr>
            <a:lvl5pPr marL="648000" indent="-216000" algn="l" defTabSz="1219078" rtl="0" eaLnBrk="1" latinLnBrk="0" hangingPunct="1">
              <a:lnSpc>
                <a:spcPct val="100000"/>
              </a:lnSpc>
              <a:spcBef>
                <a:spcPts val="600"/>
              </a:spcBef>
              <a:buClr>
                <a:schemeClr val="tx2"/>
              </a:buClr>
              <a:buFont typeface="Wingdings 2" panose="05020102010507070707" pitchFamily="18" charset="2"/>
              <a:buChar char="¡"/>
              <a:defRPr lang="de-DE" sz="1800" kern="1200" dirty="0">
                <a:solidFill>
                  <a:schemeClr val="tx1"/>
                </a:solidFill>
                <a:latin typeface="Univers" panose="020B0503020202020204" pitchFamily="34" charset="0"/>
                <a:ea typeface="+mn-ea"/>
                <a:cs typeface="+mn-cs"/>
              </a:defRPr>
            </a:lvl5pPr>
            <a:lvl6pPr marL="1008000" indent="-252000" algn="l" defTabSz="1219078" rtl="0" eaLnBrk="1" latinLnBrk="0" hangingPunct="1">
              <a:spcBef>
                <a:spcPts val="400"/>
              </a:spcBef>
              <a:buClr>
                <a:schemeClr val="tx2"/>
              </a:buClr>
              <a:buFont typeface="Symbol" panose="05050102010706020507" pitchFamily="18" charset="2"/>
              <a:buChar char="-"/>
              <a:defRPr sz="2200" kern="1200">
                <a:solidFill>
                  <a:schemeClr val="bg2"/>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R="0" lvl="1" algn="l" defTabSz="1219078" rtl="0" eaLnBrk="1" fontAlgn="auto" latinLnBrk="0" hangingPunct="1">
              <a:lnSpc>
                <a:spcPct val="150000"/>
              </a:lnSpc>
              <a:spcBef>
                <a:spcPts val="0"/>
              </a:spcBef>
              <a:spcAft>
                <a:spcPts val="0"/>
              </a:spcAft>
              <a:buClrTx/>
              <a:buSzTx/>
              <a:tabLst/>
              <a:defRPr/>
            </a:pPr>
            <a:r>
              <a:rPr kumimoji="0" lang="en-US" sz="2800" b="0" i="0" u="none" strike="noStrike" kern="1200" cap="none" spc="0" normalizeH="0" baseline="0" noProof="0" dirty="0">
                <a:ln>
                  <a:noFill/>
                </a:ln>
                <a:solidFill>
                  <a:schemeClr val="tx1">
                    <a:lumMod val="50000"/>
                  </a:schemeClr>
                </a:solidFill>
                <a:effectLst/>
                <a:uLnTx/>
                <a:uFillTx/>
                <a:latin typeface="Univers" panose="020B0503020202020204" pitchFamily="34" charset="0"/>
                <a:ea typeface="+mn-ea"/>
                <a:cs typeface="+mn-cs"/>
              </a:rPr>
              <a:t>360° Analysis and Comparison of Landscapes, Processes, Structures, Data, Interfaces, Languages, …</a:t>
            </a:r>
          </a:p>
        </p:txBody>
      </p:sp>
      <p:grpSp>
        <p:nvGrpSpPr>
          <p:cNvPr id="21" name="Gruppieren 23">
            <a:extLst>
              <a:ext uri="{FF2B5EF4-FFF2-40B4-BE49-F238E27FC236}">
                <a16:creationId xmlns:a16="http://schemas.microsoft.com/office/drawing/2014/main" id="{54C8F4D3-CA45-4804-BE4C-0B7F16CB00CB}"/>
              </a:ext>
            </a:extLst>
          </p:cNvPr>
          <p:cNvGrpSpPr/>
          <p:nvPr/>
        </p:nvGrpSpPr>
        <p:grpSpPr>
          <a:xfrm>
            <a:off x="8543478" y="116632"/>
            <a:ext cx="790389" cy="880719"/>
            <a:chOff x="4989407" y="2549111"/>
            <a:chExt cx="1904103" cy="2121714"/>
          </a:xfrm>
        </p:grpSpPr>
        <p:pic>
          <p:nvPicPr>
            <p:cNvPr id="22" name="Grafik 24">
              <a:extLst>
                <a:ext uri="{FF2B5EF4-FFF2-40B4-BE49-F238E27FC236}">
                  <a16:creationId xmlns:a16="http://schemas.microsoft.com/office/drawing/2014/main" id="{021A1489-B3BC-41DD-87C5-72868436CBF9}"/>
                </a:ext>
              </a:extLst>
            </p:cNvPr>
            <p:cNvPicPr>
              <a:picLocks noChangeAspect="1"/>
            </p:cNvPicPr>
            <p:nvPr/>
          </p:nvPicPr>
          <p:blipFill>
            <a:blip r:embed="rId10" cstate="screen">
              <a:biLevel thresh="75000"/>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004810" y="2563284"/>
              <a:ext cx="1873296" cy="2093368"/>
            </a:xfrm>
            <a:prstGeom prst="rect">
              <a:avLst/>
            </a:prstGeom>
            <a:effectLst/>
          </p:spPr>
        </p:pic>
        <p:pic>
          <p:nvPicPr>
            <p:cNvPr id="23" name="Grafik 25">
              <a:extLst>
                <a:ext uri="{FF2B5EF4-FFF2-40B4-BE49-F238E27FC236}">
                  <a16:creationId xmlns:a16="http://schemas.microsoft.com/office/drawing/2014/main" id="{06978ED4-2259-4DF4-829E-DA30BBA27DC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989407" y="2549111"/>
              <a:ext cx="1904103" cy="2121714"/>
            </a:xfrm>
            <a:prstGeom prst="rect">
              <a:avLst/>
            </a:prstGeom>
          </p:spPr>
        </p:pic>
      </p:grpSp>
      <p:pic>
        <p:nvPicPr>
          <p:cNvPr id="18" name="Picture 17">
            <a:extLst>
              <a:ext uri="{FF2B5EF4-FFF2-40B4-BE49-F238E27FC236}">
                <a16:creationId xmlns:a16="http://schemas.microsoft.com/office/drawing/2014/main" id="{95409956-342D-4F00-8A81-2C0FF5C823BE}"/>
              </a:ext>
            </a:extLst>
          </p:cNvPr>
          <p:cNvPicPr>
            <a:picLocks noChangeAspect="1"/>
          </p:cNvPicPr>
          <p:nvPr/>
        </p:nvPicPr>
        <p:blipFill>
          <a:blip r:embed="rId13"/>
          <a:stretch>
            <a:fillRect/>
          </a:stretch>
        </p:blipFill>
        <p:spPr>
          <a:xfrm>
            <a:off x="9994951" y="384669"/>
            <a:ext cx="1311958" cy="411043"/>
          </a:xfrm>
          <a:prstGeom prst="rect">
            <a:avLst/>
          </a:prstGeom>
        </p:spPr>
      </p:pic>
      <p:sp>
        <p:nvSpPr>
          <p:cNvPr id="20" name="Footer Placeholder 5">
            <a:extLst>
              <a:ext uri="{FF2B5EF4-FFF2-40B4-BE49-F238E27FC236}">
                <a16:creationId xmlns:a16="http://schemas.microsoft.com/office/drawing/2014/main" id="{28E71573-2FC3-43EA-9268-3E7E666600DC}"/>
              </a:ext>
            </a:extLst>
          </p:cNvPr>
          <p:cNvSpPr txBox="1">
            <a:spLocks/>
          </p:cNvSpPr>
          <p:nvPr/>
        </p:nvSpPr>
        <p:spPr>
          <a:xfrm>
            <a:off x="1054646" y="6475131"/>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GB" sz="900" dirty="0">
                <a:solidFill>
                  <a:srgbClr val="6F6F6F"/>
                </a:solidFill>
              </a:rPr>
              <a:t>NZSUG Auckland Event + SAP Forum</a:t>
            </a:r>
            <a:endParaRPr lang="de-DE" sz="900" dirty="0">
              <a:solidFill>
                <a:srgbClr val="6F6F6F"/>
              </a:solidFill>
            </a:endParaRPr>
          </a:p>
        </p:txBody>
      </p:sp>
    </p:spTree>
    <p:extLst>
      <p:ext uri="{BB962C8B-B14F-4D97-AF65-F5344CB8AC3E}">
        <p14:creationId xmlns:p14="http://schemas.microsoft.com/office/powerpoint/2010/main" val="308534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40920-0B37-4D42-AC85-780EE4217D39}"/>
              </a:ext>
            </a:extLst>
          </p:cNvPr>
          <p:cNvSpPr>
            <a:spLocks noGrp="1"/>
          </p:cNvSpPr>
          <p:nvPr>
            <p:ph type="title"/>
          </p:nvPr>
        </p:nvSpPr>
        <p:spPr/>
        <p:txBody>
          <a:bodyPr/>
          <a:lstStyle/>
          <a:p>
            <a:r>
              <a:rPr lang="en-GB" noProof="0" dirty="0"/>
              <a:t>Selective Migration powered by CrystalBridge</a:t>
            </a:r>
          </a:p>
        </p:txBody>
      </p:sp>
      <p:grpSp>
        <p:nvGrpSpPr>
          <p:cNvPr id="21" name="Gruppieren 20">
            <a:extLst>
              <a:ext uri="{FF2B5EF4-FFF2-40B4-BE49-F238E27FC236}">
                <a16:creationId xmlns:a16="http://schemas.microsoft.com/office/drawing/2014/main" id="{254A7253-8B3B-4DC0-BFC3-69E97D61BFC1}"/>
              </a:ext>
            </a:extLst>
          </p:cNvPr>
          <p:cNvGrpSpPr/>
          <p:nvPr/>
        </p:nvGrpSpPr>
        <p:grpSpPr>
          <a:xfrm>
            <a:off x="406400" y="1449070"/>
            <a:ext cx="11464697" cy="1079483"/>
            <a:chOff x="406400" y="3037320"/>
            <a:chExt cx="11464697" cy="1079483"/>
          </a:xfrm>
        </p:grpSpPr>
        <p:sp>
          <p:nvSpPr>
            <p:cNvPr id="7" name="Rechteck 6">
              <a:extLst>
                <a:ext uri="{FF2B5EF4-FFF2-40B4-BE49-F238E27FC236}">
                  <a16:creationId xmlns:a16="http://schemas.microsoft.com/office/drawing/2014/main" id="{94DF3FA5-117D-49A6-8266-614AEF9F9DE5}"/>
                </a:ext>
              </a:extLst>
            </p:cNvPr>
            <p:cNvSpPr/>
            <p:nvPr/>
          </p:nvSpPr>
          <p:spPr>
            <a:xfrm>
              <a:off x="605698" y="3218064"/>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1. Organize</a:t>
              </a:r>
              <a:endParaRPr lang="en-US" sz="1100" b="1">
                <a:solidFill>
                  <a:srgbClr val="002060"/>
                </a:solidFill>
              </a:endParaRPr>
            </a:p>
            <a:p>
              <a:r>
                <a:rPr lang="en-US" sz="1000">
                  <a:solidFill>
                    <a:srgbClr val="002060"/>
                  </a:solidFill>
                </a:rPr>
                <a:t>Selection of Org-Units in use</a:t>
              </a:r>
            </a:p>
          </p:txBody>
        </p:sp>
        <p:sp>
          <p:nvSpPr>
            <p:cNvPr id="8" name="Rechteck 7">
              <a:extLst>
                <a:ext uri="{FF2B5EF4-FFF2-40B4-BE49-F238E27FC236}">
                  <a16:creationId xmlns:a16="http://schemas.microsoft.com/office/drawing/2014/main" id="{5BD1F924-62C2-4A37-AEB3-09986D0ACA93}"/>
                </a:ext>
              </a:extLst>
            </p:cNvPr>
            <p:cNvSpPr/>
            <p:nvPr/>
          </p:nvSpPr>
          <p:spPr>
            <a:xfrm>
              <a:off x="2429769" y="322378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2. Design</a:t>
              </a:r>
              <a:endParaRPr lang="en-US" sz="1100" b="1">
                <a:solidFill>
                  <a:srgbClr val="002060"/>
                </a:solidFill>
              </a:endParaRPr>
            </a:p>
            <a:p>
              <a:r>
                <a:rPr lang="en-US" sz="1000">
                  <a:solidFill>
                    <a:srgbClr val="002060"/>
                  </a:solidFill>
                </a:rPr>
                <a:t>Check Migration Objects used by selected Org-Units</a:t>
              </a:r>
            </a:p>
          </p:txBody>
        </p:sp>
        <p:sp>
          <p:nvSpPr>
            <p:cNvPr id="9" name="Rechteck 8">
              <a:extLst>
                <a:ext uri="{FF2B5EF4-FFF2-40B4-BE49-F238E27FC236}">
                  <a16:creationId xmlns:a16="http://schemas.microsoft.com/office/drawing/2014/main" id="{4905A7B8-8123-4DE5-BFF7-417770071969}"/>
                </a:ext>
              </a:extLst>
            </p:cNvPr>
            <p:cNvSpPr/>
            <p:nvPr/>
          </p:nvSpPr>
          <p:spPr>
            <a:xfrm>
              <a:off x="4326447"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3. Time Based Selection</a:t>
              </a:r>
              <a:endParaRPr lang="en-US" sz="1100" b="1">
                <a:solidFill>
                  <a:srgbClr val="002060"/>
                </a:solidFill>
              </a:endParaRPr>
            </a:p>
            <a:p>
              <a:r>
                <a:rPr lang="en-US" sz="1000">
                  <a:solidFill>
                    <a:srgbClr val="002060"/>
                  </a:solidFill>
                </a:rPr>
                <a:t>See Tables and Objects to be migrated</a:t>
              </a:r>
            </a:p>
          </p:txBody>
        </p:sp>
        <p:sp>
          <p:nvSpPr>
            <p:cNvPr id="10" name="Rechteck 9">
              <a:extLst>
                <a:ext uri="{FF2B5EF4-FFF2-40B4-BE49-F238E27FC236}">
                  <a16:creationId xmlns:a16="http://schemas.microsoft.com/office/drawing/2014/main" id="{C0A58272-A02B-4F74-B338-85B6A11B1B78}"/>
                </a:ext>
              </a:extLst>
            </p:cNvPr>
            <p:cNvSpPr/>
            <p:nvPr/>
          </p:nvSpPr>
          <p:spPr>
            <a:xfrm>
              <a:off x="6175223"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dirty="0">
                  <a:solidFill>
                    <a:srgbClr val="002060"/>
                  </a:solidFill>
                </a:rPr>
                <a:t>4. Plan</a:t>
              </a:r>
              <a:endParaRPr lang="en-US" sz="1100" b="1" dirty="0">
                <a:solidFill>
                  <a:srgbClr val="002060"/>
                </a:solidFill>
              </a:endParaRPr>
            </a:p>
            <a:p>
              <a:r>
                <a:rPr lang="en-US" sz="1000" dirty="0">
                  <a:solidFill>
                    <a:srgbClr val="002060"/>
                  </a:solidFill>
                </a:rPr>
                <a:t>S/4HANA Migration</a:t>
              </a:r>
            </a:p>
            <a:p>
              <a:r>
                <a:rPr lang="en-US" sz="1000" dirty="0">
                  <a:solidFill>
                    <a:srgbClr val="002060"/>
                  </a:solidFill>
                </a:rPr>
                <a:t>Business Questionnaire</a:t>
              </a:r>
            </a:p>
          </p:txBody>
        </p:sp>
        <p:sp>
          <p:nvSpPr>
            <p:cNvPr id="11" name="Rechteck 10">
              <a:extLst>
                <a:ext uri="{FF2B5EF4-FFF2-40B4-BE49-F238E27FC236}">
                  <a16:creationId xmlns:a16="http://schemas.microsoft.com/office/drawing/2014/main" id="{1B07C04B-72FE-4DE5-AE01-CBD485A5FCDF}"/>
                </a:ext>
              </a:extLst>
            </p:cNvPr>
            <p:cNvSpPr/>
            <p:nvPr/>
          </p:nvSpPr>
          <p:spPr>
            <a:xfrm>
              <a:off x="8066522" y="3205763"/>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5. Setup</a:t>
              </a:r>
            </a:p>
            <a:p>
              <a:r>
                <a:rPr lang="en-US" sz="1000">
                  <a:solidFill>
                    <a:srgbClr val="002060"/>
                  </a:solidFill>
                </a:rPr>
                <a:t>Download the scoping results to start the Project</a:t>
              </a:r>
            </a:p>
          </p:txBody>
        </p:sp>
        <p:sp>
          <p:nvSpPr>
            <p:cNvPr id="12" name="Rechteck 11">
              <a:extLst>
                <a:ext uri="{FF2B5EF4-FFF2-40B4-BE49-F238E27FC236}">
                  <a16:creationId xmlns:a16="http://schemas.microsoft.com/office/drawing/2014/main" id="{A15B490D-0100-4089-B5B6-913947B04C97}"/>
                </a:ext>
              </a:extLst>
            </p:cNvPr>
            <p:cNvSpPr/>
            <p:nvPr/>
          </p:nvSpPr>
          <p:spPr>
            <a:xfrm>
              <a:off x="9992165" y="3201315"/>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6. Control</a:t>
              </a:r>
              <a:endParaRPr lang="en-US" sz="1100" b="1">
                <a:solidFill>
                  <a:srgbClr val="002060"/>
                </a:solidFill>
              </a:endParaRPr>
            </a:p>
            <a:p>
              <a:r>
                <a:rPr lang="en-US" sz="1000">
                  <a:solidFill>
                    <a:srgbClr val="002060"/>
                  </a:solidFill>
                </a:rPr>
                <a:t>Control the project in Solman</a:t>
              </a:r>
            </a:p>
          </p:txBody>
        </p:sp>
        <p:cxnSp>
          <p:nvCxnSpPr>
            <p:cNvPr id="14" name="Gerade Verbindung mit Pfeil 13">
              <a:extLst>
                <a:ext uri="{FF2B5EF4-FFF2-40B4-BE49-F238E27FC236}">
                  <a16:creationId xmlns:a16="http://schemas.microsoft.com/office/drawing/2014/main" id="{1FB74D42-4D44-4FE5-B24E-1F0C17603D5A}"/>
                </a:ext>
              </a:extLst>
            </p:cNvPr>
            <p:cNvCxnSpPr/>
            <p:nvPr/>
          </p:nvCxnSpPr>
          <p:spPr>
            <a:xfrm>
              <a:off x="406400" y="3140968"/>
              <a:ext cx="11377613" cy="0"/>
            </a:xfrm>
            <a:prstGeom prst="straightConnector1">
              <a:avLst/>
            </a:prstGeom>
            <a:ln w="508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Ellipse 14">
              <a:extLst>
                <a:ext uri="{FF2B5EF4-FFF2-40B4-BE49-F238E27FC236}">
                  <a16:creationId xmlns:a16="http://schemas.microsoft.com/office/drawing/2014/main" id="{3CAF8349-A5A1-442F-8840-E81F04C4E13F}"/>
                </a:ext>
              </a:extLst>
            </p:cNvPr>
            <p:cNvSpPr/>
            <p:nvPr/>
          </p:nvSpPr>
          <p:spPr>
            <a:xfrm>
              <a:off x="622598" y="3037320"/>
              <a:ext cx="180000" cy="180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6" name="Ellipse 15">
              <a:extLst>
                <a:ext uri="{FF2B5EF4-FFF2-40B4-BE49-F238E27FC236}">
                  <a16:creationId xmlns:a16="http://schemas.microsoft.com/office/drawing/2014/main" id="{F9E7DC64-5772-49A0-8641-B2F19ECF2A8F}"/>
                </a:ext>
              </a:extLst>
            </p:cNvPr>
            <p:cNvSpPr/>
            <p:nvPr/>
          </p:nvSpPr>
          <p:spPr>
            <a:xfrm>
              <a:off x="2422798" y="3041578"/>
              <a:ext cx="180000" cy="180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7" name="Ellipse 16">
              <a:extLst>
                <a:ext uri="{FF2B5EF4-FFF2-40B4-BE49-F238E27FC236}">
                  <a16:creationId xmlns:a16="http://schemas.microsoft.com/office/drawing/2014/main" id="{B6C35302-3BD4-48BB-B198-6F4FBC05E076}"/>
                </a:ext>
              </a:extLst>
            </p:cNvPr>
            <p:cNvSpPr/>
            <p:nvPr/>
          </p:nvSpPr>
          <p:spPr>
            <a:xfrm>
              <a:off x="4331030" y="3041882"/>
              <a:ext cx="180000" cy="180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8" name="Ellipse 17">
              <a:extLst>
                <a:ext uri="{FF2B5EF4-FFF2-40B4-BE49-F238E27FC236}">
                  <a16:creationId xmlns:a16="http://schemas.microsoft.com/office/drawing/2014/main" id="{B6DC7796-64E3-4061-9ECB-6FB1F9B4991C}"/>
                </a:ext>
              </a:extLst>
            </p:cNvPr>
            <p:cNvSpPr/>
            <p:nvPr/>
          </p:nvSpPr>
          <p:spPr>
            <a:xfrm>
              <a:off x="6167214" y="3046140"/>
              <a:ext cx="180000" cy="180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9" name="Ellipse 18">
              <a:extLst>
                <a:ext uri="{FF2B5EF4-FFF2-40B4-BE49-F238E27FC236}">
                  <a16:creationId xmlns:a16="http://schemas.microsoft.com/office/drawing/2014/main" id="{1B53BBCB-2B7A-4ADA-A44B-55747D625216}"/>
                </a:ext>
              </a:extLst>
            </p:cNvPr>
            <p:cNvSpPr/>
            <p:nvPr/>
          </p:nvSpPr>
          <p:spPr>
            <a:xfrm>
              <a:off x="8075446" y="3045967"/>
              <a:ext cx="180000" cy="180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20" name="Ellipse 19">
              <a:extLst>
                <a:ext uri="{FF2B5EF4-FFF2-40B4-BE49-F238E27FC236}">
                  <a16:creationId xmlns:a16="http://schemas.microsoft.com/office/drawing/2014/main" id="{95972A82-0734-4BC8-988D-A2E14E53E3F3}"/>
                </a:ext>
              </a:extLst>
            </p:cNvPr>
            <p:cNvSpPr/>
            <p:nvPr/>
          </p:nvSpPr>
          <p:spPr>
            <a:xfrm>
              <a:off x="9983658" y="3050225"/>
              <a:ext cx="180000" cy="180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grpSp>
      <p:sp>
        <p:nvSpPr>
          <p:cNvPr id="22" name="Rechteck 21">
            <a:extLst>
              <a:ext uri="{FF2B5EF4-FFF2-40B4-BE49-F238E27FC236}">
                <a16:creationId xmlns:a16="http://schemas.microsoft.com/office/drawing/2014/main" id="{561EC3A5-AF60-444C-8E52-7783786AADC5}"/>
              </a:ext>
            </a:extLst>
          </p:cNvPr>
          <p:cNvSpPr/>
          <p:nvPr/>
        </p:nvSpPr>
        <p:spPr>
          <a:xfrm>
            <a:off x="366027" y="1124744"/>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a:solidFill>
                  <a:srgbClr val="002060"/>
                </a:solidFill>
              </a:rPr>
              <a:t>Project Steps</a:t>
            </a:r>
            <a:endParaRPr lang="en-US" sz="1000">
              <a:solidFill>
                <a:srgbClr val="002060"/>
              </a:solidFill>
            </a:endParaRPr>
          </a:p>
        </p:txBody>
      </p:sp>
      <p:grpSp>
        <p:nvGrpSpPr>
          <p:cNvPr id="87" name="Gruppieren 86">
            <a:extLst>
              <a:ext uri="{FF2B5EF4-FFF2-40B4-BE49-F238E27FC236}">
                <a16:creationId xmlns:a16="http://schemas.microsoft.com/office/drawing/2014/main" id="{BC29B53D-FC69-4293-A024-49225C9A315E}"/>
              </a:ext>
            </a:extLst>
          </p:cNvPr>
          <p:cNvGrpSpPr/>
          <p:nvPr/>
        </p:nvGrpSpPr>
        <p:grpSpPr>
          <a:xfrm>
            <a:off x="3278928" y="2874087"/>
            <a:ext cx="6167231" cy="3271085"/>
            <a:chOff x="2255440" y="2406092"/>
            <a:chExt cx="8699300" cy="4622960"/>
          </a:xfrm>
        </p:grpSpPr>
        <p:sp>
          <p:nvSpPr>
            <p:cNvPr id="23" name="Ellipse 69">
              <a:extLst>
                <a:ext uri="{FF2B5EF4-FFF2-40B4-BE49-F238E27FC236}">
                  <a16:creationId xmlns:a16="http://schemas.microsoft.com/office/drawing/2014/main" id="{DF097A00-7BC4-4F47-85A8-3E898C248A26}"/>
                </a:ext>
              </a:extLst>
            </p:cNvPr>
            <p:cNvSpPr/>
            <p:nvPr/>
          </p:nvSpPr>
          <p:spPr>
            <a:xfrm>
              <a:off x="7476698" y="3429000"/>
              <a:ext cx="2053261" cy="2538635"/>
            </a:xfrm>
            <a:custGeom>
              <a:avLst/>
              <a:gdLst/>
              <a:ahLst/>
              <a:cxnLst/>
              <a:rect l="l" t="t" r="r" b="b"/>
              <a:pathLst>
                <a:path w="2607570" h="3223980">
                  <a:moveTo>
                    <a:pt x="995580" y="0"/>
                  </a:moveTo>
                  <a:cubicBezTo>
                    <a:pt x="1885857" y="0"/>
                    <a:pt x="2607570" y="721713"/>
                    <a:pt x="2607570" y="1611990"/>
                  </a:cubicBezTo>
                  <a:cubicBezTo>
                    <a:pt x="2607570" y="2502267"/>
                    <a:pt x="1885857" y="3223980"/>
                    <a:pt x="995580" y="3223980"/>
                  </a:cubicBezTo>
                  <a:cubicBezTo>
                    <a:pt x="628657" y="3223980"/>
                    <a:pt x="290367" y="3101388"/>
                    <a:pt x="20519" y="2893504"/>
                  </a:cubicBezTo>
                  <a:cubicBezTo>
                    <a:pt x="282448" y="2541801"/>
                    <a:pt x="436080" y="2105533"/>
                    <a:pt x="436080" y="1633382"/>
                  </a:cubicBezTo>
                  <a:cubicBezTo>
                    <a:pt x="436080" y="1148917"/>
                    <a:pt x="274330" y="702232"/>
                    <a:pt x="0" y="345820"/>
                  </a:cubicBezTo>
                  <a:cubicBezTo>
                    <a:pt x="273404" y="128824"/>
                    <a:pt x="619448" y="0"/>
                    <a:pt x="995580" y="0"/>
                  </a:cubicBezTo>
                  <a:close/>
                </a:path>
              </a:pathLst>
            </a:cu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de-DE" sz="800" err="1"/>
            </a:p>
          </p:txBody>
        </p:sp>
        <p:sp>
          <p:nvSpPr>
            <p:cNvPr id="24" name="Ellipse 68">
              <a:extLst>
                <a:ext uri="{FF2B5EF4-FFF2-40B4-BE49-F238E27FC236}">
                  <a16:creationId xmlns:a16="http://schemas.microsoft.com/office/drawing/2014/main" id="{13DBE2E5-4DD9-476A-BCEC-6CEFDA9D5A54}"/>
                </a:ext>
              </a:extLst>
            </p:cNvPr>
            <p:cNvSpPr/>
            <p:nvPr/>
          </p:nvSpPr>
          <p:spPr>
            <a:xfrm>
              <a:off x="2255440" y="3429000"/>
              <a:ext cx="2053261" cy="2538635"/>
            </a:xfrm>
            <a:custGeom>
              <a:avLst/>
              <a:gdLst/>
              <a:ahLst/>
              <a:cxnLst/>
              <a:rect l="l" t="t" r="r" b="b"/>
              <a:pathLst>
                <a:path w="2607571" h="3223980">
                  <a:moveTo>
                    <a:pt x="1611990" y="0"/>
                  </a:moveTo>
                  <a:cubicBezTo>
                    <a:pt x="1988123" y="0"/>
                    <a:pt x="2334167" y="128824"/>
                    <a:pt x="2607571" y="345821"/>
                  </a:cubicBezTo>
                  <a:cubicBezTo>
                    <a:pt x="2333241" y="702232"/>
                    <a:pt x="2171491" y="1148918"/>
                    <a:pt x="2171491" y="1633382"/>
                  </a:cubicBezTo>
                  <a:cubicBezTo>
                    <a:pt x="2171491" y="2105533"/>
                    <a:pt x="2325123" y="2541801"/>
                    <a:pt x="2587052" y="2893504"/>
                  </a:cubicBezTo>
                  <a:cubicBezTo>
                    <a:pt x="2317204" y="3101388"/>
                    <a:pt x="1978913" y="3223980"/>
                    <a:pt x="1611990" y="3223980"/>
                  </a:cubicBezTo>
                  <a:cubicBezTo>
                    <a:pt x="721713" y="3223980"/>
                    <a:pt x="0" y="2502267"/>
                    <a:pt x="0" y="1611990"/>
                  </a:cubicBezTo>
                  <a:cubicBezTo>
                    <a:pt x="0" y="721713"/>
                    <a:pt x="721713" y="0"/>
                    <a:pt x="1611990" y="0"/>
                  </a:cubicBezTo>
                  <a:close/>
                </a:path>
              </a:pathLst>
            </a:custGeom>
            <a:solidFill>
              <a:schemeClr val="bg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de-DE" sz="800" err="1"/>
            </a:p>
          </p:txBody>
        </p:sp>
        <p:grpSp>
          <p:nvGrpSpPr>
            <p:cNvPr id="28" name="Gruppieren 27">
              <a:extLst>
                <a:ext uri="{FF2B5EF4-FFF2-40B4-BE49-F238E27FC236}">
                  <a16:creationId xmlns:a16="http://schemas.microsoft.com/office/drawing/2014/main" id="{716B7A5C-85AC-4B33-87C5-4EA3DCFD68FE}"/>
                </a:ext>
              </a:extLst>
            </p:cNvPr>
            <p:cNvGrpSpPr/>
            <p:nvPr/>
          </p:nvGrpSpPr>
          <p:grpSpPr>
            <a:xfrm>
              <a:off x="4215072" y="5089013"/>
              <a:ext cx="3355254" cy="1329186"/>
              <a:chOff x="2802555" y="3830046"/>
              <a:chExt cx="2436678" cy="1254997"/>
            </a:xfrm>
          </p:grpSpPr>
          <p:sp>
            <p:nvSpPr>
              <p:cNvPr id="29" name="Rechteck 28">
                <a:extLst>
                  <a:ext uri="{FF2B5EF4-FFF2-40B4-BE49-F238E27FC236}">
                    <a16:creationId xmlns:a16="http://schemas.microsoft.com/office/drawing/2014/main" id="{742568AB-F2B4-461C-90E2-DC43736A07CC}"/>
                  </a:ext>
                </a:extLst>
              </p:cNvPr>
              <p:cNvSpPr/>
              <p:nvPr/>
            </p:nvSpPr>
            <p:spPr>
              <a:xfrm>
                <a:off x="2802555" y="3830046"/>
                <a:ext cx="2436678" cy="276741"/>
              </a:xfrm>
              <a:prstGeom prst="rect">
                <a:avLst/>
              </a:prstGeom>
              <a:solidFill>
                <a:schemeClr val="accent6"/>
              </a:solidFill>
              <a:ln>
                <a:solidFill>
                  <a:schemeClr val="bg1"/>
                </a:solidFill>
              </a:ln>
            </p:spPr>
            <p:txBody>
              <a:bodyPr wrap="none" lIns="68580" tIns="34290" rIns="68580" bIns="10800" anchor="ctr" anchorCtr="0">
                <a:noAutofit/>
              </a:bodyPr>
              <a:lstStyle/>
              <a:p>
                <a:pPr algn="ctr">
                  <a:lnSpc>
                    <a:spcPct val="85000"/>
                  </a:lnSpc>
                </a:pPr>
                <a:r>
                  <a:rPr lang="en-US" sz="800">
                    <a:solidFill>
                      <a:schemeClr val="bg1"/>
                    </a:solidFill>
                  </a:rPr>
                  <a:t>SNP ANALYSIS</a:t>
                </a:r>
              </a:p>
            </p:txBody>
          </p:sp>
          <p:sp>
            <p:nvSpPr>
              <p:cNvPr id="30" name="Rechteck 29">
                <a:extLst>
                  <a:ext uri="{FF2B5EF4-FFF2-40B4-BE49-F238E27FC236}">
                    <a16:creationId xmlns:a16="http://schemas.microsoft.com/office/drawing/2014/main" id="{2B2EEE7F-7BA9-4BB6-BBE1-FF08CC6A122C}"/>
                  </a:ext>
                </a:extLst>
              </p:cNvPr>
              <p:cNvSpPr/>
              <p:nvPr/>
            </p:nvSpPr>
            <p:spPr>
              <a:xfrm>
                <a:off x="2870551" y="4106787"/>
                <a:ext cx="2259017" cy="449390"/>
              </a:xfrm>
              <a:prstGeom prst="rect">
                <a:avLst/>
              </a:prstGeom>
              <a:solidFill>
                <a:schemeClr val="accent3"/>
              </a:solidFill>
              <a:ln>
                <a:solidFill>
                  <a:schemeClr val="bg1"/>
                </a:solidFill>
              </a:ln>
            </p:spPr>
            <p:txBody>
              <a:bodyPr wrap="none" lIns="68580" tIns="34290" rIns="68580" bIns="18000" anchor="ctr" anchorCtr="0">
                <a:noAutofit/>
              </a:bodyPr>
              <a:lstStyle/>
              <a:p>
                <a:pPr algn="ctr">
                  <a:lnSpc>
                    <a:spcPct val="85000"/>
                  </a:lnSpc>
                </a:pPr>
                <a:r>
                  <a:rPr lang="en-US" sz="800">
                    <a:solidFill>
                      <a:schemeClr val="bg1"/>
                    </a:solidFill>
                  </a:rPr>
                  <a:t>SNP TRANSFORMATION </a:t>
                </a:r>
                <a:br>
                  <a:rPr lang="en-US" sz="800">
                    <a:solidFill>
                      <a:schemeClr val="bg1"/>
                    </a:solidFill>
                  </a:rPr>
                </a:br>
                <a:r>
                  <a:rPr lang="en-US" sz="800">
                    <a:solidFill>
                      <a:schemeClr val="bg1"/>
                    </a:solidFill>
                  </a:rPr>
                  <a:t>BACKBONE WITH SAP LT </a:t>
                </a:r>
              </a:p>
            </p:txBody>
          </p:sp>
          <p:sp>
            <p:nvSpPr>
              <p:cNvPr id="31" name="Rechteck 30">
                <a:extLst>
                  <a:ext uri="{FF2B5EF4-FFF2-40B4-BE49-F238E27FC236}">
                    <a16:creationId xmlns:a16="http://schemas.microsoft.com/office/drawing/2014/main" id="{54BA1A1E-6346-4CB5-8E39-06FE0CD73D68}"/>
                  </a:ext>
                </a:extLst>
              </p:cNvPr>
              <p:cNvSpPr/>
              <p:nvPr/>
            </p:nvSpPr>
            <p:spPr>
              <a:xfrm>
                <a:off x="2870551" y="4556178"/>
                <a:ext cx="2259017" cy="276742"/>
              </a:xfrm>
              <a:prstGeom prst="rect">
                <a:avLst/>
              </a:prstGeom>
              <a:solidFill>
                <a:schemeClr val="accent4"/>
              </a:solidFill>
              <a:ln>
                <a:solidFill>
                  <a:schemeClr val="bg1"/>
                </a:solidFill>
              </a:ln>
            </p:spPr>
            <p:txBody>
              <a:bodyPr wrap="none" lIns="68580" tIns="34290" rIns="68580" bIns="10800" anchor="ctr" anchorCtr="0">
                <a:noAutofit/>
              </a:bodyPr>
              <a:lstStyle/>
              <a:p>
                <a:pPr algn="ctr">
                  <a:lnSpc>
                    <a:spcPct val="85000"/>
                  </a:lnSpc>
                </a:pPr>
                <a:r>
                  <a:rPr lang="en-US" sz="800">
                    <a:solidFill>
                      <a:schemeClr val="bg1"/>
                    </a:solidFill>
                  </a:rPr>
                  <a:t>SNP GOVERNANCE</a:t>
                </a:r>
              </a:p>
            </p:txBody>
          </p:sp>
          <p:sp>
            <p:nvSpPr>
              <p:cNvPr id="32" name="Rechteck 31">
                <a:extLst>
                  <a:ext uri="{FF2B5EF4-FFF2-40B4-BE49-F238E27FC236}">
                    <a16:creationId xmlns:a16="http://schemas.microsoft.com/office/drawing/2014/main" id="{40B68F29-8CB8-4342-B522-756660F6229E}"/>
                  </a:ext>
                </a:extLst>
              </p:cNvPr>
              <p:cNvSpPr/>
              <p:nvPr/>
            </p:nvSpPr>
            <p:spPr>
              <a:xfrm>
                <a:off x="3269270" y="4832920"/>
                <a:ext cx="1461578" cy="252123"/>
              </a:xfrm>
              <a:prstGeom prst="rect">
                <a:avLst/>
              </a:prstGeom>
              <a:solidFill>
                <a:schemeClr val="bg2"/>
              </a:solidFill>
              <a:ln>
                <a:solidFill>
                  <a:schemeClr val="bg1"/>
                </a:solidFill>
              </a:ln>
            </p:spPr>
            <p:txBody>
              <a:bodyPr wrap="none" lIns="68580" tIns="34290" rIns="68580" bIns="34290" anchor="ctr" anchorCtr="0">
                <a:noAutofit/>
              </a:bodyPr>
              <a:lstStyle/>
              <a:p>
                <a:pPr algn="ctr"/>
                <a:endParaRPr lang="en-US" sz="800">
                  <a:solidFill>
                    <a:schemeClr val="bg1"/>
                  </a:solidFill>
                </a:endParaRPr>
              </a:p>
            </p:txBody>
          </p:sp>
        </p:grpSp>
        <p:sp>
          <p:nvSpPr>
            <p:cNvPr id="33" name="Rechteck 32">
              <a:extLst>
                <a:ext uri="{FF2B5EF4-FFF2-40B4-BE49-F238E27FC236}">
                  <a16:creationId xmlns:a16="http://schemas.microsoft.com/office/drawing/2014/main" id="{91FFD839-256D-4F2A-9E97-628C88A47A1A}"/>
                </a:ext>
              </a:extLst>
            </p:cNvPr>
            <p:cNvSpPr/>
            <p:nvPr/>
          </p:nvSpPr>
          <p:spPr>
            <a:xfrm>
              <a:off x="4704421" y="2871328"/>
              <a:ext cx="714358" cy="1358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de-DE" sz="800" err="1"/>
            </a:p>
          </p:txBody>
        </p:sp>
        <p:grpSp>
          <p:nvGrpSpPr>
            <p:cNvPr id="34" name="Gruppieren 33">
              <a:extLst>
                <a:ext uri="{FF2B5EF4-FFF2-40B4-BE49-F238E27FC236}">
                  <a16:creationId xmlns:a16="http://schemas.microsoft.com/office/drawing/2014/main" id="{CCBE9CFA-D3C8-4957-AB72-7873FBCE8410}"/>
                </a:ext>
              </a:extLst>
            </p:cNvPr>
            <p:cNvGrpSpPr/>
            <p:nvPr/>
          </p:nvGrpSpPr>
          <p:grpSpPr>
            <a:xfrm>
              <a:off x="4405074" y="4432990"/>
              <a:ext cx="2958885" cy="649268"/>
              <a:chOff x="4550134" y="3212948"/>
              <a:chExt cx="2958885" cy="649268"/>
            </a:xfrm>
          </p:grpSpPr>
          <p:sp>
            <p:nvSpPr>
              <p:cNvPr id="35" name="Rechteck 34">
                <a:extLst>
                  <a:ext uri="{FF2B5EF4-FFF2-40B4-BE49-F238E27FC236}">
                    <a16:creationId xmlns:a16="http://schemas.microsoft.com/office/drawing/2014/main" id="{BC5EFCD3-F62D-40FF-B0BE-483505D76B26}"/>
                  </a:ext>
                </a:extLst>
              </p:cNvPr>
              <p:cNvSpPr/>
              <p:nvPr/>
            </p:nvSpPr>
            <p:spPr>
              <a:xfrm>
                <a:off x="5563839" y="3613131"/>
                <a:ext cx="943105" cy="249085"/>
              </a:xfrm>
              <a:prstGeom prst="rect">
                <a:avLst/>
              </a:prstGeom>
              <a:noFill/>
            </p:spPr>
            <p:txBody>
              <a:bodyPr wrap="none" lIns="68580" tIns="34290" rIns="68580" bIns="34290" anchor="ctr" anchorCtr="0">
                <a:noAutofit/>
              </a:bodyPr>
              <a:lstStyle/>
              <a:p>
                <a:pPr algn="ctr"/>
                <a:r>
                  <a:rPr lang="en-US" sz="800">
                    <a:solidFill>
                      <a:schemeClr val="accent3"/>
                    </a:solidFill>
                  </a:rPr>
                  <a:t>Transformation</a:t>
                </a:r>
              </a:p>
            </p:txBody>
          </p:sp>
          <p:grpSp>
            <p:nvGrpSpPr>
              <p:cNvPr id="36" name="Gruppieren 35">
                <a:extLst>
                  <a:ext uri="{FF2B5EF4-FFF2-40B4-BE49-F238E27FC236}">
                    <a16:creationId xmlns:a16="http://schemas.microsoft.com/office/drawing/2014/main" id="{7CC2B35F-1543-4DFF-AA28-EEFFBAACBD3F}"/>
                  </a:ext>
                </a:extLst>
              </p:cNvPr>
              <p:cNvGrpSpPr>
                <a:grpSpLocks noChangeAspect="1"/>
              </p:cNvGrpSpPr>
              <p:nvPr/>
            </p:nvGrpSpPr>
            <p:grpSpPr>
              <a:xfrm>
                <a:off x="5834980" y="3212948"/>
                <a:ext cx="400822" cy="400824"/>
                <a:chOff x="5306545" y="4139604"/>
                <a:chExt cx="1495028" cy="1495030"/>
              </a:xfrm>
            </p:grpSpPr>
            <p:sp>
              <p:nvSpPr>
                <p:cNvPr id="56" name="Freeform 21">
                  <a:extLst>
                    <a:ext uri="{FF2B5EF4-FFF2-40B4-BE49-F238E27FC236}">
                      <a16:creationId xmlns:a16="http://schemas.microsoft.com/office/drawing/2014/main" id="{0B8108F1-DCB4-4D1A-BE69-02BF74FBE243}"/>
                    </a:ext>
                  </a:extLst>
                </p:cNvPr>
                <p:cNvSpPr>
                  <a:spLocks/>
                </p:cNvSpPr>
                <p:nvPr/>
              </p:nvSpPr>
              <p:spPr bwMode="auto">
                <a:xfrm>
                  <a:off x="5306545" y="4139604"/>
                  <a:ext cx="1495028" cy="1495030"/>
                </a:xfrm>
                <a:custGeom>
                  <a:avLst/>
                  <a:gdLst>
                    <a:gd name="T0" fmla="*/ 241 w 2288"/>
                    <a:gd name="T1" fmla="*/ 241 h 2289"/>
                    <a:gd name="T2" fmla="*/ 2047 w 2288"/>
                    <a:gd name="T3" fmla="*/ 241 h 2289"/>
                    <a:gd name="T4" fmla="*/ 2047 w 2288"/>
                    <a:gd name="T5" fmla="*/ 2048 h 2289"/>
                    <a:gd name="T6" fmla="*/ 241 w 2288"/>
                    <a:gd name="T7" fmla="*/ 2048 h 2289"/>
                    <a:gd name="T8" fmla="*/ 241 w 2288"/>
                    <a:gd name="T9" fmla="*/ 241 h 2289"/>
                  </a:gdLst>
                  <a:ahLst/>
                  <a:cxnLst>
                    <a:cxn ang="0">
                      <a:pos x="T0" y="T1"/>
                    </a:cxn>
                    <a:cxn ang="0">
                      <a:pos x="T2" y="T3"/>
                    </a:cxn>
                    <a:cxn ang="0">
                      <a:pos x="T4" y="T5"/>
                    </a:cxn>
                    <a:cxn ang="0">
                      <a:pos x="T6" y="T7"/>
                    </a:cxn>
                    <a:cxn ang="0">
                      <a:pos x="T8" y="T9"/>
                    </a:cxn>
                  </a:cxnLst>
                  <a:rect l="0" t="0" r="r" b="b"/>
                  <a:pathLst>
                    <a:path w="2288" h="2289">
                      <a:moveTo>
                        <a:pt x="241" y="241"/>
                      </a:moveTo>
                      <a:cubicBezTo>
                        <a:pt x="900" y="0"/>
                        <a:pt x="1593" y="43"/>
                        <a:pt x="2047" y="241"/>
                      </a:cubicBezTo>
                      <a:cubicBezTo>
                        <a:pt x="2288" y="900"/>
                        <a:pt x="2246" y="1593"/>
                        <a:pt x="2047" y="2048"/>
                      </a:cubicBezTo>
                      <a:cubicBezTo>
                        <a:pt x="1389" y="2289"/>
                        <a:pt x="695" y="2247"/>
                        <a:pt x="241" y="2048"/>
                      </a:cubicBezTo>
                      <a:cubicBezTo>
                        <a:pt x="0" y="1389"/>
                        <a:pt x="42" y="696"/>
                        <a:pt x="241" y="241"/>
                      </a:cubicBezTo>
                      <a:close/>
                    </a:path>
                  </a:pathLst>
                </a:custGeom>
                <a:solidFill>
                  <a:schemeClr val="bg1"/>
                </a:solidFill>
                <a:ln w="9525" cap="flat">
                  <a:solidFill>
                    <a:schemeClr val="tx1">
                      <a:lumMod val="50000"/>
                      <a:lumOff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endParaRPr lang="de-DE" sz="800"/>
                </a:p>
              </p:txBody>
            </p:sp>
            <p:grpSp>
              <p:nvGrpSpPr>
                <p:cNvPr id="57" name="Gruppieren 56">
                  <a:extLst>
                    <a:ext uri="{FF2B5EF4-FFF2-40B4-BE49-F238E27FC236}">
                      <a16:creationId xmlns:a16="http://schemas.microsoft.com/office/drawing/2014/main" id="{439CACAD-E818-4339-9F1F-32A9D435D297}"/>
                    </a:ext>
                  </a:extLst>
                </p:cNvPr>
                <p:cNvGrpSpPr/>
                <p:nvPr/>
              </p:nvGrpSpPr>
              <p:grpSpPr>
                <a:xfrm>
                  <a:off x="5387253" y="4220313"/>
                  <a:ext cx="1337455" cy="1333613"/>
                  <a:chOff x="5387253" y="4220313"/>
                  <a:chExt cx="1337455" cy="1333613"/>
                </a:xfrm>
              </p:grpSpPr>
              <p:sp>
                <p:nvSpPr>
                  <p:cNvPr id="58" name="Freeform 22">
                    <a:extLst>
                      <a:ext uri="{FF2B5EF4-FFF2-40B4-BE49-F238E27FC236}">
                        <a16:creationId xmlns:a16="http://schemas.microsoft.com/office/drawing/2014/main" id="{8BD78990-95F5-4756-9B5B-EAD84248C1B6}"/>
                      </a:ext>
                    </a:extLst>
                  </p:cNvPr>
                  <p:cNvSpPr>
                    <a:spLocks/>
                  </p:cNvSpPr>
                  <p:nvPr/>
                </p:nvSpPr>
                <p:spPr bwMode="auto">
                  <a:xfrm>
                    <a:off x="5387253" y="4220313"/>
                    <a:ext cx="1337455" cy="1333613"/>
                  </a:xfrm>
                  <a:custGeom>
                    <a:avLst/>
                    <a:gdLst>
                      <a:gd name="T0" fmla="*/ 45 w 2044"/>
                      <a:gd name="T1" fmla="*/ 411 h 2045"/>
                      <a:gd name="T2" fmla="*/ 1634 w 2044"/>
                      <a:gd name="T3" fmla="*/ 45 h 2045"/>
                      <a:gd name="T4" fmla="*/ 1999 w 2044"/>
                      <a:gd name="T5" fmla="*/ 1634 h 2045"/>
                      <a:gd name="T6" fmla="*/ 410 w 2044"/>
                      <a:gd name="T7" fmla="*/ 2000 h 2045"/>
                      <a:gd name="T8" fmla="*/ 45 w 2044"/>
                      <a:gd name="T9" fmla="*/ 411 h 2045"/>
                    </a:gdLst>
                    <a:ahLst/>
                    <a:cxnLst>
                      <a:cxn ang="0">
                        <a:pos x="T0" y="T1"/>
                      </a:cxn>
                      <a:cxn ang="0">
                        <a:pos x="T2" y="T3"/>
                      </a:cxn>
                      <a:cxn ang="0">
                        <a:pos x="T4" y="T5"/>
                      </a:cxn>
                      <a:cxn ang="0">
                        <a:pos x="T6" y="T7"/>
                      </a:cxn>
                      <a:cxn ang="0">
                        <a:pos x="T8" y="T9"/>
                      </a:cxn>
                    </a:cxnLst>
                    <a:rect l="0" t="0" r="r" b="b"/>
                    <a:pathLst>
                      <a:path w="2044" h="2045">
                        <a:moveTo>
                          <a:pt x="45" y="411"/>
                        </a:moveTo>
                        <a:cubicBezTo>
                          <a:pt x="599" y="97"/>
                          <a:pt x="1204" y="0"/>
                          <a:pt x="1634" y="45"/>
                        </a:cubicBezTo>
                        <a:cubicBezTo>
                          <a:pt x="1948" y="600"/>
                          <a:pt x="2044" y="1204"/>
                          <a:pt x="1999" y="1634"/>
                        </a:cubicBezTo>
                        <a:cubicBezTo>
                          <a:pt x="1445" y="1949"/>
                          <a:pt x="841" y="2045"/>
                          <a:pt x="410" y="2000"/>
                        </a:cubicBezTo>
                        <a:cubicBezTo>
                          <a:pt x="96" y="1445"/>
                          <a:pt x="0" y="841"/>
                          <a:pt x="45" y="411"/>
                        </a:cubicBezTo>
                        <a:close/>
                      </a:path>
                    </a:pathLst>
                  </a:cu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59" name="Freeform 23">
                    <a:extLst>
                      <a:ext uri="{FF2B5EF4-FFF2-40B4-BE49-F238E27FC236}">
                        <a16:creationId xmlns:a16="http://schemas.microsoft.com/office/drawing/2014/main" id="{05F4EEDE-583A-40E6-A5A6-C2A5BFDC5F9E}"/>
                      </a:ext>
                    </a:extLst>
                  </p:cNvPr>
                  <p:cNvSpPr>
                    <a:spLocks/>
                  </p:cNvSpPr>
                  <p:nvPr/>
                </p:nvSpPr>
                <p:spPr bwMode="auto">
                  <a:xfrm>
                    <a:off x="5452589" y="4285648"/>
                    <a:ext cx="1206784" cy="1202942"/>
                  </a:xfrm>
                  <a:custGeom>
                    <a:avLst/>
                    <a:gdLst>
                      <a:gd name="T0" fmla="*/ 0 w 1843"/>
                      <a:gd name="T1" fmla="*/ 541 h 1843"/>
                      <a:gd name="T2" fmla="*/ 1302 w 1843"/>
                      <a:gd name="T3" fmla="*/ 0 h 1843"/>
                      <a:gd name="T4" fmla="*/ 1843 w 1843"/>
                      <a:gd name="T5" fmla="*/ 1302 h 1843"/>
                      <a:gd name="T6" fmla="*/ 541 w 1843"/>
                      <a:gd name="T7" fmla="*/ 1843 h 1843"/>
                      <a:gd name="T8" fmla="*/ 0 w 1843"/>
                      <a:gd name="T9" fmla="*/ 541 h 1843"/>
                    </a:gdLst>
                    <a:ahLst/>
                    <a:cxnLst>
                      <a:cxn ang="0">
                        <a:pos x="T0" y="T1"/>
                      </a:cxn>
                      <a:cxn ang="0">
                        <a:pos x="T2" y="T3"/>
                      </a:cxn>
                      <a:cxn ang="0">
                        <a:pos x="T4" y="T5"/>
                      </a:cxn>
                      <a:cxn ang="0">
                        <a:pos x="T6" y="T7"/>
                      </a:cxn>
                      <a:cxn ang="0">
                        <a:pos x="T8" y="T9"/>
                      </a:cxn>
                    </a:cxnLst>
                    <a:rect l="0" t="0" r="r" b="b"/>
                    <a:pathLst>
                      <a:path w="1843" h="1843">
                        <a:moveTo>
                          <a:pt x="0" y="541"/>
                        </a:moveTo>
                        <a:cubicBezTo>
                          <a:pt x="450" y="232"/>
                          <a:pt x="934" y="69"/>
                          <a:pt x="1302" y="0"/>
                        </a:cubicBezTo>
                        <a:cubicBezTo>
                          <a:pt x="1610" y="451"/>
                          <a:pt x="1773" y="934"/>
                          <a:pt x="1843" y="1302"/>
                        </a:cubicBezTo>
                        <a:cubicBezTo>
                          <a:pt x="1392" y="1611"/>
                          <a:pt x="908" y="1774"/>
                          <a:pt x="541" y="1843"/>
                        </a:cubicBezTo>
                        <a:cubicBezTo>
                          <a:pt x="232" y="1392"/>
                          <a:pt x="69" y="909"/>
                          <a:pt x="0" y="541"/>
                        </a:cubicBezTo>
                        <a:close/>
                      </a:path>
                    </a:pathLst>
                  </a:cu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60" name="Freeform 24">
                    <a:extLst>
                      <a:ext uri="{FF2B5EF4-FFF2-40B4-BE49-F238E27FC236}">
                        <a16:creationId xmlns:a16="http://schemas.microsoft.com/office/drawing/2014/main" id="{7C848499-DAB5-44C0-8A0B-A02EDBA765AE}"/>
                      </a:ext>
                    </a:extLst>
                  </p:cNvPr>
                  <p:cNvSpPr>
                    <a:spLocks/>
                  </p:cNvSpPr>
                  <p:nvPr/>
                </p:nvSpPr>
                <p:spPr bwMode="auto">
                  <a:xfrm>
                    <a:off x="5487178" y="4320237"/>
                    <a:ext cx="1133762" cy="1133763"/>
                  </a:xfrm>
                  <a:custGeom>
                    <a:avLst/>
                    <a:gdLst>
                      <a:gd name="T0" fmla="*/ 0 w 1732"/>
                      <a:gd name="T1" fmla="*/ 716 h 1731"/>
                      <a:gd name="T2" fmla="*/ 1015 w 1732"/>
                      <a:gd name="T3" fmla="*/ 0 h 1731"/>
                      <a:gd name="T4" fmla="*/ 1732 w 1732"/>
                      <a:gd name="T5" fmla="*/ 1015 h 1731"/>
                      <a:gd name="T6" fmla="*/ 717 w 1732"/>
                      <a:gd name="T7" fmla="*/ 1731 h 1731"/>
                      <a:gd name="T8" fmla="*/ 0 w 1732"/>
                      <a:gd name="T9" fmla="*/ 716 h 1731"/>
                    </a:gdLst>
                    <a:ahLst/>
                    <a:cxnLst>
                      <a:cxn ang="0">
                        <a:pos x="T0" y="T1"/>
                      </a:cxn>
                      <a:cxn ang="0">
                        <a:pos x="T2" y="T3"/>
                      </a:cxn>
                      <a:cxn ang="0">
                        <a:pos x="T4" y="T5"/>
                      </a:cxn>
                      <a:cxn ang="0">
                        <a:pos x="T6" y="T7"/>
                      </a:cxn>
                      <a:cxn ang="0">
                        <a:pos x="T8" y="T9"/>
                      </a:cxn>
                    </a:cxnLst>
                    <a:rect l="0" t="0" r="r" b="b"/>
                    <a:pathLst>
                      <a:path w="1732" h="1731">
                        <a:moveTo>
                          <a:pt x="0" y="716"/>
                        </a:moveTo>
                        <a:cubicBezTo>
                          <a:pt x="347" y="413"/>
                          <a:pt x="710" y="183"/>
                          <a:pt x="1015" y="0"/>
                        </a:cubicBezTo>
                        <a:cubicBezTo>
                          <a:pt x="1318" y="346"/>
                          <a:pt x="1549" y="710"/>
                          <a:pt x="1732" y="1015"/>
                        </a:cubicBezTo>
                        <a:cubicBezTo>
                          <a:pt x="1385" y="1318"/>
                          <a:pt x="1022" y="1548"/>
                          <a:pt x="717" y="1731"/>
                        </a:cubicBezTo>
                        <a:cubicBezTo>
                          <a:pt x="414" y="1385"/>
                          <a:pt x="184" y="1022"/>
                          <a:pt x="0" y="716"/>
                        </a:cubicBezTo>
                        <a:close/>
                      </a:path>
                    </a:pathLst>
                  </a:cu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61" name="Freeform 25">
                    <a:extLst>
                      <a:ext uri="{FF2B5EF4-FFF2-40B4-BE49-F238E27FC236}">
                        <a16:creationId xmlns:a16="http://schemas.microsoft.com/office/drawing/2014/main" id="{95934570-C4E6-4253-A311-FF05CA139844}"/>
                      </a:ext>
                    </a:extLst>
                  </p:cNvPr>
                  <p:cNvSpPr>
                    <a:spLocks/>
                  </p:cNvSpPr>
                  <p:nvPr/>
                </p:nvSpPr>
                <p:spPr bwMode="auto">
                  <a:xfrm>
                    <a:off x="5579416" y="4412476"/>
                    <a:ext cx="949285" cy="949286"/>
                  </a:xfrm>
                  <a:custGeom>
                    <a:avLst/>
                    <a:gdLst>
                      <a:gd name="T0" fmla="*/ 0 w 1454"/>
                      <a:gd name="T1" fmla="*/ 801 h 1455"/>
                      <a:gd name="T2" fmla="*/ 653 w 1454"/>
                      <a:gd name="T3" fmla="*/ 0 h 1455"/>
                      <a:gd name="T4" fmla="*/ 1454 w 1454"/>
                      <a:gd name="T5" fmla="*/ 654 h 1455"/>
                      <a:gd name="T6" fmla="*/ 801 w 1454"/>
                      <a:gd name="T7" fmla="*/ 1455 h 1455"/>
                      <a:gd name="T8" fmla="*/ 0 w 1454"/>
                      <a:gd name="T9" fmla="*/ 801 h 1455"/>
                    </a:gdLst>
                    <a:ahLst/>
                    <a:cxnLst>
                      <a:cxn ang="0">
                        <a:pos x="T0" y="T1"/>
                      </a:cxn>
                      <a:cxn ang="0">
                        <a:pos x="T2" y="T3"/>
                      </a:cxn>
                      <a:cxn ang="0">
                        <a:pos x="T4" y="T5"/>
                      </a:cxn>
                      <a:cxn ang="0">
                        <a:pos x="T6" y="T7"/>
                      </a:cxn>
                      <a:cxn ang="0">
                        <a:pos x="T8" y="T9"/>
                      </a:cxn>
                    </a:cxnLst>
                    <a:rect l="0" t="0" r="r" b="b"/>
                    <a:pathLst>
                      <a:path w="1454" h="1455">
                        <a:moveTo>
                          <a:pt x="0" y="801"/>
                        </a:moveTo>
                        <a:lnTo>
                          <a:pt x="653" y="0"/>
                        </a:lnTo>
                        <a:lnTo>
                          <a:pt x="1454" y="654"/>
                        </a:lnTo>
                        <a:lnTo>
                          <a:pt x="801" y="1455"/>
                        </a:lnTo>
                        <a:lnTo>
                          <a:pt x="0" y="801"/>
                        </a:lnTo>
                        <a:close/>
                      </a:path>
                    </a:pathLst>
                  </a:cu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de-DE" sz="800"/>
                  </a:p>
                </p:txBody>
              </p:sp>
            </p:grpSp>
          </p:grpSp>
          <p:sp>
            <p:nvSpPr>
              <p:cNvPr id="37" name="Rechteck 36">
                <a:extLst>
                  <a:ext uri="{FF2B5EF4-FFF2-40B4-BE49-F238E27FC236}">
                    <a16:creationId xmlns:a16="http://schemas.microsoft.com/office/drawing/2014/main" id="{DEAA3625-6EF1-4E19-B98C-0CB8C19C33A4}"/>
                  </a:ext>
                </a:extLst>
              </p:cNvPr>
              <p:cNvSpPr/>
              <p:nvPr/>
            </p:nvSpPr>
            <p:spPr>
              <a:xfrm>
                <a:off x="4550134" y="3613128"/>
                <a:ext cx="943105" cy="249085"/>
              </a:xfrm>
              <a:prstGeom prst="rect">
                <a:avLst/>
              </a:prstGeom>
              <a:noFill/>
            </p:spPr>
            <p:txBody>
              <a:bodyPr wrap="none" lIns="68580" tIns="34290" rIns="68580" bIns="34290" anchor="ctr" anchorCtr="0">
                <a:noAutofit/>
              </a:bodyPr>
              <a:lstStyle/>
              <a:p>
                <a:pPr algn="ctr"/>
                <a:r>
                  <a:rPr lang="en-US" sz="800">
                    <a:solidFill>
                      <a:schemeClr val="accent6"/>
                    </a:solidFill>
                  </a:rPr>
                  <a:t>Preparation</a:t>
                </a:r>
              </a:p>
            </p:txBody>
          </p:sp>
          <p:sp>
            <p:nvSpPr>
              <p:cNvPr id="38" name="Rechteck 37">
                <a:extLst>
                  <a:ext uri="{FF2B5EF4-FFF2-40B4-BE49-F238E27FC236}">
                    <a16:creationId xmlns:a16="http://schemas.microsoft.com/office/drawing/2014/main" id="{C1959B0D-52AB-4765-8E35-7F3FDC1053BD}"/>
                  </a:ext>
                </a:extLst>
              </p:cNvPr>
              <p:cNvSpPr/>
              <p:nvPr/>
            </p:nvSpPr>
            <p:spPr>
              <a:xfrm>
                <a:off x="6565914" y="3613130"/>
                <a:ext cx="943105" cy="249085"/>
              </a:xfrm>
              <a:prstGeom prst="rect">
                <a:avLst/>
              </a:prstGeom>
              <a:noFill/>
            </p:spPr>
            <p:txBody>
              <a:bodyPr wrap="none" lIns="68580" tIns="34290" rIns="68580" bIns="34290" anchor="ctr" anchorCtr="0">
                <a:noAutofit/>
              </a:bodyPr>
              <a:lstStyle/>
              <a:p>
                <a:pPr algn="ctr"/>
                <a:r>
                  <a:rPr lang="en-US" sz="800">
                    <a:solidFill>
                      <a:schemeClr val="accent4"/>
                    </a:solidFill>
                  </a:rPr>
                  <a:t>Operation</a:t>
                </a:r>
              </a:p>
            </p:txBody>
          </p:sp>
          <p:grpSp>
            <p:nvGrpSpPr>
              <p:cNvPr id="39" name="Gruppieren 38">
                <a:extLst>
                  <a:ext uri="{FF2B5EF4-FFF2-40B4-BE49-F238E27FC236}">
                    <a16:creationId xmlns:a16="http://schemas.microsoft.com/office/drawing/2014/main" id="{32CC754B-08B4-43DA-A99F-30356EF05675}"/>
                  </a:ext>
                </a:extLst>
              </p:cNvPr>
              <p:cNvGrpSpPr>
                <a:grpSpLocks noChangeAspect="1"/>
              </p:cNvGrpSpPr>
              <p:nvPr/>
            </p:nvGrpSpPr>
            <p:grpSpPr>
              <a:xfrm>
                <a:off x="6841327" y="3217221"/>
                <a:ext cx="392278" cy="392276"/>
                <a:chOff x="7900745" y="4193410"/>
                <a:chExt cx="1322082" cy="1322083"/>
              </a:xfrm>
            </p:grpSpPr>
            <p:sp>
              <p:nvSpPr>
                <p:cNvPr id="43" name="Oval 26">
                  <a:extLst>
                    <a:ext uri="{FF2B5EF4-FFF2-40B4-BE49-F238E27FC236}">
                      <a16:creationId xmlns:a16="http://schemas.microsoft.com/office/drawing/2014/main" id="{DAF30555-5AE4-4E5F-89B2-872F454C6C3D}"/>
                    </a:ext>
                  </a:extLst>
                </p:cNvPr>
                <p:cNvSpPr>
                  <a:spLocks noChangeArrowheads="1"/>
                </p:cNvSpPr>
                <p:nvPr/>
              </p:nvSpPr>
              <p:spPr bwMode="auto">
                <a:xfrm>
                  <a:off x="7900745" y="4193410"/>
                  <a:ext cx="1322082" cy="1322083"/>
                </a:xfrm>
                <a:prstGeom prst="ellipse">
                  <a:avLst/>
                </a:prstGeom>
                <a:solidFill>
                  <a:schemeClr val="bg1"/>
                </a:solidFill>
                <a:ln w="9525" cap="flat">
                  <a:solidFill>
                    <a:schemeClr val="tx1">
                      <a:lumMod val="50000"/>
                      <a:lumOff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endParaRPr lang="de-DE" sz="800"/>
                </a:p>
              </p:txBody>
            </p:sp>
            <p:grpSp>
              <p:nvGrpSpPr>
                <p:cNvPr id="44" name="Gruppieren 43">
                  <a:extLst>
                    <a:ext uri="{FF2B5EF4-FFF2-40B4-BE49-F238E27FC236}">
                      <a16:creationId xmlns:a16="http://schemas.microsoft.com/office/drawing/2014/main" id="{F28C9976-BB49-4A84-B92C-1C309938D87A}"/>
                    </a:ext>
                  </a:extLst>
                </p:cNvPr>
                <p:cNvGrpSpPr/>
                <p:nvPr/>
              </p:nvGrpSpPr>
              <p:grpSpPr>
                <a:xfrm>
                  <a:off x="7900745" y="4201096"/>
                  <a:ext cx="1322082" cy="695632"/>
                  <a:chOff x="7900745" y="4201096"/>
                  <a:chExt cx="1322082" cy="695632"/>
                </a:xfrm>
              </p:grpSpPr>
              <p:sp>
                <p:nvSpPr>
                  <p:cNvPr id="45" name="Line 30">
                    <a:extLst>
                      <a:ext uri="{FF2B5EF4-FFF2-40B4-BE49-F238E27FC236}">
                        <a16:creationId xmlns:a16="http://schemas.microsoft.com/office/drawing/2014/main" id="{A4DC660D-00D2-40A7-8027-A34961B3CDD2}"/>
                      </a:ext>
                    </a:extLst>
                  </p:cNvPr>
                  <p:cNvSpPr>
                    <a:spLocks noChangeShapeType="1"/>
                  </p:cNvSpPr>
                  <p:nvPr/>
                </p:nvSpPr>
                <p:spPr bwMode="auto">
                  <a:xfrm>
                    <a:off x="9119059" y="4854451"/>
                    <a:ext cx="103768" cy="0"/>
                  </a:xfrm>
                  <a:prstGeom prst="line">
                    <a:avLst/>
                  </a:pr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46" name="Line 31">
                    <a:extLst>
                      <a:ext uri="{FF2B5EF4-FFF2-40B4-BE49-F238E27FC236}">
                        <a16:creationId xmlns:a16="http://schemas.microsoft.com/office/drawing/2014/main" id="{429483E4-404E-4C91-B5DC-B24177167351}"/>
                      </a:ext>
                    </a:extLst>
                  </p:cNvPr>
                  <p:cNvSpPr>
                    <a:spLocks noChangeShapeType="1"/>
                  </p:cNvSpPr>
                  <p:nvPr/>
                </p:nvSpPr>
                <p:spPr bwMode="auto">
                  <a:xfrm flipV="1">
                    <a:off x="9088313" y="4627699"/>
                    <a:ext cx="96082" cy="34589"/>
                  </a:xfrm>
                  <a:prstGeom prst="line">
                    <a:avLst/>
                  </a:pr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47" name="Line 32">
                    <a:extLst>
                      <a:ext uri="{FF2B5EF4-FFF2-40B4-BE49-F238E27FC236}">
                        <a16:creationId xmlns:a16="http://schemas.microsoft.com/office/drawing/2014/main" id="{E46A038B-8EEF-482D-90FF-FC2550A446F6}"/>
                      </a:ext>
                    </a:extLst>
                  </p:cNvPr>
                  <p:cNvSpPr>
                    <a:spLocks noChangeShapeType="1"/>
                  </p:cNvSpPr>
                  <p:nvPr/>
                </p:nvSpPr>
                <p:spPr bwMode="auto">
                  <a:xfrm flipV="1">
                    <a:off x="8992231" y="4427849"/>
                    <a:ext cx="76865" cy="65336"/>
                  </a:xfrm>
                  <a:prstGeom prst="line">
                    <a:avLst/>
                  </a:pr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48" name="Line 33">
                    <a:extLst>
                      <a:ext uri="{FF2B5EF4-FFF2-40B4-BE49-F238E27FC236}">
                        <a16:creationId xmlns:a16="http://schemas.microsoft.com/office/drawing/2014/main" id="{50E7CF88-3563-484C-98AE-F323DCE79B84}"/>
                      </a:ext>
                    </a:extLst>
                  </p:cNvPr>
                  <p:cNvSpPr>
                    <a:spLocks noChangeShapeType="1"/>
                  </p:cNvSpPr>
                  <p:nvPr/>
                </p:nvSpPr>
                <p:spPr bwMode="auto">
                  <a:xfrm flipV="1">
                    <a:off x="8842344" y="4281805"/>
                    <a:ext cx="49962" cy="88395"/>
                  </a:xfrm>
                  <a:prstGeom prst="line">
                    <a:avLst/>
                  </a:pr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49" name="Line 34">
                    <a:extLst>
                      <a:ext uri="{FF2B5EF4-FFF2-40B4-BE49-F238E27FC236}">
                        <a16:creationId xmlns:a16="http://schemas.microsoft.com/office/drawing/2014/main" id="{78B75C5C-FD52-4DF0-A2DC-E71E5E44DAAA}"/>
                      </a:ext>
                    </a:extLst>
                  </p:cNvPr>
                  <p:cNvSpPr>
                    <a:spLocks noChangeShapeType="1"/>
                  </p:cNvSpPr>
                  <p:nvPr/>
                </p:nvSpPr>
                <p:spPr bwMode="auto">
                  <a:xfrm flipV="1">
                    <a:off x="8661711" y="4201096"/>
                    <a:ext cx="15373" cy="103768"/>
                  </a:xfrm>
                  <a:prstGeom prst="line">
                    <a:avLst/>
                  </a:pr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50" name="Line 35">
                    <a:extLst>
                      <a:ext uri="{FF2B5EF4-FFF2-40B4-BE49-F238E27FC236}">
                        <a16:creationId xmlns:a16="http://schemas.microsoft.com/office/drawing/2014/main" id="{FE5E6462-B51B-4D2C-8188-D16745E6EA14}"/>
                      </a:ext>
                    </a:extLst>
                  </p:cNvPr>
                  <p:cNvSpPr>
                    <a:spLocks noChangeShapeType="1"/>
                  </p:cNvSpPr>
                  <p:nvPr/>
                </p:nvSpPr>
                <p:spPr bwMode="auto">
                  <a:xfrm flipH="1" flipV="1">
                    <a:off x="8446488" y="4201096"/>
                    <a:ext cx="19216" cy="103768"/>
                  </a:xfrm>
                  <a:prstGeom prst="line">
                    <a:avLst/>
                  </a:pr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51" name="Line 36">
                    <a:extLst>
                      <a:ext uri="{FF2B5EF4-FFF2-40B4-BE49-F238E27FC236}">
                        <a16:creationId xmlns:a16="http://schemas.microsoft.com/office/drawing/2014/main" id="{F638642A-DD3F-40BF-B7B1-B5C5C02510E0}"/>
                      </a:ext>
                    </a:extLst>
                  </p:cNvPr>
                  <p:cNvSpPr>
                    <a:spLocks noChangeShapeType="1"/>
                  </p:cNvSpPr>
                  <p:nvPr/>
                </p:nvSpPr>
                <p:spPr bwMode="auto">
                  <a:xfrm flipH="1" flipV="1">
                    <a:off x="8231266" y="4281805"/>
                    <a:ext cx="53806" cy="88395"/>
                  </a:xfrm>
                  <a:prstGeom prst="line">
                    <a:avLst/>
                  </a:pr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52" name="Line 37">
                    <a:extLst>
                      <a:ext uri="{FF2B5EF4-FFF2-40B4-BE49-F238E27FC236}">
                        <a16:creationId xmlns:a16="http://schemas.microsoft.com/office/drawing/2014/main" id="{6731ADF9-6059-4BA3-A645-42B575FE36C3}"/>
                      </a:ext>
                    </a:extLst>
                  </p:cNvPr>
                  <p:cNvSpPr>
                    <a:spLocks noChangeShapeType="1"/>
                  </p:cNvSpPr>
                  <p:nvPr/>
                </p:nvSpPr>
                <p:spPr bwMode="auto">
                  <a:xfrm flipH="1" flipV="1">
                    <a:off x="8058319" y="4427849"/>
                    <a:ext cx="76865" cy="65336"/>
                  </a:xfrm>
                  <a:prstGeom prst="line">
                    <a:avLst/>
                  </a:pr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53" name="Line 38">
                    <a:extLst>
                      <a:ext uri="{FF2B5EF4-FFF2-40B4-BE49-F238E27FC236}">
                        <a16:creationId xmlns:a16="http://schemas.microsoft.com/office/drawing/2014/main" id="{7CEE3F61-4342-439D-8B6D-2DCDD0F36BAF}"/>
                      </a:ext>
                    </a:extLst>
                  </p:cNvPr>
                  <p:cNvSpPr>
                    <a:spLocks noChangeShapeType="1"/>
                  </p:cNvSpPr>
                  <p:nvPr/>
                </p:nvSpPr>
                <p:spPr bwMode="auto">
                  <a:xfrm flipH="1" flipV="1">
                    <a:off x="7943021" y="4627699"/>
                    <a:ext cx="96082" cy="34589"/>
                  </a:xfrm>
                  <a:prstGeom prst="line">
                    <a:avLst/>
                  </a:pr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54" name="Line 39">
                    <a:extLst>
                      <a:ext uri="{FF2B5EF4-FFF2-40B4-BE49-F238E27FC236}">
                        <a16:creationId xmlns:a16="http://schemas.microsoft.com/office/drawing/2014/main" id="{A8E26025-DC27-4B0E-905E-C01581B7FFC2}"/>
                      </a:ext>
                    </a:extLst>
                  </p:cNvPr>
                  <p:cNvSpPr>
                    <a:spLocks noChangeShapeType="1"/>
                  </p:cNvSpPr>
                  <p:nvPr/>
                </p:nvSpPr>
                <p:spPr bwMode="auto">
                  <a:xfrm flipH="1">
                    <a:off x="7900745" y="4854451"/>
                    <a:ext cx="103768" cy="0"/>
                  </a:xfrm>
                  <a:prstGeom prst="line">
                    <a:avLst/>
                  </a:pr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de-DE" sz="800"/>
                  </a:p>
                </p:txBody>
              </p:sp>
              <p:sp>
                <p:nvSpPr>
                  <p:cNvPr id="55" name="Freeform 40">
                    <a:extLst>
                      <a:ext uri="{FF2B5EF4-FFF2-40B4-BE49-F238E27FC236}">
                        <a16:creationId xmlns:a16="http://schemas.microsoft.com/office/drawing/2014/main" id="{55D03F17-2EB9-4A98-8116-CF734F221B2B}"/>
                      </a:ext>
                    </a:extLst>
                  </p:cNvPr>
                  <p:cNvSpPr>
                    <a:spLocks noEditPoints="1"/>
                  </p:cNvSpPr>
                  <p:nvPr/>
                </p:nvSpPr>
                <p:spPr bwMode="auto">
                  <a:xfrm>
                    <a:off x="8519510" y="4627699"/>
                    <a:ext cx="422759" cy="269029"/>
                  </a:xfrm>
                  <a:custGeom>
                    <a:avLst/>
                    <a:gdLst>
                      <a:gd name="T0" fmla="*/ 129 w 652"/>
                      <a:gd name="T1" fmla="*/ 311 h 416"/>
                      <a:gd name="T2" fmla="*/ 652 w 652"/>
                      <a:gd name="T3" fmla="*/ 0 h 416"/>
                      <a:gd name="T4" fmla="*/ 70 w 652"/>
                      <a:gd name="T5" fmla="*/ 277 h 416"/>
                      <a:gd name="T6" fmla="*/ 139 w 652"/>
                      <a:gd name="T7" fmla="*/ 346 h 416"/>
                      <a:gd name="T8" fmla="*/ 70 w 652"/>
                      <a:gd name="T9" fmla="*/ 416 h 416"/>
                      <a:gd name="T10" fmla="*/ 0 w 652"/>
                      <a:gd name="T11" fmla="*/ 346 h 416"/>
                      <a:gd name="T12" fmla="*/ 70 w 652"/>
                      <a:gd name="T13" fmla="*/ 277 h 416"/>
                    </a:gdLst>
                    <a:ahLst/>
                    <a:cxnLst>
                      <a:cxn ang="0">
                        <a:pos x="T0" y="T1"/>
                      </a:cxn>
                      <a:cxn ang="0">
                        <a:pos x="T2" y="T3"/>
                      </a:cxn>
                      <a:cxn ang="0">
                        <a:pos x="T4" y="T5"/>
                      </a:cxn>
                      <a:cxn ang="0">
                        <a:pos x="T6" y="T7"/>
                      </a:cxn>
                      <a:cxn ang="0">
                        <a:pos x="T8" y="T9"/>
                      </a:cxn>
                      <a:cxn ang="0">
                        <a:pos x="T10" y="T11"/>
                      </a:cxn>
                      <a:cxn ang="0">
                        <a:pos x="T12" y="T13"/>
                      </a:cxn>
                    </a:cxnLst>
                    <a:rect l="0" t="0" r="r" b="b"/>
                    <a:pathLst>
                      <a:path w="652" h="416">
                        <a:moveTo>
                          <a:pt x="129" y="311"/>
                        </a:moveTo>
                        <a:lnTo>
                          <a:pt x="652" y="0"/>
                        </a:lnTo>
                        <a:moveTo>
                          <a:pt x="70" y="277"/>
                        </a:moveTo>
                        <a:cubicBezTo>
                          <a:pt x="108" y="277"/>
                          <a:pt x="139" y="308"/>
                          <a:pt x="139" y="346"/>
                        </a:cubicBezTo>
                        <a:cubicBezTo>
                          <a:pt x="139" y="385"/>
                          <a:pt x="108" y="416"/>
                          <a:pt x="70" y="416"/>
                        </a:cubicBezTo>
                        <a:cubicBezTo>
                          <a:pt x="31" y="416"/>
                          <a:pt x="0" y="385"/>
                          <a:pt x="0" y="346"/>
                        </a:cubicBezTo>
                        <a:cubicBezTo>
                          <a:pt x="0" y="308"/>
                          <a:pt x="31" y="277"/>
                          <a:pt x="70" y="277"/>
                        </a:cubicBezTo>
                        <a:close/>
                      </a:path>
                    </a:pathLst>
                  </a:custGeom>
                  <a:solidFill>
                    <a:srgbClr val="FFFFFF"/>
                  </a:solidFill>
                  <a:ln w="5080" cap="flat">
                    <a:solidFill>
                      <a:schemeClr val="tx1">
                        <a:lumMod val="50000"/>
                        <a:lumOff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endParaRPr lang="de-DE" sz="800"/>
                  </a:p>
                </p:txBody>
              </p:sp>
            </p:grpSp>
          </p:grpSp>
          <p:grpSp>
            <p:nvGrpSpPr>
              <p:cNvPr id="40" name="Gruppieren 39">
                <a:extLst>
                  <a:ext uri="{FF2B5EF4-FFF2-40B4-BE49-F238E27FC236}">
                    <a16:creationId xmlns:a16="http://schemas.microsoft.com/office/drawing/2014/main" id="{7A48CA3E-0AEF-45A7-BE59-6EEF80A0C01B}"/>
                  </a:ext>
                </a:extLst>
              </p:cNvPr>
              <p:cNvGrpSpPr/>
              <p:nvPr/>
            </p:nvGrpSpPr>
            <p:grpSpPr>
              <a:xfrm>
                <a:off x="4773924" y="3219127"/>
                <a:ext cx="473438" cy="413508"/>
                <a:chOff x="2215440" y="2398780"/>
                <a:chExt cx="1194490" cy="1043286"/>
              </a:xfrm>
            </p:grpSpPr>
            <p:sp>
              <p:nvSpPr>
                <p:cNvPr id="41" name="Freeform 7">
                  <a:extLst>
                    <a:ext uri="{FF2B5EF4-FFF2-40B4-BE49-F238E27FC236}">
                      <a16:creationId xmlns:a16="http://schemas.microsoft.com/office/drawing/2014/main" id="{A1D4237D-DA22-423C-989B-987142DA46D9}"/>
                    </a:ext>
                  </a:extLst>
                </p:cNvPr>
                <p:cNvSpPr>
                  <a:spLocks noEditPoints="1"/>
                </p:cNvSpPr>
                <p:nvPr/>
              </p:nvSpPr>
              <p:spPr bwMode="auto">
                <a:xfrm>
                  <a:off x="2215440" y="2398780"/>
                  <a:ext cx="1067481" cy="1043286"/>
                </a:xfrm>
                <a:custGeom>
                  <a:avLst/>
                  <a:gdLst>
                    <a:gd name="T0" fmla="*/ 2057 w 2077"/>
                    <a:gd name="T1" fmla="*/ 1086 h 2033"/>
                    <a:gd name="T2" fmla="*/ 1194 w 2077"/>
                    <a:gd name="T3" fmla="*/ 1771 h 2033"/>
                    <a:gd name="T4" fmla="*/ 309 w 2077"/>
                    <a:gd name="T5" fmla="*/ 885 h 2033"/>
                    <a:gd name="T6" fmla="*/ 1194 w 2077"/>
                    <a:gd name="T7" fmla="*/ 0 h 2033"/>
                    <a:gd name="T8" fmla="*/ 2077 w 2077"/>
                    <a:gd name="T9" fmla="*/ 820 h 2033"/>
                    <a:gd name="T10" fmla="*/ 642 w 2077"/>
                    <a:gd name="T11" fmla="*/ 1577 h 2033"/>
                    <a:gd name="T12" fmla="*/ 236 w 2077"/>
                    <a:gd name="T13" fmla="*/ 1982 h 2033"/>
                    <a:gd name="T14" fmla="*/ 51 w 2077"/>
                    <a:gd name="T15" fmla="*/ 1982 h 2033"/>
                    <a:gd name="T16" fmla="*/ 51 w 2077"/>
                    <a:gd name="T17" fmla="*/ 1982 h 2033"/>
                    <a:gd name="T18" fmla="*/ 51 w 2077"/>
                    <a:gd name="T19" fmla="*/ 1798 h 2033"/>
                    <a:gd name="T20" fmla="*/ 458 w 2077"/>
                    <a:gd name="T21" fmla="*/ 1393 h 2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7" h="2033">
                      <a:moveTo>
                        <a:pt x="2057" y="1086"/>
                      </a:moveTo>
                      <a:cubicBezTo>
                        <a:pt x="1963" y="1487"/>
                        <a:pt x="1606" y="1771"/>
                        <a:pt x="1194" y="1771"/>
                      </a:cubicBezTo>
                      <a:cubicBezTo>
                        <a:pt x="705" y="1771"/>
                        <a:pt x="309" y="1374"/>
                        <a:pt x="309" y="885"/>
                      </a:cubicBezTo>
                      <a:cubicBezTo>
                        <a:pt x="309" y="396"/>
                        <a:pt x="705" y="0"/>
                        <a:pt x="1194" y="0"/>
                      </a:cubicBezTo>
                      <a:cubicBezTo>
                        <a:pt x="1658" y="0"/>
                        <a:pt x="2043" y="358"/>
                        <a:pt x="2077" y="820"/>
                      </a:cubicBezTo>
                      <a:moveTo>
                        <a:pt x="642" y="1577"/>
                      </a:moveTo>
                      <a:lnTo>
                        <a:pt x="236" y="1982"/>
                      </a:lnTo>
                      <a:cubicBezTo>
                        <a:pt x="185" y="2033"/>
                        <a:pt x="102" y="2033"/>
                        <a:pt x="51" y="1982"/>
                      </a:cubicBezTo>
                      <a:lnTo>
                        <a:pt x="51" y="1982"/>
                      </a:lnTo>
                      <a:cubicBezTo>
                        <a:pt x="0" y="1931"/>
                        <a:pt x="0" y="1848"/>
                        <a:pt x="51" y="1798"/>
                      </a:cubicBezTo>
                      <a:lnTo>
                        <a:pt x="458" y="1393"/>
                      </a:lnTo>
                    </a:path>
                  </a:pathLst>
                </a:custGeom>
                <a:solidFill>
                  <a:schemeClr val="bg1"/>
                </a:solidFill>
                <a:ln w="9525" cap="flat">
                  <a:solidFill>
                    <a:schemeClr val="tx1">
                      <a:lumMod val="50000"/>
                      <a:lumOff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800"/>
                </a:p>
              </p:txBody>
            </p:sp>
            <p:sp>
              <p:nvSpPr>
                <p:cNvPr id="42" name="Freeform 6">
                  <a:extLst>
                    <a:ext uri="{FF2B5EF4-FFF2-40B4-BE49-F238E27FC236}">
                      <a16:creationId xmlns:a16="http://schemas.microsoft.com/office/drawing/2014/main" id="{5842C54F-D45F-4DDF-B791-DDF27D885459}"/>
                    </a:ext>
                  </a:extLst>
                </p:cNvPr>
                <p:cNvSpPr>
                  <a:spLocks/>
                </p:cNvSpPr>
                <p:nvPr/>
              </p:nvSpPr>
              <p:spPr bwMode="auto">
                <a:xfrm>
                  <a:off x="2493650" y="2631629"/>
                  <a:ext cx="916280" cy="365906"/>
                </a:xfrm>
                <a:custGeom>
                  <a:avLst/>
                  <a:gdLst>
                    <a:gd name="T0" fmla="*/ 0 w 1776"/>
                    <a:gd name="T1" fmla="*/ 520 h 714"/>
                    <a:gd name="T2" fmla="*/ 251 w 1776"/>
                    <a:gd name="T3" fmla="*/ 520 h 714"/>
                    <a:gd name="T4" fmla="*/ 364 w 1776"/>
                    <a:gd name="T5" fmla="*/ 291 h 714"/>
                    <a:gd name="T6" fmla="*/ 573 w 1776"/>
                    <a:gd name="T7" fmla="*/ 714 h 714"/>
                    <a:gd name="T8" fmla="*/ 927 w 1776"/>
                    <a:gd name="T9" fmla="*/ 0 h 714"/>
                    <a:gd name="T10" fmla="*/ 1178 w 1776"/>
                    <a:gd name="T11" fmla="*/ 508 h 714"/>
                    <a:gd name="T12" fmla="*/ 1776 w 1776"/>
                    <a:gd name="T13" fmla="*/ 508 h 714"/>
                  </a:gdLst>
                  <a:ahLst/>
                  <a:cxnLst>
                    <a:cxn ang="0">
                      <a:pos x="T0" y="T1"/>
                    </a:cxn>
                    <a:cxn ang="0">
                      <a:pos x="T2" y="T3"/>
                    </a:cxn>
                    <a:cxn ang="0">
                      <a:pos x="T4" y="T5"/>
                    </a:cxn>
                    <a:cxn ang="0">
                      <a:pos x="T6" y="T7"/>
                    </a:cxn>
                    <a:cxn ang="0">
                      <a:pos x="T8" y="T9"/>
                    </a:cxn>
                    <a:cxn ang="0">
                      <a:pos x="T10" y="T11"/>
                    </a:cxn>
                    <a:cxn ang="0">
                      <a:pos x="T12" y="T13"/>
                    </a:cxn>
                  </a:cxnLst>
                  <a:rect l="0" t="0" r="r" b="b"/>
                  <a:pathLst>
                    <a:path w="1776" h="714">
                      <a:moveTo>
                        <a:pt x="0" y="520"/>
                      </a:moveTo>
                      <a:lnTo>
                        <a:pt x="251" y="520"/>
                      </a:lnTo>
                      <a:lnTo>
                        <a:pt x="364" y="291"/>
                      </a:lnTo>
                      <a:lnTo>
                        <a:pt x="573" y="714"/>
                      </a:lnTo>
                      <a:lnTo>
                        <a:pt x="927" y="0"/>
                      </a:lnTo>
                      <a:lnTo>
                        <a:pt x="1178" y="508"/>
                      </a:lnTo>
                      <a:lnTo>
                        <a:pt x="1776" y="508"/>
                      </a:lnTo>
                    </a:path>
                  </a:pathLst>
                </a:custGeom>
                <a:noFill/>
                <a:ln w="5080" cap="flat">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800"/>
                </a:p>
              </p:txBody>
            </p:sp>
          </p:grpSp>
        </p:grpSp>
        <p:grpSp>
          <p:nvGrpSpPr>
            <p:cNvPr id="62" name="Gruppieren 61">
              <a:extLst>
                <a:ext uri="{FF2B5EF4-FFF2-40B4-BE49-F238E27FC236}">
                  <a16:creationId xmlns:a16="http://schemas.microsoft.com/office/drawing/2014/main" id="{7FCD73DC-4983-44BE-BFD3-6B77C5D0EA6B}"/>
                </a:ext>
              </a:extLst>
            </p:cNvPr>
            <p:cNvGrpSpPr/>
            <p:nvPr/>
          </p:nvGrpSpPr>
          <p:grpSpPr>
            <a:xfrm>
              <a:off x="4053435" y="4044897"/>
              <a:ext cx="3690904" cy="264110"/>
              <a:chOff x="4289868" y="2816932"/>
              <a:chExt cx="3508158" cy="264110"/>
            </a:xfrm>
          </p:grpSpPr>
          <p:grpSp>
            <p:nvGrpSpPr>
              <p:cNvPr id="63" name="Gruppieren 62">
                <a:extLst>
                  <a:ext uri="{FF2B5EF4-FFF2-40B4-BE49-F238E27FC236}">
                    <a16:creationId xmlns:a16="http://schemas.microsoft.com/office/drawing/2014/main" id="{A6FA7897-3AD0-422F-A855-7A8C7C45CB8E}"/>
                  </a:ext>
                </a:extLst>
              </p:cNvPr>
              <p:cNvGrpSpPr/>
              <p:nvPr/>
            </p:nvGrpSpPr>
            <p:grpSpPr>
              <a:xfrm>
                <a:off x="4573065" y="2816932"/>
                <a:ext cx="2935954" cy="252028"/>
                <a:chOff x="4511042" y="2816932"/>
                <a:chExt cx="3060000" cy="252028"/>
              </a:xfrm>
            </p:grpSpPr>
            <p:cxnSp>
              <p:nvCxnSpPr>
                <p:cNvPr id="65" name="Gerade Verbindung 6">
                  <a:extLst>
                    <a:ext uri="{FF2B5EF4-FFF2-40B4-BE49-F238E27FC236}">
                      <a16:creationId xmlns:a16="http://schemas.microsoft.com/office/drawing/2014/main" id="{C88A9FA7-ADB9-44C1-A2C0-308CD65BE3F7}"/>
                    </a:ext>
                  </a:extLst>
                </p:cNvPr>
                <p:cNvCxnSpPr/>
                <p:nvPr/>
              </p:nvCxnSpPr>
              <p:spPr>
                <a:xfrm>
                  <a:off x="4619042" y="2816932"/>
                  <a:ext cx="2844000" cy="0"/>
                </a:xfrm>
                <a:prstGeom prst="line">
                  <a:avLst/>
                </a:prstGeom>
                <a:solidFill>
                  <a:schemeClr val="bg1"/>
                </a:solidFill>
                <a:ln w="9525" cap="rnd">
                  <a:solidFill>
                    <a:schemeClr val="tx1">
                      <a:lumMod val="50000"/>
                      <a:lumOff val="50000"/>
                    </a:schemeClr>
                  </a:solidFill>
                  <a:prstDash val="dash"/>
                </a:ln>
              </p:spPr>
            </p:cxnSp>
            <p:cxnSp>
              <p:nvCxnSpPr>
                <p:cNvPr id="66" name="Gerade Verbindung 93">
                  <a:extLst>
                    <a:ext uri="{FF2B5EF4-FFF2-40B4-BE49-F238E27FC236}">
                      <a16:creationId xmlns:a16="http://schemas.microsoft.com/office/drawing/2014/main" id="{56283E54-491D-49AE-AED7-FF2DDE3AF458}"/>
                    </a:ext>
                  </a:extLst>
                </p:cNvPr>
                <p:cNvCxnSpPr/>
                <p:nvPr/>
              </p:nvCxnSpPr>
              <p:spPr>
                <a:xfrm>
                  <a:off x="4511042" y="3068960"/>
                  <a:ext cx="3060000" cy="0"/>
                </a:xfrm>
                <a:prstGeom prst="line">
                  <a:avLst/>
                </a:prstGeom>
                <a:solidFill>
                  <a:schemeClr val="bg1"/>
                </a:solidFill>
                <a:ln w="9525" cap="rnd">
                  <a:solidFill>
                    <a:schemeClr val="tx1">
                      <a:lumMod val="50000"/>
                      <a:lumOff val="50000"/>
                    </a:schemeClr>
                  </a:solidFill>
                  <a:prstDash val="dash"/>
                </a:ln>
              </p:spPr>
            </p:cxnSp>
          </p:grpSp>
          <p:sp>
            <p:nvSpPr>
              <p:cNvPr id="64" name="Rechteck 63">
                <a:extLst>
                  <a:ext uri="{FF2B5EF4-FFF2-40B4-BE49-F238E27FC236}">
                    <a16:creationId xmlns:a16="http://schemas.microsoft.com/office/drawing/2014/main" id="{2E855CF9-0A69-4EAB-957F-95F3F0101FEB}"/>
                  </a:ext>
                </a:extLst>
              </p:cNvPr>
              <p:cNvSpPr/>
              <p:nvPr/>
            </p:nvSpPr>
            <p:spPr>
              <a:xfrm>
                <a:off x="4289868" y="2831958"/>
                <a:ext cx="3508158" cy="249084"/>
              </a:xfrm>
              <a:prstGeom prst="rect">
                <a:avLst/>
              </a:prstGeom>
              <a:solidFill>
                <a:schemeClr val="accent3">
                  <a:lumMod val="75000"/>
                </a:schemeClr>
              </a:solidFill>
            </p:spPr>
            <p:txBody>
              <a:bodyPr wrap="none" lIns="68580" tIns="34290" rIns="68580" bIns="34290" anchor="ctr" anchorCtr="0">
                <a:noAutofit/>
              </a:bodyPr>
              <a:lstStyle/>
              <a:p>
                <a:pPr algn="ctr">
                  <a:lnSpc>
                    <a:spcPct val="85000"/>
                  </a:lnSpc>
                </a:pPr>
                <a:r>
                  <a:rPr lang="en-US" sz="800" dirty="0">
                    <a:solidFill>
                      <a:schemeClr val="bg1"/>
                    </a:solidFill>
                  </a:rPr>
                  <a:t>CrystalBridge</a:t>
                </a:r>
              </a:p>
            </p:txBody>
          </p:sp>
        </p:grpSp>
        <p:sp>
          <p:nvSpPr>
            <p:cNvPr id="67" name="Rechteck 66">
              <a:extLst>
                <a:ext uri="{FF2B5EF4-FFF2-40B4-BE49-F238E27FC236}">
                  <a16:creationId xmlns:a16="http://schemas.microsoft.com/office/drawing/2014/main" id="{BC51692A-BEED-4C77-8025-1205A5D10580}"/>
                </a:ext>
              </a:extLst>
            </p:cNvPr>
            <p:cNvSpPr/>
            <p:nvPr/>
          </p:nvSpPr>
          <p:spPr>
            <a:xfrm>
              <a:off x="6520109" y="6429936"/>
              <a:ext cx="714358" cy="1358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de-DE" sz="800" err="1"/>
            </a:p>
          </p:txBody>
        </p:sp>
        <p:sp>
          <p:nvSpPr>
            <p:cNvPr id="68" name="Freeform 6">
              <a:extLst>
                <a:ext uri="{FF2B5EF4-FFF2-40B4-BE49-F238E27FC236}">
                  <a16:creationId xmlns:a16="http://schemas.microsoft.com/office/drawing/2014/main" id="{AEED41D7-F43E-4EF8-9D32-F2C447332751}"/>
                </a:ext>
              </a:extLst>
            </p:cNvPr>
            <p:cNvSpPr>
              <a:spLocks noEditPoints="1"/>
            </p:cNvSpPr>
            <p:nvPr/>
          </p:nvSpPr>
          <p:spPr bwMode="auto">
            <a:xfrm>
              <a:off x="3581212" y="2406092"/>
              <a:ext cx="4622970" cy="4622960"/>
            </a:xfrm>
            <a:custGeom>
              <a:avLst/>
              <a:gdLst>
                <a:gd name="T0" fmla="*/ 2796 w 6168"/>
                <a:gd name="T1" fmla="*/ 381 h 6168"/>
                <a:gd name="T2" fmla="*/ 2711 w 6168"/>
                <a:gd name="T3" fmla="*/ 391 h 6168"/>
                <a:gd name="T4" fmla="*/ 2201 w 6168"/>
                <a:gd name="T5" fmla="*/ 127 h 6168"/>
                <a:gd name="T6" fmla="*/ 1830 w 6168"/>
                <a:gd name="T7" fmla="*/ 672 h 6168"/>
                <a:gd name="T8" fmla="*/ 1137 w 6168"/>
                <a:gd name="T9" fmla="*/ 690 h 6168"/>
                <a:gd name="T10" fmla="*/ 1003 w 6168"/>
                <a:gd name="T11" fmla="*/ 1336 h 6168"/>
                <a:gd name="T12" fmla="*/ 927 w 6168"/>
                <a:gd name="T13" fmla="*/ 1430 h 6168"/>
                <a:gd name="T14" fmla="*/ 369 w 6168"/>
                <a:gd name="T15" fmla="*/ 1618 h 6168"/>
                <a:gd name="T16" fmla="*/ 491 w 6168"/>
                <a:gd name="T17" fmla="*/ 2265 h 6168"/>
                <a:gd name="T18" fmla="*/ 452 w 6168"/>
                <a:gd name="T19" fmla="*/ 2403 h 6168"/>
                <a:gd name="T20" fmla="*/ 410 w 6168"/>
                <a:gd name="T21" fmla="*/ 2590 h 6168"/>
                <a:gd name="T22" fmla="*/ 68 w 6168"/>
                <a:gd name="T23" fmla="*/ 2725 h 6168"/>
                <a:gd name="T24" fmla="*/ 52 w 6168"/>
                <a:gd name="T25" fmla="*/ 3274 h 6168"/>
                <a:gd name="T26" fmla="*/ 160 w 6168"/>
                <a:gd name="T27" fmla="*/ 3906 h 6168"/>
                <a:gd name="T28" fmla="*/ 356 w 6168"/>
                <a:gd name="T29" fmla="*/ 4420 h 6168"/>
                <a:gd name="T30" fmla="*/ 697 w 6168"/>
                <a:gd name="T31" fmla="*/ 4963 h 6168"/>
                <a:gd name="T32" fmla="*/ 1075 w 6168"/>
                <a:gd name="T33" fmla="*/ 5362 h 6168"/>
                <a:gd name="T34" fmla="*/ 1358 w 6168"/>
                <a:gd name="T35" fmla="*/ 5184 h 6168"/>
                <a:gd name="T36" fmla="*/ 1697 w 6168"/>
                <a:gd name="T37" fmla="*/ 5423 h 6168"/>
                <a:gd name="T38" fmla="*/ 2036 w 6168"/>
                <a:gd name="T39" fmla="*/ 5988 h 6168"/>
                <a:gd name="T40" fmla="*/ 2697 w 6168"/>
                <a:gd name="T41" fmla="*/ 5776 h 6168"/>
                <a:gd name="T42" fmla="*/ 3227 w 6168"/>
                <a:gd name="T43" fmla="*/ 6168 h 6168"/>
                <a:gd name="T44" fmla="*/ 3731 w 6168"/>
                <a:gd name="T45" fmla="*/ 5725 h 6168"/>
                <a:gd name="T46" fmla="*/ 3968 w 6168"/>
                <a:gd name="T47" fmla="*/ 6042 h 6168"/>
                <a:gd name="T48" fmla="*/ 4339 w 6168"/>
                <a:gd name="T49" fmla="*/ 5497 h 6168"/>
                <a:gd name="T50" fmla="*/ 4714 w 6168"/>
                <a:gd name="T51" fmla="*/ 5262 h 6168"/>
                <a:gd name="T52" fmla="*/ 5366 w 6168"/>
                <a:gd name="T53" fmla="*/ 5164 h 6168"/>
                <a:gd name="T54" fmla="*/ 5173 w 6168"/>
                <a:gd name="T55" fmla="*/ 4825 h 6168"/>
                <a:gd name="T56" fmla="*/ 5734 w 6168"/>
                <a:gd name="T57" fmla="*/ 4571 h 6168"/>
                <a:gd name="T58" fmla="*/ 5958 w 6168"/>
                <a:gd name="T59" fmla="*/ 4070 h 6168"/>
                <a:gd name="T60" fmla="*/ 5736 w 6168"/>
                <a:gd name="T61" fmla="*/ 3686 h 6168"/>
                <a:gd name="T62" fmla="*/ 5751 w 6168"/>
                <a:gd name="T63" fmla="*/ 3615 h 6168"/>
                <a:gd name="T64" fmla="*/ 6155 w 6168"/>
                <a:gd name="T65" fmla="*/ 3400 h 6168"/>
                <a:gd name="T66" fmla="*/ 5793 w 6168"/>
                <a:gd name="T67" fmla="*/ 2849 h 6168"/>
                <a:gd name="T68" fmla="*/ 5785 w 6168"/>
                <a:gd name="T69" fmla="*/ 2769 h 6168"/>
                <a:gd name="T70" fmla="*/ 6042 w 6168"/>
                <a:gd name="T71" fmla="*/ 2201 h 6168"/>
                <a:gd name="T72" fmla="*/ 5497 w 6168"/>
                <a:gd name="T73" fmla="*/ 1830 h 6168"/>
                <a:gd name="T74" fmla="*/ 5479 w 6168"/>
                <a:gd name="T75" fmla="*/ 1137 h 6168"/>
                <a:gd name="T76" fmla="*/ 4833 w 6168"/>
                <a:gd name="T77" fmla="*/ 1003 h 6168"/>
                <a:gd name="T78" fmla="*/ 4793 w 6168"/>
                <a:gd name="T79" fmla="*/ 970 h 6168"/>
                <a:gd name="T80" fmla="*/ 4472 w 6168"/>
                <a:gd name="T81" fmla="*/ 746 h 6168"/>
                <a:gd name="T82" fmla="*/ 4132 w 6168"/>
                <a:gd name="T83" fmla="*/ 181 h 6168"/>
                <a:gd name="T84" fmla="*/ 3733 w 6168"/>
                <a:gd name="T85" fmla="*/ 444 h 6168"/>
                <a:gd name="T86" fmla="*/ 3472 w 6168"/>
                <a:gd name="T87" fmla="*/ 393 h 6168"/>
                <a:gd name="T88" fmla="*/ 2942 w 6168"/>
                <a:gd name="T89" fmla="*/ 1 h 6168"/>
                <a:gd name="T90" fmla="*/ 1693 w 6168"/>
                <a:gd name="T91" fmla="*/ 4828 h 6168"/>
                <a:gd name="T92" fmla="*/ 855 w 6168"/>
                <a:gd name="T93" fmla="*/ 3022 h 6168"/>
                <a:gd name="T94" fmla="*/ 1290 w 6168"/>
                <a:gd name="T95" fmla="*/ 1760 h 6168"/>
                <a:gd name="T96" fmla="*/ 1331 w 6168"/>
                <a:gd name="T97" fmla="*/ 1706 h 6168"/>
                <a:gd name="T98" fmla="*/ 1370 w 6168"/>
                <a:gd name="T99" fmla="*/ 1658 h 6168"/>
                <a:gd name="T100" fmla="*/ 2119 w 6168"/>
                <a:gd name="T101" fmla="*/ 1074 h 6168"/>
                <a:gd name="T102" fmla="*/ 2554 w 6168"/>
                <a:gd name="T103" fmla="*/ 918 h 6168"/>
                <a:gd name="T104" fmla="*/ 2872 w 6168"/>
                <a:gd name="T105" fmla="*/ 864 h 6168"/>
                <a:gd name="T106" fmla="*/ 4455 w 6168"/>
                <a:gd name="T107" fmla="*/ 1325 h 6168"/>
                <a:gd name="T108" fmla="*/ 4508 w 6168"/>
                <a:gd name="T109" fmla="*/ 1368 h 6168"/>
                <a:gd name="T110" fmla="*/ 5251 w 6168"/>
                <a:gd name="T111" fmla="*/ 2554 h 6168"/>
                <a:gd name="T112" fmla="*/ 5305 w 6168"/>
                <a:gd name="T113" fmla="*/ 2871 h 6168"/>
                <a:gd name="T114" fmla="*/ 5259 w 6168"/>
                <a:gd name="T115" fmla="*/ 3580 h 6168"/>
                <a:gd name="T116" fmla="*/ 5242 w 6168"/>
                <a:gd name="T117" fmla="*/ 3652 h 6168"/>
                <a:gd name="T118" fmla="*/ 4806 w 6168"/>
                <a:gd name="T119" fmla="*/ 4502 h 6168"/>
                <a:gd name="T120" fmla="*/ 4761 w 6168"/>
                <a:gd name="T121" fmla="*/ 4556 h 6168"/>
                <a:gd name="T122" fmla="*/ 4145 w 6168"/>
                <a:gd name="T123" fmla="*/ 5047 h 6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68" h="6168">
                  <a:moveTo>
                    <a:pt x="2849" y="376"/>
                  </a:moveTo>
                  <a:cubicBezTo>
                    <a:pt x="2841" y="376"/>
                    <a:pt x="2834" y="377"/>
                    <a:pt x="2826" y="378"/>
                  </a:cubicBezTo>
                  <a:cubicBezTo>
                    <a:pt x="2816" y="379"/>
                    <a:pt x="2806" y="380"/>
                    <a:pt x="2796" y="381"/>
                  </a:cubicBezTo>
                  <a:cubicBezTo>
                    <a:pt x="2787" y="382"/>
                    <a:pt x="2778" y="383"/>
                    <a:pt x="2769" y="384"/>
                  </a:cubicBezTo>
                  <a:cubicBezTo>
                    <a:pt x="2750" y="386"/>
                    <a:pt x="2731" y="389"/>
                    <a:pt x="2711" y="391"/>
                  </a:cubicBezTo>
                  <a:lnTo>
                    <a:pt x="2711" y="391"/>
                  </a:lnTo>
                  <a:cubicBezTo>
                    <a:pt x="2610" y="405"/>
                    <a:pt x="2510" y="425"/>
                    <a:pt x="2412" y="450"/>
                  </a:cubicBezTo>
                  <a:lnTo>
                    <a:pt x="2262" y="160"/>
                  </a:lnTo>
                  <a:cubicBezTo>
                    <a:pt x="2249" y="134"/>
                    <a:pt x="2225" y="118"/>
                    <a:pt x="2201" y="127"/>
                  </a:cubicBezTo>
                  <a:lnTo>
                    <a:pt x="1773" y="290"/>
                  </a:lnTo>
                  <a:cubicBezTo>
                    <a:pt x="1749" y="299"/>
                    <a:pt x="1742" y="328"/>
                    <a:pt x="1749" y="356"/>
                  </a:cubicBezTo>
                  <a:lnTo>
                    <a:pt x="1830" y="672"/>
                  </a:lnTo>
                  <a:cubicBezTo>
                    <a:pt x="1698" y="740"/>
                    <a:pt x="1572" y="819"/>
                    <a:pt x="1455" y="907"/>
                  </a:cubicBezTo>
                  <a:lnTo>
                    <a:pt x="1206" y="697"/>
                  </a:lnTo>
                  <a:cubicBezTo>
                    <a:pt x="1184" y="678"/>
                    <a:pt x="1155" y="673"/>
                    <a:pt x="1137" y="690"/>
                  </a:cubicBezTo>
                  <a:lnTo>
                    <a:pt x="803" y="1005"/>
                  </a:lnTo>
                  <a:cubicBezTo>
                    <a:pt x="785" y="1022"/>
                    <a:pt x="789" y="1051"/>
                    <a:pt x="806" y="1075"/>
                  </a:cubicBezTo>
                  <a:lnTo>
                    <a:pt x="1003" y="1336"/>
                  </a:lnTo>
                  <a:cubicBezTo>
                    <a:pt x="988" y="1354"/>
                    <a:pt x="973" y="1372"/>
                    <a:pt x="958" y="1390"/>
                  </a:cubicBezTo>
                  <a:cubicBezTo>
                    <a:pt x="954" y="1396"/>
                    <a:pt x="949" y="1401"/>
                    <a:pt x="945" y="1407"/>
                  </a:cubicBezTo>
                  <a:cubicBezTo>
                    <a:pt x="939" y="1415"/>
                    <a:pt x="933" y="1422"/>
                    <a:pt x="927" y="1430"/>
                  </a:cubicBezTo>
                  <a:cubicBezTo>
                    <a:pt x="862" y="1515"/>
                    <a:pt x="801" y="1604"/>
                    <a:pt x="746" y="1697"/>
                  </a:cubicBezTo>
                  <a:lnTo>
                    <a:pt x="435" y="1598"/>
                  </a:lnTo>
                  <a:cubicBezTo>
                    <a:pt x="408" y="1589"/>
                    <a:pt x="379" y="1595"/>
                    <a:pt x="369" y="1618"/>
                  </a:cubicBezTo>
                  <a:lnTo>
                    <a:pt x="181" y="2036"/>
                  </a:lnTo>
                  <a:cubicBezTo>
                    <a:pt x="171" y="2059"/>
                    <a:pt x="186" y="2085"/>
                    <a:pt x="211" y="2099"/>
                  </a:cubicBezTo>
                  <a:lnTo>
                    <a:pt x="491" y="2265"/>
                  </a:lnTo>
                  <a:cubicBezTo>
                    <a:pt x="483" y="2294"/>
                    <a:pt x="474" y="2322"/>
                    <a:pt x="466" y="2351"/>
                  </a:cubicBezTo>
                  <a:lnTo>
                    <a:pt x="461" y="2367"/>
                  </a:lnTo>
                  <a:cubicBezTo>
                    <a:pt x="458" y="2379"/>
                    <a:pt x="455" y="2391"/>
                    <a:pt x="452" y="2403"/>
                  </a:cubicBezTo>
                  <a:cubicBezTo>
                    <a:pt x="447" y="2422"/>
                    <a:pt x="442" y="2440"/>
                    <a:pt x="438" y="2459"/>
                  </a:cubicBezTo>
                  <a:lnTo>
                    <a:pt x="436" y="2466"/>
                  </a:lnTo>
                  <a:cubicBezTo>
                    <a:pt x="427" y="2507"/>
                    <a:pt x="418" y="2549"/>
                    <a:pt x="410" y="2590"/>
                  </a:cubicBezTo>
                  <a:lnTo>
                    <a:pt x="411" y="2590"/>
                  </a:lnTo>
                  <a:cubicBezTo>
                    <a:pt x="404" y="2626"/>
                    <a:pt x="398" y="2661"/>
                    <a:pt x="393" y="2697"/>
                  </a:cubicBezTo>
                  <a:lnTo>
                    <a:pt x="68" y="2725"/>
                  </a:lnTo>
                  <a:cubicBezTo>
                    <a:pt x="39" y="2727"/>
                    <a:pt x="15" y="2744"/>
                    <a:pt x="14" y="2769"/>
                  </a:cubicBezTo>
                  <a:lnTo>
                    <a:pt x="1" y="3227"/>
                  </a:lnTo>
                  <a:cubicBezTo>
                    <a:pt x="0" y="3252"/>
                    <a:pt x="24" y="3270"/>
                    <a:pt x="52" y="3274"/>
                  </a:cubicBezTo>
                  <a:lnTo>
                    <a:pt x="376" y="3320"/>
                  </a:lnTo>
                  <a:cubicBezTo>
                    <a:pt x="388" y="3469"/>
                    <a:pt x="413" y="3615"/>
                    <a:pt x="449" y="3757"/>
                  </a:cubicBezTo>
                  <a:lnTo>
                    <a:pt x="160" y="3906"/>
                  </a:lnTo>
                  <a:cubicBezTo>
                    <a:pt x="134" y="3920"/>
                    <a:pt x="118" y="3944"/>
                    <a:pt x="127" y="3968"/>
                  </a:cubicBezTo>
                  <a:lnTo>
                    <a:pt x="290" y="4396"/>
                  </a:lnTo>
                  <a:cubicBezTo>
                    <a:pt x="299" y="4420"/>
                    <a:pt x="328" y="4427"/>
                    <a:pt x="356" y="4420"/>
                  </a:cubicBezTo>
                  <a:lnTo>
                    <a:pt x="672" y="4339"/>
                  </a:lnTo>
                  <a:cubicBezTo>
                    <a:pt x="740" y="4470"/>
                    <a:pt x="819" y="4595"/>
                    <a:pt x="908" y="4713"/>
                  </a:cubicBezTo>
                  <a:lnTo>
                    <a:pt x="697" y="4963"/>
                  </a:lnTo>
                  <a:cubicBezTo>
                    <a:pt x="678" y="4985"/>
                    <a:pt x="673" y="5014"/>
                    <a:pt x="690" y="5032"/>
                  </a:cubicBezTo>
                  <a:lnTo>
                    <a:pt x="1005" y="5366"/>
                  </a:lnTo>
                  <a:cubicBezTo>
                    <a:pt x="1022" y="5384"/>
                    <a:pt x="1051" y="5380"/>
                    <a:pt x="1075" y="5362"/>
                  </a:cubicBezTo>
                  <a:lnTo>
                    <a:pt x="1336" y="5166"/>
                  </a:lnTo>
                  <a:lnTo>
                    <a:pt x="1337" y="5167"/>
                  </a:lnTo>
                  <a:cubicBezTo>
                    <a:pt x="1344" y="5173"/>
                    <a:pt x="1351" y="5179"/>
                    <a:pt x="1358" y="5184"/>
                  </a:cubicBezTo>
                  <a:cubicBezTo>
                    <a:pt x="1364" y="5190"/>
                    <a:pt x="1371" y="5196"/>
                    <a:pt x="1378" y="5201"/>
                  </a:cubicBezTo>
                  <a:lnTo>
                    <a:pt x="1386" y="5207"/>
                  </a:lnTo>
                  <a:cubicBezTo>
                    <a:pt x="1484" y="5286"/>
                    <a:pt x="1588" y="5358"/>
                    <a:pt x="1697" y="5423"/>
                  </a:cubicBezTo>
                  <a:lnTo>
                    <a:pt x="1598" y="5734"/>
                  </a:lnTo>
                  <a:cubicBezTo>
                    <a:pt x="1589" y="5761"/>
                    <a:pt x="1595" y="5790"/>
                    <a:pt x="1618" y="5800"/>
                  </a:cubicBezTo>
                  <a:lnTo>
                    <a:pt x="2036" y="5988"/>
                  </a:lnTo>
                  <a:cubicBezTo>
                    <a:pt x="2059" y="5998"/>
                    <a:pt x="2085" y="5983"/>
                    <a:pt x="2099" y="5958"/>
                  </a:cubicBezTo>
                  <a:lnTo>
                    <a:pt x="2265" y="5677"/>
                  </a:lnTo>
                  <a:cubicBezTo>
                    <a:pt x="2406" y="5722"/>
                    <a:pt x="2550" y="5755"/>
                    <a:pt x="2697" y="5776"/>
                  </a:cubicBezTo>
                  <a:lnTo>
                    <a:pt x="2725" y="6101"/>
                  </a:lnTo>
                  <a:cubicBezTo>
                    <a:pt x="2727" y="6130"/>
                    <a:pt x="2744" y="6154"/>
                    <a:pt x="2769" y="6155"/>
                  </a:cubicBezTo>
                  <a:lnTo>
                    <a:pt x="3227" y="6168"/>
                  </a:lnTo>
                  <a:cubicBezTo>
                    <a:pt x="3252" y="6168"/>
                    <a:pt x="3270" y="6145"/>
                    <a:pt x="3274" y="6116"/>
                  </a:cubicBezTo>
                  <a:lnTo>
                    <a:pt x="3320" y="5793"/>
                  </a:lnTo>
                  <a:cubicBezTo>
                    <a:pt x="3456" y="5781"/>
                    <a:pt x="3594" y="5759"/>
                    <a:pt x="3731" y="5725"/>
                  </a:cubicBezTo>
                  <a:cubicBezTo>
                    <a:pt x="3739" y="5723"/>
                    <a:pt x="3748" y="5721"/>
                    <a:pt x="3756" y="5719"/>
                  </a:cubicBezTo>
                  <a:lnTo>
                    <a:pt x="3906" y="6009"/>
                  </a:lnTo>
                  <a:cubicBezTo>
                    <a:pt x="3920" y="6035"/>
                    <a:pt x="3944" y="6051"/>
                    <a:pt x="3968" y="6042"/>
                  </a:cubicBezTo>
                  <a:lnTo>
                    <a:pt x="4396" y="5878"/>
                  </a:lnTo>
                  <a:cubicBezTo>
                    <a:pt x="4420" y="5869"/>
                    <a:pt x="4427" y="5841"/>
                    <a:pt x="4420" y="5813"/>
                  </a:cubicBezTo>
                  <a:lnTo>
                    <a:pt x="4339" y="5497"/>
                  </a:lnTo>
                  <a:lnTo>
                    <a:pt x="4342" y="5496"/>
                  </a:lnTo>
                  <a:lnTo>
                    <a:pt x="4351" y="5491"/>
                  </a:lnTo>
                  <a:cubicBezTo>
                    <a:pt x="4479" y="5423"/>
                    <a:pt x="4600" y="5347"/>
                    <a:pt x="4714" y="5262"/>
                  </a:cubicBezTo>
                  <a:lnTo>
                    <a:pt x="4963" y="5472"/>
                  </a:lnTo>
                  <a:cubicBezTo>
                    <a:pt x="4985" y="5490"/>
                    <a:pt x="5014" y="5496"/>
                    <a:pt x="5032" y="5479"/>
                  </a:cubicBezTo>
                  <a:lnTo>
                    <a:pt x="5366" y="5164"/>
                  </a:lnTo>
                  <a:cubicBezTo>
                    <a:pt x="5384" y="5147"/>
                    <a:pt x="5380" y="5117"/>
                    <a:pt x="5362" y="5094"/>
                  </a:cubicBezTo>
                  <a:lnTo>
                    <a:pt x="5166" y="4833"/>
                  </a:lnTo>
                  <a:lnTo>
                    <a:pt x="5173" y="4825"/>
                  </a:lnTo>
                  <a:cubicBezTo>
                    <a:pt x="5179" y="4818"/>
                    <a:pt x="5184" y="4812"/>
                    <a:pt x="5189" y="4805"/>
                  </a:cubicBezTo>
                  <a:cubicBezTo>
                    <a:pt x="5275" y="4701"/>
                    <a:pt x="5353" y="4589"/>
                    <a:pt x="5423" y="4472"/>
                  </a:cubicBezTo>
                  <a:lnTo>
                    <a:pt x="5734" y="4571"/>
                  </a:lnTo>
                  <a:cubicBezTo>
                    <a:pt x="5761" y="4580"/>
                    <a:pt x="5790" y="4574"/>
                    <a:pt x="5800" y="4551"/>
                  </a:cubicBezTo>
                  <a:lnTo>
                    <a:pt x="5988" y="4132"/>
                  </a:lnTo>
                  <a:cubicBezTo>
                    <a:pt x="5998" y="4110"/>
                    <a:pt x="5983" y="4084"/>
                    <a:pt x="5958" y="4070"/>
                  </a:cubicBezTo>
                  <a:lnTo>
                    <a:pt x="5678" y="3904"/>
                  </a:lnTo>
                  <a:cubicBezTo>
                    <a:pt x="5697" y="3841"/>
                    <a:pt x="5715" y="3777"/>
                    <a:pt x="5730" y="3713"/>
                  </a:cubicBezTo>
                  <a:cubicBezTo>
                    <a:pt x="5732" y="3704"/>
                    <a:pt x="5734" y="3695"/>
                    <a:pt x="5736" y="3686"/>
                  </a:cubicBezTo>
                  <a:cubicBezTo>
                    <a:pt x="5738" y="3678"/>
                    <a:pt x="5740" y="3670"/>
                    <a:pt x="5742" y="3662"/>
                  </a:cubicBezTo>
                  <a:cubicBezTo>
                    <a:pt x="5745" y="3646"/>
                    <a:pt x="5748" y="3631"/>
                    <a:pt x="5751" y="3615"/>
                  </a:cubicBezTo>
                  <a:lnTo>
                    <a:pt x="5751" y="3615"/>
                  </a:lnTo>
                  <a:cubicBezTo>
                    <a:pt x="5761" y="3568"/>
                    <a:pt x="5769" y="3520"/>
                    <a:pt x="5776" y="3472"/>
                  </a:cubicBezTo>
                  <a:lnTo>
                    <a:pt x="6101" y="3444"/>
                  </a:lnTo>
                  <a:cubicBezTo>
                    <a:pt x="6130" y="3442"/>
                    <a:pt x="6154" y="3425"/>
                    <a:pt x="6155" y="3400"/>
                  </a:cubicBezTo>
                  <a:lnTo>
                    <a:pt x="6168" y="2942"/>
                  </a:lnTo>
                  <a:cubicBezTo>
                    <a:pt x="6168" y="2917"/>
                    <a:pt x="6145" y="2899"/>
                    <a:pt x="6116" y="2895"/>
                  </a:cubicBezTo>
                  <a:lnTo>
                    <a:pt x="5793" y="2849"/>
                  </a:lnTo>
                  <a:cubicBezTo>
                    <a:pt x="5792" y="2841"/>
                    <a:pt x="5792" y="2834"/>
                    <a:pt x="5791" y="2826"/>
                  </a:cubicBezTo>
                  <a:cubicBezTo>
                    <a:pt x="5790" y="2816"/>
                    <a:pt x="5789" y="2806"/>
                    <a:pt x="5788" y="2795"/>
                  </a:cubicBezTo>
                  <a:cubicBezTo>
                    <a:pt x="5787" y="2787"/>
                    <a:pt x="5786" y="2778"/>
                    <a:pt x="5785" y="2769"/>
                  </a:cubicBezTo>
                  <a:cubicBezTo>
                    <a:pt x="5771" y="2648"/>
                    <a:pt x="5749" y="2528"/>
                    <a:pt x="5719" y="2412"/>
                  </a:cubicBezTo>
                  <a:lnTo>
                    <a:pt x="6009" y="2262"/>
                  </a:lnTo>
                  <a:cubicBezTo>
                    <a:pt x="6035" y="2249"/>
                    <a:pt x="6051" y="2225"/>
                    <a:pt x="6042" y="2201"/>
                  </a:cubicBezTo>
                  <a:lnTo>
                    <a:pt x="5878" y="1773"/>
                  </a:lnTo>
                  <a:cubicBezTo>
                    <a:pt x="5869" y="1749"/>
                    <a:pt x="5841" y="1742"/>
                    <a:pt x="5813" y="1749"/>
                  </a:cubicBezTo>
                  <a:lnTo>
                    <a:pt x="5497" y="1830"/>
                  </a:lnTo>
                  <a:cubicBezTo>
                    <a:pt x="5428" y="1698"/>
                    <a:pt x="5349" y="1572"/>
                    <a:pt x="5261" y="1455"/>
                  </a:cubicBezTo>
                  <a:lnTo>
                    <a:pt x="5472" y="1206"/>
                  </a:lnTo>
                  <a:cubicBezTo>
                    <a:pt x="5490" y="1184"/>
                    <a:pt x="5496" y="1155"/>
                    <a:pt x="5479" y="1137"/>
                  </a:cubicBezTo>
                  <a:lnTo>
                    <a:pt x="5164" y="803"/>
                  </a:lnTo>
                  <a:cubicBezTo>
                    <a:pt x="5147" y="785"/>
                    <a:pt x="5117" y="789"/>
                    <a:pt x="5094" y="806"/>
                  </a:cubicBezTo>
                  <a:lnTo>
                    <a:pt x="4833" y="1003"/>
                  </a:lnTo>
                  <a:lnTo>
                    <a:pt x="4830" y="1000"/>
                  </a:lnTo>
                  <a:lnTo>
                    <a:pt x="4820" y="992"/>
                  </a:lnTo>
                  <a:cubicBezTo>
                    <a:pt x="4811" y="984"/>
                    <a:pt x="4802" y="977"/>
                    <a:pt x="4793" y="970"/>
                  </a:cubicBezTo>
                  <a:cubicBezTo>
                    <a:pt x="4784" y="962"/>
                    <a:pt x="4775" y="955"/>
                    <a:pt x="4765" y="947"/>
                  </a:cubicBezTo>
                  <a:cubicBezTo>
                    <a:pt x="4762" y="945"/>
                    <a:pt x="4759" y="942"/>
                    <a:pt x="4755" y="940"/>
                  </a:cubicBezTo>
                  <a:cubicBezTo>
                    <a:pt x="4665" y="869"/>
                    <a:pt x="4571" y="805"/>
                    <a:pt x="4472" y="746"/>
                  </a:cubicBezTo>
                  <a:lnTo>
                    <a:pt x="4571" y="435"/>
                  </a:lnTo>
                  <a:cubicBezTo>
                    <a:pt x="4580" y="408"/>
                    <a:pt x="4574" y="379"/>
                    <a:pt x="4551" y="369"/>
                  </a:cubicBezTo>
                  <a:lnTo>
                    <a:pt x="4132" y="181"/>
                  </a:lnTo>
                  <a:cubicBezTo>
                    <a:pt x="4110" y="171"/>
                    <a:pt x="4084" y="186"/>
                    <a:pt x="4070" y="211"/>
                  </a:cubicBezTo>
                  <a:lnTo>
                    <a:pt x="3904" y="491"/>
                  </a:lnTo>
                  <a:cubicBezTo>
                    <a:pt x="3847" y="474"/>
                    <a:pt x="3790" y="458"/>
                    <a:pt x="3733" y="444"/>
                  </a:cubicBezTo>
                  <a:cubicBezTo>
                    <a:pt x="3724" y="442"/>
                    <a:pt x="3716" y="440"/>
                    <a:pt x="3708" y="438"/>
                  </a:cubicBezTo>
                  <a:lnTo>
                    <a:pt x="3701" y="436"/>
                  </a:lnTo>
                  <a:cubicBezTo>
                    <a:pt x="3626" y="418"/>
                    <a:pt x="3549" y="404"/>
                    <a:pt x="3472" y="393"/>
                  </a:cubicBezTo>
                  <a:lnTo>
                    <a:pt x="3444" y="68"/>
                  </a:lnTo>
                  <a:cubicBezTo>
                    <a:pt x="3442" y="39"/>
                    <a:pt x="3425" y="15"/>
                    <a:pt x="3400" y="14"/>
                  </a:cubicBezTo>
                  <a:lnTo>
                    <a:pt x="2942" y="1"/>
                  </a:lnTo>
                  <a:cubicBezTo>
                    <a:pt x="2917" y="0"/>
                    <a:pt x="2899" y="24"/>
                    <a:pt x="2895" y="52"/>
                  </a:cubicBezTo>
                  <a:lnTo>
                    <a:pt x="2849" y="376"/>
                  </a:lnTo>
                  <a:close/>
                  <a:moveTo>
                    <a:pt x="1693" y="4828"/>
                  </a:moveTo>
                  <a:lnTo>
                    <a:pt x="1683" y="4819"/>
                  </a:lnTo>
                  <a:lnTo>
                    <a:pt x="1674" y="4812"/>
                  </a:lnTo>
                  <a:cubicBezTo>
                    <a:pt x="1157" y="4390"/>
                    <a:pt x="835" y="3741"/>
                    <a:pt x="855" y="3022"/>
                  </a:cubicBezTo>
                  <a:cubicBezTo>
                    <a:pt x="860" y="2827"/>
                    <a:pt x="891" y="2639"/>
                    <a:pt x="943" y="2460"/>
                  </a:cubicBezTo>
                  <a:lnTo>
                    <a:pt x="943" y="2460"/>
                  </a:lnTo>
                  <a:cubicBezTo>
                    <a:pt x="1017" y="2207"/>
                    <a:pt x="1135" y="1970"/>
                    <a:pt x="1290" y="1760"/>
                  </a:cubicBezTo>
                  <a:lnTo>
                    <a:pt x="1294" y="1755"/>
                  </a:lnTo>
                  <a:cubicBezTo>
                    <a:pt x="1299" y="1747"/>
                    <a:pt x="1305" y="1740"/>
                    <a:pt x="1310" y="1733"/>
                  </a:cubicBezTo>
                  <a:cubicBezTo>
                    <a:pt x="1317" y="1724"/>
                    <a:pt x="1324" y="1715"/>
                    <a:pt x="1331" y="1706"/>
                  </a:cubicBezTo>
                  <a:lnTo>
                    <a:pt x="1336" y="1699"/>
                  </a:lnTo>
                  <a:cubicBezTo>
                    <a:pt x="1347" y="1686"/>
                    <a:pt x="1358" y="1672"/>
                    <a:pt x="1369" y="1659"/>
                  </a:cubicBezTo>
                  <a:lnTo>
                    <a:pt x="1370" y="1658"/>
                  </a:lnTo>
                  <a:cubicBezTo>
                    <a:pt x="1564" y="1425"/>
                    <a:pt x="1804" y="1233"/>
                    <a:pt x="2076" y="1094"/>
                  </a:cubicBezTo>
                  <a:lnTo>
                    <a:pt x="2078" y="1094"/>
                  </a:lnTo>
                  <a:cubicBezTo>
                    <a:pt x="2091" y="1087"/>
                    <a:pt x="2105" y="1080"/>
                    <a:pt x="2119" y="1074"/>
                  </a:cubicBezTo>
                  <a:cubicBezTo>
                    <a:pt x="2127" y="1070"/>
                    <a:pt x="2135" y="1066"/>
                    <a:pt x="2143" y="1062"/>
                  </a:cubicBezTo>
                  <a:cubicBezTo>
                    <a:pt x="2149" y="1059"/>
                    <a:pt x="2155" y="1056"/>
                    <a:pt x="2162" y="1053"/>
                  </a:cubicBezTo>
                  <a:cubicBezTo>
                    <a:pt x="2286" y="997"/>
                    <a:pt x="2417" y="952"/>
                    <a:pt x="2554" y="918"/>
                  </a:cubicBezTo>
                  <a:cubicBezTo>
                    <a:pt x="2644" y="896"/>
                    <a:pt x="2735" y="880"/>
                    <a:pt x="2825" y="869"/>
                  </a:cubicBezTo>
                  <a:cubicBezTo>
                    <a:pt x="2833" y="868"/>
                    <a:pt x="2841" y="867"/>
                    <a:pt x="2849" y="866"/>
                  </a:cubicBezTo>
                  <a:cubicBezTo>
                    <a:pt x="2857" y="866"/>
                    <a:pt x="2864" y="865"/>
                    <a:pt x="2872" y="864"/>
                  </a:cubicBezTo>
                  <a:cubicBezTo>
                    <a:pt x="2962" y="856"/>
                    <a:pt x="3054" y="852"/>
                    <a:pt x="3147" y="855"/>
                  </a:cubicBezTo>
                  <a:cubicBezTo>
                    <a:pt x="3311" y="860"/>
                    <a:pt x="3470" y="882"/>
                    <a:pt x="3623" y="920"/>
                  </a:cubicBezTo>
                  <a:cubicBezTo>
                    <a:pt x="3926" y="995"/>
                    <a:pt x="4210" y="1134"/>
                    <a:pt x="4455" y="1325"/>
                  </a:cubicBezTo>
                  <a:lnTo>
                    <a:pt x="4463" y="1331"/>
                  </a:lnTo>
                  <a:cubicBezTo>
                    <a:pt x="4471" y="1337"/>
                    <a:pt x="4479" y="1344"/>
                    <a:pt x="4486" y="1350"/>
                  </a:cubicBezTo>
                  <a:cubicBezTo>
                    <a:pt x="4493" y="1356"/>
                    <a:pt x="4501" y="1362"/>
                    <a:pt x="4508" y="1368"/>
                  </a:cubicBezTo>
                  <a:cubicBezTo>
                    <a:pt x="4511" y="1370"/>
                    <a:pt x="4514" y="1372"/>
                    <a:pt x="4517" y="1375"/>
                  </a:cubicBezTo>
                  <a:cubicBezTo>
                    <a:pt x="4754" y="1574"/>
                    <a:pt x="4949" y="1822"/>
                    <a:pt x="5087" y="2102"/>
                  </a:cubicBezTo>
                  <a:cubicBezTo>
                    <a:pt x="5156" y="2243"/>
                    <a:pt x="5212" y="2395"/>
                    <a:pt x="5251" y="2554"/>
                  </a:cubicBezTo>
                  <a:cubicBezTo>
                    <a:pt x="5273" y="2644"/>
                    <a:pt x="5289" y="2735"/>
                    <a:pt x="5300" y="2825"/>
                  </a:cubicBezTo>
                  <a:cubicBezTo>
                    <a:pt x="5301" y="2833"/>
                    <a:pt x="5302" y="2841"/>
                    <a:pt x="5302" y="2849"/>
                  </a:cubicBezTo>
                  <a:cubicBezTo>
                    <a:pt x="5303" y="2857"/>
                    <a:pt x="5304" y="2864"/>
                    <a:pt x="5305" y="2871"/>
                  </a:cubicBezTo>
                  <a:cubicBezTo>
                    <a:pt x="5313" y="2962"/>
                    <a:pt x="5316" y="3054"/>
                    <a:pt x="5314" y="3147"/>
                  </a:cubicBezTo>
                  <a:cubicBezTo>
                    <a:pt x="5310" y="3288"/>
                    <a:pt x="5293" y="3426"/>
                    <a:pt x="5264" y="3559"/>
                  </a:cubicBezTo>
                  <a:cubicBezTo>
                    <a:pt x="5262" y="3566"/>
                    <a:pt x="5261" y="3573"/>
                    <a:pt x="5259" y="3580"/>
                  </a:cubicBezTo>
                  <a:cubicBezTo>
                    <a:pt x="5257" y="3589"/>
                    <a:pt x="5255" y="3597"/>
                    <a:pt x="5253" y="3605"/>
                  </a:cubicBezTo>
                  <a:cubicBezTo>
                    <a:pt x="5250" y="3620"/>
                    <a:pt x="5246" y="3635"/>
                    <a:pt x="5242" y="3649"/>
                  </a:cubicBezTo>
                  <a:lnTo>
                    <a:pt x="5242" y="3652"/>
                  </a:lnTo>
                  <a:cubicBezTo>
                    <a:pt x="5164" y="3947"/>
                    <a:pt x="5027" y="4222"/>
                    <a:pt x="4840" y="4460"/>
                  </a:cubicBezTo>
                  <a:lnTo>
                    <a:pt x="4838" y="4462"/>
                  </a:lnTo>
                  <a:cubicBezTo>
                    <a:pt x="4828" y="4476"/>
                    <a:pt x="4817" y="4489"/>
                    <a:pt x="4806" y="4502"/>
                  </a:cubicBezTo>
                  <a:lnTo>
                    <a:pt x="4800" y="4510"/>
                  </a:lnTo>
                  <a:cubicBezTo>
                    <a:pt x="4793" y="4518"/>
                    <a:pt x="4786" y="4526"/>
                    <a:pt x="4780" y="4534"/>
                  </a:cubicBezTo>
                  <a:cubicBezTo>
                    <a:pt x="4773" y="4541"/>
                    <a:pt x="4767" y="4548"/>
                    <a:pt x="4761" y="4556"/>
                  </a:cubicBezTo>
                  <a:lnTo>
                    <a:pt x="4758" y="4559"/>
                  </a:lnTo>
                  <a:cubicBezTo>
                    <a:pt x="4585" y="4755"/>
                    <a:pt x="4377" y="4921"/>
                    <a:pt x="4145" y="5047"/>
                  </a:cubicBezTo>
                  <a:lnTo>
                    <a:pt x="4145" y="5047"/>
                  </a:lnTo>
                  <a:cubicBezTo>
                    <a:pt x="3982" y="5135"/>
                    <a:pt x="3804" y="5204"/>
                    <a:pt x="3615" y="5251"/>
                  </a:cubicBezTo>
                  <a:cubicBezTo>
                    <a:pt x="2917" y="5422"/>
                    <a:pt x="2215" y="5244"/>
                    <a:pt x="1693" y="4828"/>
                  </a:cubicBezTo>
                  <a:close/>
                </a:path>
              </a:pathLst>
            </a:custGeom>
            <a:solidFill>
              <a:schemeClr val="bg1"/>
            </a:solidFill>
            <a:ln w="12700">
              <a:solidFill>
                <a:schemeClr val="tx1">
                  <a:lumMod val="50000"/>
                  <a:lumOff val="50000"/>
                </a:schemeClr>
              </a:solidFill>
            </a:ln>
          </p:spPr>
          <p:txBody>
            <a:bodyPr vert="horz" wrap="square" lIns="91440" tIns="45720" rIns="91440" bIns="45720" numCol="1" anchor="t" anchorCtr="0" compatLnSpc="1">
              <a:prstTxWarp prst="textNoShape">
                <a:avLst/>
              </a:prstTxWarp>
            </a:bodyPr>
            <a:lstStyle/>
            <a:p>
              <a:endParaRPr lang="de-DE" sz="800"/>
            </a:p>
          </p:txBody>
        </p:sp>
        <p:sp>
          <p:nvSpPr>
            <p:cNvPr id="69" name="Bogen 68">
              <a:extLst>
                <a:ext uri="{FF2B5EF4-FFF2-40B4-BE49-F238E27FC236}">
                  <a16:creationId xmlns:a16="http://schemas.microsoft.com/office/drawing/2014/main" id="{B436ED70-A0D8-44BD-945D-CD21446A8C1F}"/>
                </a:ext>
              </a:extLst>
            </p:cNvPr>
            <p:cNvSpPr/>
            <p:nvPr/>
          </p:nvSpPr>
          <p:spPr>
            <a:xfrm>
              <a:off x="4041055" y="2865932"/>
              <a:ext cx="3703284" cy="3703280"/>
            </a:xfrm>
            <a:prstGeom prst="arc">
              <a:avLst>
                <a:gd name="adj1" fmla="val 16200000"/>
                <a:gd name="adj2" fmla="val 3884264"/>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de-DE" sz="800" err="1"/>
            </a:p>
          </p:txBody>
        </p:sp>
        <p:sp>
          <p:nvSpPr>
            <p:cNvPr id="70" name="Bogen 69">
              <a:extLst>
                <a:ext uri="{FF2B5EF4-FFF2-40B4-BE49-F238E27FC236}">
                  <a16:creationId xmlns:a16="http://schemas.microsoft.com/office/drawing/2014/main" id="{EA412FEA-5004-49B7-B1D5-0143B7A68E15}"/>
                </a:ext>
              </a:extLst>
            </p:cNvPr>
            <p:cNvSpPr/>
            <p:nvPr/>
          </p:nvSpPr>
          <p:spPr>
            <a:xfrm rot="10800000">
              <a:off x="4038764" y="2865932"/>
              <a:ext cx="3703285" cy="3703280"/>
            </a:xfrm>
            <a:prstGeom prst="arc">
              <a:avLst>
                <a:gd name="adj1" fmla="val 16200000"/>
                <a:gd name="adj2" fmla="val 4008789"/>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de-DE" sz="800" err="1"/>
            </a:p>
          </p:txBody>
        </p:sp>
        <p:cxnSp>
          <p:nvCxnSpPr>
            <p:cNvPr id="71" name="Gerade Verbindung 90">
              <a:extLst>
                <a:ext uri="{FF2B5EF4-FFF2-40B4-BE49-F238E27FC236}">
                  <a16:creationId xmlns:a16="http://schemas.microsoft.com/office/drawing/2014/main" id="{A605F4A1-4267-4CD5-AA49-99B7BA57E917}"/>
                </a:ext>
              </a:extLst>
            </p:cNvPr>
            <p:cNvCxnSpPr>
              <a:cxnSpLocks/>
            </p:cNvCxnSpPr>
            <p:nvPr/>
          </p:nvCxnSpPr>
          <p:spPr>
            <a:xfrm>
              <a:off x="5890407" y="6569212"/>
              <a:ext cx="506433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5" name="Rechteck 84">
              <a:extLst>
                <a:ext uri="{FF2B5EF4-FFF2-40B4-BE49-F238E27FC236}">
                  <a16:creationId xmlns:a16="http://schemas.microsoft.com/office/drawing/2014/main" id="{1058CAFE-8198-4238-A86A-EE8DF663D7D1}"/>
                </a:ext>
              </a:extLst>
            </p:cNvPr>
            <p:cNvSpPr/>
            <p:nvPr/>
          </p:nvSpPr>
          <p:spPr>
            <a:xfrm>
              <a:off x="4138618" y="3543785"/>
              <a:ext cx="3508158" cy="249084"/>
            </a:xfrm>
            <a:prstGeom prst="rect">
              <a:avLst/>
            </a:prstGeom>
            <a:noFill/>
          </p:spPr>
          <p:txBody>
            <a:bodyPr wrap="none" lIns="68580" tIns="34290" rIns="68580" bIns="34290" anchor="ctr" anchorCtr="0">
              <a:noAutofit/>
            </a:bodyPr>
            <a:lstStyle/>
            <a:p>
              <a:pPr algn="ctr">
                <a:lnSpc>
                  <a:spcPct val="85000"/>
                </a:lnSpc>
              </a:pPr>
              <a:r>
                <a:rPr lang="en-US" sz="800" b="1">
                  <a:solidFill>
                    <a:schemeClr val="accent3"/>
                  </a:solidFill>
                </a:rPr>
                <a:t>SNP</a:t>
              </a:r>
              <a:br>
                <a:rPr lang="en-US" sz="800">
                  <a:solidFill>
                    <a:schemeClr val="accent3"/>
                  </a:solidFill>
                </a:rPr>
              </a:br>
              <a:r>
                <a:rPr lang="en-US" sz="800">
                  <a:solidFill>
                    <a:schemeClr val="accent3"/>
                  </a:solidFill>
                </a:rPr>
                <a:t>TRANSFORMATION</a:t>
              </a:r>
              <a:br>
                <a:rPr lang="en-US" sz="800">
                  <a:solidFill>
                    <a:schemeClr val="accent3"/>
                  </a:solidFill>
                </a:rPr>
              </a:br>
              <a:r>
                <a:rPr lang="en-US" sz="800">
                  <a:solidFill>
                    <a:schemeClr val="accent3"/>
                  </a:solidFill>
                </a:rPr>
                <a:t>PORTFOLIO</a:t>
              </a:r>
            </a:p>
          </p:txBody>
        </p:sp>
        <p:cxnSp>
          <p:nvCxnSpPr>
            <p:cNvPr id="86" name="Gerade Verbindung 77">
              <a:extLst>
                <a:ext uri="{FF2B5EF4-FFF2-40B4-BE49-F238E27FC236}">
                  <a16:creationId xmlns:a16="http://schemas.microsoft.com/office/drawing/2014/main" id="{776464A9-8DCE-43DB-8A15-AF071CB591E3}"/>
                </a:ext>
              </a:extLst>
            </p:cNvPr>
            <p:cNvCxnSpPr/>
            <p:nvPr/>
          </p:nvCxnSpPr>
          <p:spPr>
            <a:xfrm>
              <a:off x="3768199" y="2865932"/>
              <a:ext cx="2034008" cy="0"/>
            </a:xfrm>
            <a:prstGeom prst="line">
              <a:avLst/>
            </a:prstGeom>
            <a:ln w="12700">
              <a:solidFill>
                <a:schemeClr val="accent3"/>
              </a:solidFill>
              <a:tailEnd type="arrow" w="med" len="med"/>
            </a:ln>
          </p:spPr>
          <p:style>
            <a:lnRef idx="1">
              <a:schemeClr val="accent1"/>
            </a:lnRef>
            <a:fillRef idx="0">
              <a:schemeClr val="accent1"/>
            </a:fillRef>
            <a:effectRef idx="0">
              <a:schemeClr val="accent1"/>
            </a:effectRef>
            <a:fontRef idx="minor">
              <a:schemeClr val="tx1"/>
            </a:fontRef>
          </p:style>
        </p:cxnSp>
      </p:grpSp>
      <p:cxnSp>
        <p:nvCxnSpPr>
          <p:cNvPr id="88" name="Gerade Verbindung 90">
            <a:extLst>
              <a:ext uri="{FF2B5EF4-FFF2-40B4-BE49-F238E27FC236}">
                <a16:creationId xmlns:a16="http://schemas.microsoft.com/office/drawing/2014/main" id="{F41DEFD1-B67F-43A9-85A0-44A69ACC9777}"/>
              </a:ext>
            </a:extLst>
          </p:cNvPr>
          <p:cNvCxnSpPr>
            <a:cxnSpLocks/>
          </p:cNvCxnSpPr>
          <p:nvPr/>
        </p:nvCxnSpPr>
        <p:spPr>
          <a:xfrm>
            <a:off x="406574" y="3199841"/>
            <a:ext cx="4320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0" name="Gerade Verbindung 77">
            <a:extLst>
              <a:ext uri="{FF2B5EF4-FFF2-40B4-BE49-F238E27FC236}">
                <a16:creationId xmlns:a16="http://schemas.microsoft.com/office/drawing/2014/main" id="{30629EF5-3A7C-42F1-B477-1177AF7CA132}"/>
              </a:ext>
            </a:extLst>
          </p:cNvPr>
          <p:cNvCxnSpPr>
            <a:cxnSpLocks/>
          </p:cNvCxnSpPr>
          <p:nvPr/>
        </p:nvCxnSpPr>
        <p:spPr>
          <a:xfrm>
            <a:off x="9446159" y="5827957"/>
            <a:ext cx="2300510" cy="0"/>
          </a:xfrm>
          <a:prstGeom prst="line">
            <a:avLst/>
          </a:prstGeom>
          <a:ln w="12700">
            <a:solidFill>
              <a:schemeClr val="accent3"/>
            </a:solidFill>
            <a:tailEnd type="arrow" w="med" len="med"/>
          </a:ln>
        </p:spPr>
        <p:style>
          <a:lnRef idx="1">
            <a:schemeClr val="accent1"/>
          </a:lnRef>
          <a:fillRef idx="0">
            <a:schemeClr val="accent1"/>
          </a:fillRef>
          <a:effectRef idx="0">
            <a:schemeClr val="accent1"/>
          </a:effectRef>
          <a:fontRef idx="minor">
            <a:schemeClr val="tx1"/>
          </a:fontRef>
        </p:style>
      </p:cxnSp>
      <p:pic>
        <p:nvPicPr>
          <p:cNvPr id="91" name="Picture 42">
            <a:extLst>
              <a:ext uri="{FF2B5EF4-FFF2-40B4-BE49-F238E27FC236}">
                <a16:creationId xmlns:a16="http://schemas.microsoft.com/office/drawing/2014/main" id="{E1BE0318-A0A3-47DE-8550-4F90F19A67CC}"/>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455115" y="4312904"/>
            <a:ext cx="740833" cy="393539"/>
          </a:xfrm>
          <a:prstGeom prst="rect">
            <a:avLst/>
          </a:prstGeom>
        </p:spPr>
      </p:pic>
      <p:sp>
        <p:nvSpPr>
          <p:cNvPr id="93" name="Rectangle 73">
            <a:extLst>
              <a:ext uri="{FF2B5EF4-FFF2-40B4-BE49-F238E27FC236}">
                <a16:creationId xmlns:a16="http://schemas.microsoft.com/office/drawing/2014/main" id="{16F50017-363B-4DED-B750-B54A48C27E03}"/>
              </a:ext>
            </a:extLst>
          </p:cNvPr>
          <p:cNvSpPr/>
          <p:nvPr/>
        </p:nvSpPr>
        <p:spPr>
          <a:xfrm>
            <a:off x="215494" y="2881153"/>
            <a:ext cx="3420380" cy="338554"/>
          </a:xfrm>
          <a:prstGeom prst="rect">
            <a:avLst/>
          </a:prstGeom>
        </p:spPr>
        <p:txBody>
          <a:bodyPr wrap="square">
            <a:spAutoFit/>
          </a:bodyPr>
          <a:lstStyle/>
          <a:p>
            <a:pPr algn="ctr"/>
            <a:r>
              <a:rPr lang="en-GB" sz="1600" dirty="0">
                <a:solidFill>
                  <a:schemeClr val="bg2">
                    <a:lumMod val="50000"/>
                  </a:schemeClr>
                </a:solidFill>
              </a:rPr>
              <a:t>Source SAP Landscape</a:t>
            </a:r>
          </a:p>
        </p:txBody>
      </p:sp>
      <p:pic>
        <p:nvPicPr>
          <p:cNvPr id="94" name="Graphic 10" descr="Database">
            <a:extLst>
              <a:ext uri="{FF2B5EF4-FFF2-40B4-BE49-F238E27FC236}">
                <a16:creationId xmlns:a16="http://schemas.microsoft.com/office/drawing/2014/main" id="{AC2F5F3E-9859-4839-8444-5B053A75CD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9118" y="3297706"/>
            <a:ext cx="721287" cy="600497"/>
          </a:xfrm>
          <a:prstGeom prst="rect">
            <a:avLst/>
          </a:prstGeom>
        </p:spPr>
      </p:pic>
      <p:pic>
        <p:nvPicPr>
          <p:cNvPr id="95" name="Graphic 61" descr="Database">
            <a:extLst>
              <a:ext uri="{FF2B5EF4-FFF2-40B4-BE49-F238E27FC236}">
                <a16:creationId xmlns:a16="http://schemas.microsoft.com/office/drawing/2014/main" id="{69A06DF2-1128-4D0D-99F3-4CD3512E3F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9118" y="3891760"/>
            <a:ext cx="721287" cy="600497"/>
          </a:xfrm>
          <a:prstGeom prst="rect">
            <a:avLst/>
          </a:prstGeom>
        </p:spPr>
      </p:pic>
      <p:pic>
        <p:nvPicPr>
          <p:cNvPr id="96" name="Graphic 67" descr="Database">
            <a:extLst>
              <a:ext uri="{FF2B5EF4-FFF2-40B4-BE49-F238E27FC236}">
                <a16:creationId xmlns:a16="http://schemas.microsoft.com/office/drawing/2014/main" id="{A0E2B789-1921-4176-9F91-58949EC9CA6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9118" y="4449180"/>
            <a:ext cx="721287" cy="600497"/>
          </a:xfrm>
          <a:prstGeom prst="rect">
            <a:avLst/>
          </a:prstGeom>
        </p:spPr>
      </p:pic>
      <p:pic>
        <p:nvPicPr>
          <p:cNvPr id="97" name="Graphic 69" descr="Database">
            <a:extLst>
              <a:ext uri="{FF2B5EF4-FFF2-40B4-BE49-F238E27FC236}">
                <a16:creationId xmlns:a16="http://schemas.microsoft.com/office/drawing/2014/main" id="{C3A186BB-3959-4FFD-AFDF-14E4E539C9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9118" y="5043234"/>
            <a:ext cx="721287" cy="600497"/>
          </a:xfrm>
          <a:prstGeom prst="rect">
            <a:avLst/>
          </a:prstGeom>
        </p:spPr>
      </p:pic>
      <p:sp>
        <p:nvSpPr>
          <p:cNvPr id="98" name="Rectangle 74">
            <a:extLst>
              <a:ext uri="{FF2B5EF4-FFF2-40B4-BE49-F238E27FC236}">
                <a16:creationId xmlns:a16="http://schemas.microsoft.com/office/drawing/2014/main" id="{FAAEB8C4-5EEB-43AE-A1EC-B2D7596F823A}"/>
              </a:ext>
            </a:extLst>
          </p:cNvPr>
          <p:cNvSpPr/>
          <p:nvPr/>
        </p:nvSpPr>
        <p:spPr>
          <a:xfrm>
            <a:off x="763806" y="3544607"/>
            <a:ext cx="1059907" cy="307777"/>
          </a:xfrm>
          <a:prstGeom prst="rect">
            <a:avLst/>
          </a:prstGeom>
        </p:spPr>
        <p:txBody>
          <a:bodyPr wrap="none">
            <a:spAutoFit/>
          </a:bodyPr>
          <a:lstStyle/>
          <a:p>
            <a:pPr algn="ctr"/>
            <a:r>
              <a:rPr lang="en-GB" sz="1400" dirty="0">
                <a:solidFill>
                  <a:schemeClr val="bg2">
                    <a:lumMod val="50000"/>
                  </a:schemeClr>
                </a:solidFill>
              </a:rPr>
              <a:t>Org Unit 1</a:t>
            </a:r>
          </a:p>
        </p:txBody>
      </p:sp>
      <p:sp>
        <p:nvSpPr>
          <p:cNvPr id="99" name="Rectangle 76">
            <a:extLst>
              <a:ext uri="{FF2B5EF4-FFF2-40B4-BE49-F238E27FC236}">
                <a16:creationId xmlns:a16="http://schemas.microsoft.com/office/drawing/2014/main" id="{E7C23695-C862-4B33-87DC-BCE4420410A8}"/>
              </a:ext>
            </a:extLst>
          </p:cNvPr>
          <p:cNvSpPr/>
          <p:nvPr/>
        </p:nvSpPr>
        <p:spPr>
          <a:xfrm>
            <a:off x="761612" y="4052001"/>
            <a:ext cx="1059907" cy="307777"/>
          </a:xfrm>
          <a:prstGeom prst="rect">
            <a:avLst/>
          </a:prstGeom>
        </p:spPr>
        <p:txBody>
          <a:bodyPr wrap="none">
            <a:spAutoFit/>
          </a:bodyPr>
          <a:lstStyle/>
          <a:p>
            <a:pPr algn="ctr"/>
            <a:r>
              <a:rPr lang="en-GB" sz="1400">
                <a:solidFill>
                  <a:schemeClr val="bg2">
                    <a:lumMod val="50000"/>
                  </a:schemeClr>
                </a:solidFill>
              </a:rPr>
              <a:t>Org Unit 2</a:t>
            </a:r>
          </a:p>
        </p:txBody>
      </p:sp>
      <p:sp>
        <p:nvSpPr>
          <p:cNvPr id="100" name="Rectangle 80">
            <a:extLst>
              <a:ext uri="{FF2B5EF4-FFF2-40B4-BE49-F238E27FC236}">
                <a16:creationId xmlns:a16="http://schemas.microsoft.com/office/drawing/2014/main" id="{9FFDFE89-D2FD-4DE5-A187-2AD5A36B5795}"/>
              </a:ext>
            </a:extLst>
          </p:cNvPr>
          <p:cNvSpPr/>
          <p:nvPr/>
        </p:nvSpPr>
        <p:spPr>
          <a:xfrm>
            <a:off x="761612" y="4602479"/>
            <a:ext cx="1059907" cy="307777"/>
          </a:xfrm>
          <a:prstGeom prst="rect">
            <a:avLst/>
          </a:prstGeom>
        </p:spPr>
        <p:txBody>
          <a:bodyPr wrap="none">
            <a:spAutoFit/>
          </a:bodyPr>
          <a:lstStyle/>
          <a:p>
            <a:pPr algn="ctr"/>
            <a:r>
              <a:rPr lang="en-GB" sz="1400">
                <a:solidFill>
                  <a:schemeClr val="bg2">
                    <a:lumMod val="50000"/>
                  </a:schemeClr>
                </a:solidFill>
              </a:rPr>
              <a:t>Org Unit 3</a:t>
            </a:r>
          </a:p>
        </p:txBody>
      </p:sp>
      <p:sp>
        <p:nvSpPr>
          <p:cNvPr id="101" name="Rectangle 81">
            <a:extLst>
              <a:ext uri="{FF2B5EF4-FFF2-40B4-BE49-F238E27FC236}">
                <a16:creationId xmlns:a16="http://schemas.microsoft.com/office/drawing/2014/main" id="{48A453E3-9962-4E3F-92F8-CEDBBB3A100D}"/>
              </a:ext>
            </a:extLst>
          </p:cNvPr>
          <p:cNvSpPr/>
          <p:nvPr/>
        </p:nvSpPr>
        <p:spPr>
          <a:xfrm>
            <a:off x="761612" y="5189593"/>
            <a:ext cx="1059907" cy="307777"/>
          </a:xfrm>
          <a:prstGeom prst="rect">
            <a:avLst/>
          </a:prstGeom>
        </p:spPr>
        <p:txBody>
          <a:bodyPr wrap="none">
            <a:spAutoFit/>
          </a:bodyPr>
          <a:lstStyle/>
          <a:p>
            <a:pPr algn="ctr"/>
            <a:r>
              <a:rPr lang="en-GB" sz="1400">
                <a:solidFill>
                  <a:schemeClr val="bg2">
                    <a:lumMod val="50000"/>
                  </a:schemeClr>
                </a:solidFill>
              </a:rPr>
              <a:t>Org Unit 4</a:t>
            </a:r>
          </a:p>
        </p:txBody>
      </p:sp>
      <p:pic>
        <p:nvPicPr>
          <p:cNvPr id="102" name="Picture 41">
            <a:extLst>
              <a:ext uri="{FF2B5EF4-FFF2-40B4-BE49-F238E27FC236}">
                <a16:creationId xmlns:a16="http://schemas.microsoft.com/office/drawing/2014/main" id="{E805143E-205B-48B5-B3E3-07DFB98B6693}"/>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610630" y="4370846"/>
            <a:ext cx="740833" cy="393539"/>
          </a:xfrm>
          <a:prstGeom prst="rect">
            <a:avLst/>
          </a:prstGeom>
        </p:spPr>
      </p:pic>
      <p:sp>
        <p:nvSpPr>
          <p:cNvPr id="104" name="Rectangle 44">
            <a:extLst>
              <a:ext uri="{FF2B5EF4-FFF2-40B4-BE49-F238E27FC236}">
                <a16:creationId xmlns:a16="http://schemas.microsoft.com/office/drawing/2014/main" id="{35A74EA1-51DA-4E72-A650-805716C0A1D2}"/>
              </a:ext>
            </a:extLst>
          </p:cNvPr>
          <p:cNvSpPr/>
          <p:nvPr/>
        </p:nvSpPr>
        <p:spPr>
          <a:xfrm>
            <a:off x="8277383" y="5826750"/>
            <a:ext cx="3593714" cy="338554"/>
          </a:xfrm>
          <a:prstGeom prst="rect">
            <a:avLst/>
          </a:prstGeom>
        </p:spPr>
        <p:txBody>
          <a:bodyPr wrap="square">
            <a:spAutoFit/>
          </a:bodyPr>
          <a:lstStyle/>
          <a:p>
            <a:pPr algn="ctr"/>
            <a:r>
              <a:rPr lang="en-GB" sz="1600" dirty="0">
                <a:solidFill>
                  <a:schemeClr val="bg2">
                    <a:lumMod val="50000"/>
                  </a:schemeClr>
                </a:solidFill>
              </a:rPr>
              <a:t>Target SAP Landscape</a:t>
            </a:r>
          </a:p>
        </p:txBody>
      </p:sp>
      <p:pic>
        <p:nvPicPr>
          <p:cNvPr id="105" name="Graphic 46" descr="Database">
            <a:extLst>
              <a:ext uri="{FF2B5EF4-FFF2-40B4-BE49-F238E27FC236}">
                <a16:creationId xmlns:a16="http://schemas.microsoft.com/office/drawing/2014/main" id="{E0C43F62-B9A0-4DFD-B1E1-E8DDDD4E98B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55062" y="4604144"/>
            <a:ext cx="721287" cy="600497"/>
          </a:xfrm>
          <a:prstGeom prst="rect">
            <a:avLst/>
          </a:prstGeom>
        </p:spPr>
      </p:pic>
      <p:pic>
        <p:nvPicPr>
          <p:cNvPr id="106" name="Graphic 47" descr="Database">
            <a:extLst>
              <a:ext uri="{FF2B5EF4-FFF2-40B4-BE49-F238E27FC236}">
                <a16:creationId xmlns:a16="http://schemas.microsoft.com/office/drawing/2014/main" id="{5C5D65C0-E462-43CE-8EA3-7F0DFE40100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5062" y="5207203"/>
            <a:ext cx="721287" cy="600497"/>
          </a:xfrm>
          <a:prstGeom prst="rect">
            <a:avLst/>
          </a:prstGeom>
        </p:spPr>
      </p:pic>
      <p:sp>
        <p:nvSpPr>
          <p:cNvPr id="107" name="Rectangle 50">
            <a:extLst>
              <a:ext uri="{FF2B5EF4-FFF2-40B4-BE49-F238E27FC236}">
                <a16:creationId xmlns:a16="http://schemas.microsoft.com/office/drawing/2014/main" id="{960FDD0E-EE48-4EF5-9B17-ADB5B8EA4DAE}"/>
              </a:ext>
            </a:extLst>
          </p:cNvPr>
          <p:cNvSpPr/>
          <p:nvPr/>
        </p:nvSpPr>
        <p:spPr>
          <a:xfrm>
            <a:off x="10687556" y="4764385"/>
            <a:ext cx="1059907" cy="307777"/>
          </a:xfrm>
          <a:prstGeom prst="rect">
            <a:avLst/>
          </a:prstGeom>
        </p:spPr>
        <p:txBody>
          <a:bodyPr wrap="none">
            <a:spAutoFit/>
          </a:bodyPr>
          <a:lstStyle/>
          <a:p>
            <a:pPr algn="ctr"/>
            <a:r>
              <a:rPr lang="en-GB" sz="1400">
                <a:solidFill>
                  <a:schemeClr val="bg2">
                    <a:lumMod val="50000"/>
                  </a:schemeClr>
                </a:solidFill>
              </a:rPr>
              <a:t>Org Unit 2</a:t>
            </a:r>
          </a:p>
        </p:txBody>
      </p:sp>
      <p:sp>
        <p:nvSpPr>
          <p:cNvPr id="108" name="Rectangle 51">
            <a:extLst>
              <a:ext uri="{FF2B5EF4-FFF2-40B4-BE49-F238E27FC236}">
                <a16:creationId xmlns:a16="http://schemas.microsoft.com/office/drawing/2014/main" id="{175E5386-CFD5-4135-8F20-7B14E472FB90}"/>
              </a:ext>
            </a:extLst>
          </p:cNvPr>
          <p:cNvSpPr/>
          <p:nvPr/>
        </p:nvSpPr>
        <p:spPr>
          <a:xfrm>
            <a:off x="10687556" y="5360502"/>
            <a:ext cx="1059907" cy="307777"/>
          </a:xfrm>
          <a:prstGeom prst="rect">
            <a:avLst/>
          </a:prstGeom>
        </p:spPr>
        <p:txBody>
          <a:bodyPr wrap="none">
            <a:spAutoFit/>
          </a:bodyPr>
          <a:lstStyle/>
          <a:p>
            <a:pPr algn="ctr"/>
            <a:r>
              <a:rPr lang="en-GB" sz="1400">
                <a:solidFill>
                  <a:schemeClr val="bg2">
                    <a:lumMod val="50000"/>
                  </a:schemeClr>
                </a:solidFill>
              </a:rPr>
              <a:t>Org Unit 3</a:t>
            </a:r>
          </a:p>
        </p:txBody>
      </p:sp>
      <p:sp>
        <p:nvSpPr>
          <p:cNvPr id="4" name="Foliennummernplatzhalter 3">
            <a:extLst>
              <a:ext uri="{FF2B5EF4-FFF2-40B4-BE49-F238E27FC236}">
                <a16:creationId xmlns:a16="http://schemas.microsoft.com/office/drawing/2014/main" id="{60032784-409F-422D-8E13-77EF3C620EFE}"/>
              </a:ext>
            </a:extLst>
          </p:cNvPr>
          <p:cNvSpPr>
            <a:spLocks noGrp="1"/>
          </p:cNvSpPr>
          <p:nvPr>
            <p:ph type="sldNum" sz="quarter" idx="11"/>
          </p:nvPr>
        </p:nvSpPr>
        <p:spPr/>
        <p:txBody>
          <a:bodyPr/>
          <a:lstStyle/>
          <a:p>
            <a:fld id="{221F1D72-F2AC-4B6E-A46C-E63D2CF40C7B}" type="slidenum">
              <a:rPr lang="de-DE" smtClean="0"/>
              <a:pPr/>
              <a:t>22</a:t>
            </a:fld>
            <a:endParaRPr lang="de-DE"/>
          </a:p>
        </p:txBody>
      </p:sp>
      <p:sp>
        <p:nvSpPr>
          <p:cNvPr id="3" name="Date Placeholder 2">
            <a:extLst>
              <a:ext uri="{FF2B5EF4-FFF2-40B4-BE49-F238E27FC236}">
                <a16:creationId xmlns:a16="http://schemas.microsoft.com/office/drawing/2014/main" id="{09816A7D-D65B-43E8-B606-59D9BAFF2190}"/>
              </a:ext>
            </a:extLst>
          </p:cNvPr>
          <p:cNvSpPr>
            <a:spLocks noGrp="1"/>
          </p:cNvSpPr>
          <p:nvPr>
            <p:ph type="dt" sz="half" idx="10"/>
          </p:nvPr>
        </p:nvSpPr>
        <p:spPr/>
        <p:txBody>
          <a:bodyPr/>
          <a:lstStyle/>
          <a:p>
            <a:r>
              <a:rPr lang="en-US"/>
              <a:t>21/08/2019</a:t>
            </a:r>
            <a:endParaRPr lang="de-DE" dirty="0"/>
          </a:p>
        </p:txBody>
      </p:sp>
      <p:grpSp>
        <p:nvGrpSpPr>
          <p:cNvPr id="112" name="Gruppieren 23">
            <a:extLst>
              <a:ext uri="{FF2B5EF4-FFF2-40B4-BE49-F238E27FC236}">
                <a16:creationId xmlns:a16="http://schemas.microsoft.com/office/drawing/2014/main" id="{C6A12F59-2AE5-4D43-9A47-C5DE49E0150C}"/>
              </a:ext>
            </a:extLst>
          </p:cNvPr>
          <p:cNvGrpSpPr/>
          <p:nvPr/>
        </p:nvGrpSpPr>
        <p:grpSpPr>
          <a:xfrm>
            <a:off x="8543478" y="116632"/>
            <a:ext cx="790389" cy="880719"/>
            <a:chOff x="4989407" y="2549111"/>
            <a:chExt cx="1904103" cy="2121714"/>
          </a:xfrm>
        </p:grpSpPr>
        <p:pic>
          <p:nvPicPr>
            <p:cNvPr id="113" name="Grafik 24">
              <a:extLst>
                <a:ext uri="{FF2B5EF4-FFF2-40B4-BE49-F238E27FC236}">
                  <a16:creationId xmlns:a16="http://schemas.microsoft.com/office/drawing/2014/main" id="{701C7F7D-67EF-4FFF-95E7-EAE5C7E9E7DF}"/>
                </a:ext>
              </a:extLst>
            </p:cNvPr>
            <p:cNvPicPr>
              <a:picLocks noChangeAspect="1"/>
            </p:cNvPicPr>
            <p:nvPr/>
          </p:nvPicPr>
          <p:blipFill>
            <a:blip r:embed="rId8" cstate="screen">
              <a:biLevel thresh="75000"/>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004810" y="2563284"/>
              <a:ext cx="1873296" cy="2093368"/>
            </a:xfrm>
            <a:prstGeom prst="rect">
              <a:avLst/>
            </a:prstGeom>
            <a:effectLst/>
          </p:spPr>
        </p:pic>
        <p:pic>
          <p:nvPicPr>
            <p:cNvPr id="114" name="Grafik 25">
              <a:extLst>
                <a:ext uri="{FF2B5EF4-FFF2-40B4-BE49-F238E27FC236}">
                  <a16:creationId xmlns:a16="http://schemas.microsoft.com/office/drawing/2014/main" id="{9A5925C3-639F-4AAF-A26E-78889BA69CA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89407" y="2549111"/>
              <a:ext cx="1904103" cy="2121714"/>
            </a:xfrm>
            <a:prstGeom prst="rect">
              <a:avLst/>
            </a:prstGeom>
          </p:spPr>
        </p:pic>
      </p:grpSp>
      <p:pic>
        <p:nvPicPr>
          <p:cNvPr id="92" name="Picture 91">
            <a:extLst>
              <a:ext uri="{FF2B5EF4-FFF2-40B4-BE49-F238E27FC236}">
                <a16:creationId xmlns:a16="http://schemas.microsoft.com/office/drawing/2014/main" id="{393B3595-06D1-41AA-91D6-077AE83F10D3}"/>
              </a:ext>
            </a:extLst>
          </p:cNvPr>
          <p:cNvPicPr>
            <a:picLocks noChangeAspect="1"/>
          </p:cNvPicPr>
          <p:nvPr/>
        </p:nvPicPr>
        <p:blipFill>
          <a:blip r:embed="rId11"/>
          <a:stretch>
            <a:fillRect/>
          </a:stretch>
        </p:blipFill>
        <p:spPr>
          <a:xfrm>
            <a:off x="9994951" y="384669"/>
            <a:ext cx="1311958" cy="411043"/>
          </a:xfrm>
          <a:prstGeom prst="rect">
            <a:avLst/>
          </a:prstGeom>
        </p:spPr>
      </p:pic>
      <p:sp>
        <p:nvSpPr>
          <p:cNvPr id="109" name="Footer Placeholder 5">
            <a:extLst>
              <a:ext uri="{FF2B5EF4-FFF2-40B4-BE49-F238E27FC236}">
                <a16:creationId xmlns:a16="http://schemas.microsoft.com/office/drawing/2014/main" id="{5B077A83-7EDE-4316-A224-0C37C2E2FABF}"/>
              </a:ext>
            </a:extLst>
          </p:cNvPr>
          <p:cNvSpPr txBox="1">
            <a:spLocks/>
          </p:cNvSpPr>
          <p:nvPr/>
        </p:nvSpPr>
        <p:spPr>
          <a:xfrm>
            <a:off x="1054646" y="6475131"/>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GB" sz="900" dirty="0">
                <a:solidFill>
                  <a:srgbClr val="6F6F6F"/>
                </a:solidFill>
              </a:rPr>
              <a:t>NZSUG Auckland Event + SAP Forum</a:t>
            </a:r>
            <a:endParaRPr lang="de-DE" sz="900" dirty="0">
              <a:solidFill>
                <a:srgbClr val="6F6F6F"/>
              </a:solidFill>
            </a:endParaRPr>
          </a:p>
        </p:txBody>
      </p:sp>
    </p:spTree>
    <p:extLst>
      <p:ext uri="{BB962C8B-B14F-4D97-AF65-F5344CB8AC3E}">
        <p14:creationId xmlns:p14="http://schemas.microsoft.com/office/powerpoint/2010/main" val="359298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Gerade Verbindung mit Pfeil 43">
            <a:extLst>
              <a:ext uri="{FF2B5EF4-FFF2-40B4-BE49-F238E27FC236}">
                <a16:creationId xmlns:a16="http://schemas.microsoft.com/office/drawing/2014/main" id="{555C79BA-C2A0-4E97-BAEA-F84630383AC0}"/>
              </a:ext>
            </a:extLst>
          </p:cNvPr>
          <p:cNvCxnSpPr/>
          <p:nvPr/>
        </p:nvCxnSpPr>
        <p:spPr>
          <a:xfrm>
            <a:off x="421217" y="3077967"/>
            <a:ext cx="11377613" cy="0"/>
          </a:xfrm>
          <a:prstGeom prst="straightConnector1">
            <a:avLst/>
          </a:prstGeom>
          <a:ln w="508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F8240920-0B37-4D42-AC85-780EE4217D39}"/>
              </a:ext>
            </a:extLst>
          </p:cNvPr>
          <p:cNvSpPr>
            <a:spLocks noGrp="1"/>
          </p:cNvSpPr>
          <p:nvPr>
            <p:ph type="title"/>
          </p:nvPr>
        </p:nvSpPr>
        <p:spPr/>
        <p:txBody>
          <a:bodyPr/>
          <a:lstStyle/>
          <a:p>
            <a:r>
              <a:rPr lang="en-GB" noProof="0" dirty="0"/>
              <a:t>Selective Migration powered by CrystalBridge</a:t>
            </a:r>
          </a:p>
        </p:txBody>
      </p:sp>
      <p:grpSp>
        <p:nvGrpSpPr>
          <p:cNvPr id="21" name="Gruppieren 20">
            <a:extLst>
              <a:ext uri="{FF2B5EF4-FFF2-40B4-BE49-F238E27FC236}">
                <a16:creationId xmlns:a16="http://schemas.microsoft.com/office/drawing/2014/main" id="{254A7253-8B3B-4DC0-BFC3-69E97D61BFC1}"/>
              </a:ext>
            </a:extLst>
          </p:cNvPr>
          <p:cNvGrpSpPr/>
          <p:nvPr/>
        </p:nvGrpSpPr>
        <p:grpSpPr>
          <a:xfrm>
            <a:off x="406400" y="1517816"/>
            <a:ext cx="11464697" cy="1079483"/>
            <a:chOff x="406400" y="3037320"/>
            <a:chExt cx="11464697" cy="1079483"/>
          </a:xfrm>
        </p:grpSpPr>
        <p:sp>
          <p:nvSpPr>
            <p:cNvPr id="7" name="Rechteck 6">
              <a:extLst>
                <a:ext uri="{FF2B5EF4-FFF2-40B4-BE49-F238E27FC236}">
                  <a16:creationId xmlns:a16="http://schemas.microsoft.com/office/drawing/2014/main" id="{94DF3FA5-117D-49A6-8266-614AEF9F9DE5}"/>
                </a:ext>
              </a:extLst>
            </p:cNvPr>
            <p:cNvSpPr/>
            <p:nvPr/>
          </p:nvSpPr>
          <p:spPr>
            <a:xfrm>
              <a:off x="605698" y="3218064"/>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1. Organize</a:t>
              </a:r>
              <a:endParaRPr lang="en-US" sz="1100" b="1">
                <a:solidFill>
                  <a:srgbClr val="002060"/>
                </a:solidFill>
              </a:endParaRPr>
            </a:p>
            <a:p>
              <a:r>
                <a:rPr lang="en-US" sz="1000">
                  <a:solidFill>
                    <a:srgbClr val="002060"/>
                  </a:solidFill>
                </a:rPr>
                <a:t>Selection of Org-Units in use</a:t>
              </a:r>
            </a:p>
          </p:txBody>
        </p:sp>
        <p:sp>
          <p:nvSpPr>
            <p:cNvPr id="8" name="Rechteck 7">
              <a:extLst>
                <a:ext uri="{FF2B5EF4-FFF2-40B4-BE49-F238E27FC236}">
                  <a16:creationId xmlns:a16="http://schemas.microsoft.com/office/drawing/2014/main" id="{5BD1F924-62C2-4A37-AEB3-09986D0ACA93}"/>
                </a:ext>
              </a:extLst>
            </p:cNvPr>
            <p:cNvSpPr/>
            <p:nvPr/>
          </p:nvSpPr>
          <p:spPr>
            <a:xfrm>
              <a:off x="2429769" y="322378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2. Design</a:t>
              </a:r>
              <a:endParaRPr lang="en-US" sz="1100" b="1">
                <a:solidFill>
                  <a:srgbClr val="002060"/>
                </a:solidFill>
              </a:endParaRPr>
            </a:p>
            <a:p>
              <a:r>
                <a:rPr lang="en-US" sz="1000">
                  <a:solidFill>
                    <a:srgbClr val="002060"/>
                  </a:solidFill>
                </a:rPr>
                <a:t>Check Migration Objects used by selected Org-Units</a:t>
              </a:r>
            </a:p>
          </p:txBody>
        </p:sp>
        <p:sp>
          <p:nvSpPr>
            <p:cNvPr id="9" name="Rechteck 8">
              <a:extLst>
                <a:ext uri="{FF2B5EF4-FFF2-40B4-BE49-F238E27FC236}">
                  <a16:creationId xmlns:a16="http://schemas.microsoft.com/office/drawing/2014/main" id="{4905A7B8-8123-4DE5-BFF7-417770071969}"/>
                </a:ext>
              </a:extLst>
            </p:cNvPr>
            <p:cNvSpPr/>
            <p:nvPr/>
          </p:nvSpPr>
          <p:spPr>
            <a:xfrm>
              <a:off x="4326447"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3. Time Based Selection</a:t>
              </a:r>
              <a:endParaRPr lang="en-US" sz="1100" b="1">
                <a:solidFill>
                  <a:srgbClr val="002060"/>
                </a:solidFill>
              </a:endParaRPr>
            </a:p>
            <a:p>
              <a:r>
                <a:rPr lang="en-US" sz="1000">
                  <a:solidFill>
                    <a:srgbClr val="002060"/>
                  </a:solidFill>
                </a:rPr>
                <a:t>See Tables and Objects to be migrated</a:t>
              </a:r>
            </a:p>
          </p:txBody>
        </p:sp>
        <p:sp>
          <p:nvSpPr>
            <p:cNvPr id="10" name="Rechteck 9">
              <a:extLst>
                <a:ext uri="{FF2B5EF4-FFF2-40B4-BE49-F238E27FC236}">
                  <a16:creationId xmlns:a16="http://schemas.microsoft.com/office/drawing/2014/main" id="{C0A58272-A02B-4F74-B338-85B6A11B1B78}"/>
                </a:ext>
              </a:extLst>
            </p:cNvPr>
            <p:cNvSpPr/>
            <p:nvPr/>
          </p:nvSpPr>
          <p:spPr>
            <a:xfrm>
              <a:off x="6175223"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dirty="0">
                  <a:solidFill>
                    <a:srgbClr val="002060"/>
                  </a:solidFill>
                </a:rPr>
                <a:t>4. Plan</a:t>
              </a:r>
              <a:endParaRPr lang="en-US" sz="1100" b="1" dirty="0">
                <a:solidFill>
                  <a:srgbClr val="002060"/>
                </a:solidFill>
              </a:endParaRPr>
            </a:p>
            <a:p>
              <a:r>
                <a:rPr lang="en-US" sz="1000" dirty="0">
                  <a:solidFill>
                    <a:srgbClr val="002060"/>
                  </a:solidFill>
                </a:rPr>
                <a:t>S/4HANA Migration</a:t>
              </a:r>
            </a:p>
            <a:p>
              <a:r>
                <a:rPr lang="en-US" sz="1000" dirty="0">
                  <a:solidFill>
                    <a:srgbClr val="002060"/>
                  </a:solidFill>
                </a:rPr>
                <a:t>Business Questionnaire</a:t>
              </a:r>
            </a:p>
          </p:txBody>
        </p:sp>
        <p:sp>
          <p:nvSpPr>
            <p:cNvPr id="11" name="Rechteck 10">
              <a:extLst>
                <a:ext uri="{FF2B5EF4-FFF2-40B4-BE49-F238E27FC236}">
                  <a16:creationId xmlns:a16="http://schemas.microsoft.com/office/drawing/2014/main" id="{1B07C04B-72FE-4DE5-AE01-CBD485A5FCDF}"/>
                </a:ext>
              </a:extLst>
            </p:cNvPr>
            <p:cNvSpPr/>
            <p:nvPr/>
          </p:nvSpPr>
          <p:spPr>
            <a:xfrm>
              <a:off x="8066522" y="3205763"/>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dirty="0">
                  <a:solidFill>
                    <a:srgbClr val="002060"/>
                  </a:solidFill>
                </a:rPr>
                <a:t>5. Setup</a:t>
              </a:r>
            </a:p>
            <a:p>
              <a:r>
                <a:rPr lang="en-US" sz="1000" dirty="0">
                  <a:solidFill>
                    <a:srgbClr val="002060"/>
                  </a:solidFill>
                </a:rPr>
                <a:t>Download the scoping results to start the Project</a:t>
              </a:r>
            </a:p>
          </p:txBody>
        </p:sp>
        <p:sp>
          <p:nvSpPr>
            <p:cNvPr id="12" name="Rechteck 11">
              <a:extLst>
                <a:ext uri="{FF2B5EF4-FFF2-40B4-BE49-F238E27FC236}">
                  <a16:creationId xmlns:a16="http://schemas.microsoft.com/office/drawing/2014/main" id="{A15B490D-0100-4089-B5B6-913947B04C97}"/>
                </a:ext>
              </a:extLst>
            </p:cNvPr>
            <p:cNvSpPr/>
            <p:nvPr/>
          </p:nvSpPr>
          <p:spPr>
            <a:xfrm>
              <a:off x="9992165" y="3201315"/>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6. Control</a:t>
              </a:r>
              <a:endParaRPr lang="en-US" sz="1100" b="1">
                <a:solidFill>
                  <a:srgbClr val="002060"/>
                </a:solidFill>
              </a:endParaRPr>
            </a:p>
            <a:p>
              <a:r>
                <a:rPr lang="en-US" sz="1000">
                  <a:solidFill>
                    <a:srgbClr val="002060"/>
                  </a:solidFill>
                </a:rPr>
                <a:t>Control the project in Solman</a:t>
              </a:r>
            </a:p>
          </p:txBody>
        </p:sp>
        <p:cxnSp>
          <p:nvCxnSpPr>
            <p:cNvPr id="14" name="Gerade Verbindung mit Pfeil 13">
              <a:extLst>
                <a:ext uri="{FF2B5EF4-FFF2-40B4-BE49-F238E27FC236}">
                  <a16:creationId xmlns:a16="http://schemas.microsoft.com/office/drawing/2014/main" id="{1FB74D42-4D44-4FE5-B24E-1F0C17603D5A}"/>
                </a:ext>
              </a:extLst>
            </p:cNvPr>
            <p:cNvCxnSpPr/>
            <p:nvPr/>
          </p:nvCxnSpPr>
          <p:spPr>
            <a:xfrm>
              <a:off x="406400" y="3140968"/>
              <a:ext cx="11377613" cy="0"/>
            </a:xfrm>
            <a:prstGeom prst="straightConnector1">
              <a:avLst/>
            </a:prstGeom>
            <a:ln w="508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Ellipse 14">
              <a:extLst>
                <a:ext uri="{FF2B5EF4-FFF2-40B4-BE49-F238E27FC236}">
                  <a16:creationId xmlns:a16="http://schemas.microsoft.com/office/drawing/2014/main" id="{3CAF8349-A5A1-442F-8840-E81F04C4E13F}"/>
                </a:ext>
              </a:extLst>
            </p:cNvPr>
            <p:cNvSpPr/>
            <p:nvPr/>
          </p:nvSpPr>
          <p:spPr>
            <a:xfrm>
              <a:off x="622598" y="303732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6" name="Ellipse 15">
              <a:extLst>
                <a:ext uri="{FF2B5EF4-FFF2-40B4-BE49-F238E27FC236}">
                  <a16:creationId xmlns:a16="http://schemas.microsoft.com/office/drawing/2014/main" id="{F9E7DC64-5772-49A0-8641-B2F19ECF2A8F}"/>
                </a:ext>
              </a:extLst>
            </p:cNvPr>
            <p:cNvSpPr/>
            <p:nvPr/>
          </p:nvSpPr>
          <p:spPr>
            <a:xfrm>
              <a:off x="2422798" y="3041578"/>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7" name="Ellipse 16">
              <a:extLst>
                <a:ext uri="{FF2B5EF4-FFF2-40B4-BE49-F238E27FC236}">
                  <a16:creationId xmlns:a16="http://schemas.microsoft.com/office/drawing/2014/main" id="{B6C35302-3BD4-48BB-B198-6F4FBC05E076}"/>
                </a:ext>
              </a:extLst>
            </p:cNvPr>
            <p:cNvSpPr/>
            <p:nvPr/>
          </p:nvSpPr>
          <p:spPr>
            <a:xfrm>
              <a:off x="4331030" y="3041882"/>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8" name="Ellipse 17">
              <a:extLst>
                <a:ext uri="{FF2B5EF4-FFF2-40B4-BE49-F238E27FC236}">
                  <a16:creationId xmlns:a16="http://schemas.microsoft.com/office/drawing/2014/main" id="{B6DC7796-64E3-4061-9ECB-6FB1F9B4991C}"/>
                </a:ext>
              </a:extLst>
            </p:cNvPr>
            <p:cNvSpPr/>
            <p:nvPr/>
          </p:nvSpPr>
          <p:spPr>
            <a:xfrm>
              <a:off x="6167214" y="304614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9" name="Ellipse 18">
              <a:extLst>
                <a:ext uri="{FF2B5EF4-FFF2-40B4-BE49-F238E27FC236}">
                  <a16:creationId xmlns:a16="http://schemas.microsoft.com/office/drawing/2014/main" id="{1B53BBCB-2B7A-4ADA-A44B-55747D625216}"/>
                </a:ext>
              </a:extLst>
            </p:cNvPr>
            <p:cNvSpPr/>
            <p:nvPr/>
          </p:nvSpPr>
          <p:spPr>
            <a:xfrm>
              <a:off x="8075446" y="3045967"/>
              <a:ext cx="180000" cy="180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20" name="Ellipse 19">
              <a:extLst>
                <a:ext uri="{FF2B5EF4-FFF2-40B4-BE49-F238E27FC236}">
                  <a16:creationId xmlns:a16="http://schemas.microsoft.com/office/drawing/2014/main" id="{95972A82-0734-4BC8-988D-A2E14E53E3F3}"/>
                </a:ext>
              </a:extLst>
            </p:cNvPr>
            <p:cNvSpPr/>
            <p:nvPr/>
          </p:nvSpPr>
          <p:spPr>
            <a:xfrm>
              <a:off x="9983658" y="3050225"/>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grpSp>
      <p:sp>
        <p:nvSpPr>
          <p:cNvPr id="22" name="Rechteck 21">
            <a:extLst>
              <a:ext uri="{FF2B5EF4-FFF2-40B4-BE49-F238E27FC236}">
                <a16:creationId xmlns:a16="http://schemas.microsoft.com/office/drawing/2014/main" id="{561EC3A5-AF60-444C-8E52-7783786AADC5}"/>
              </a:ext>
            </a:extLst>
          </p:cNvPr>
          <p:cNvSpPr/>
          <p:nvPr/>
        </p:nvSpPr>
        <p:spPr>
          <a:xfrm>
            <a:off x="366026" y="1193490"/>
            <a:ext cx="3028879"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dirty="0">
                <a:solidFill>
                  <a:srgbClr val="002060"/>
                </a:solidFill>
              </a:rPr>
              <a:t>Steps in CrystalBridge</a:t>
            </a:r>
            <a:endParaRPr lang="en-US" sz="1000" dirty="0">
              <a:solidFill>
                <a:srgbClr val="002060"/>
              </a:solidFill>
            </a:endParaRPr>
          </a:p>
        </p:txBody>
      </p:sp>
      <p:sp>
        <p:nvSpPr>
          <p:cNvPr id="92" name="Rechteck 91">
            <a:extLst>
              <a:ext uri="{FF2B5EF4-FFF2-40B4-BE49-F238E27FC236}">
                <a16:creationId xmlns:a16="http://schemas.microsoft.com/office/drawing/2014/main" id="{B329F20A-F84B-4982-9D5C-554949BAE1D2}"/>
              </a:ext>
            </a:extLst>
          </p:cNvPr>
          <p:cNvSpPr/>
          <p:nvPr/>
        </p:nvSpPr>
        <p:spPr>
          <a:xfrm>
            <a:off x="620514" y="3144792"/>
            <a:ext cx="2955937" cy="41132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View Locations</a:t>
            </a:r>
            <a:endParaRPr lang="en-US" sz="1100" b="1">
              <a:solidFill>
                <a:srgbClr val="002060"/>
              </a:solidFill>
            </a:endParaRPr>
          </a:p>
        </p:txBody>
      </p:sp>
      <p:sp>
        <p:nvSpPr>
          <p:cNvPr id="110" name="Rechteck 109">
            <a:extLst>
              <a:ext uri="{FF2B5EF4-FFF2-40B4-BE49-F238E27FC236}">
                <a16:creationId xmlns:a16="http://schemas.microsoft.com/office/drawing/2014/main" id="{09EBB9C0-8AE2-4078-8A31-3A220DEA47C1}"/>
              </a:ext>
            </a:extLst>
          </p:cNvPr>
          <p:cNvSpPr/>
          <p:nvPr/>
        </p:nvSpPr>
        <p:spPr>
          <a:xfrm>
            <a:off x="3822743" y="3162565"/>
            <a:ext cx="3248597" cy="36409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Select Organization Unit</a:t>
            </a:r>
            <a:endParaRPr lang="en-US" sz="1100" b="1">
              <a:solidFill>
                <a:srgbClr val="002060"/>
              </a:solidFill>
            </a:endParaRPr>
          </a:p>
        </p:txBody>
      </p:sp>
      <p:sp>
        <p:nvSpPr>
          <p:cNvPr id="113" name="Rechteck 112">
            <a:extLst>
              <a:ext uri="{FF2B5EF4-FFF2-40B4-BE49-F238E27FC236}">
                <a16:creationId xmlns:a16="http://schemas.microsoft.com/office/drawing/2014/main" id="{4C60415C-282C-4D52-9AC2-F25044993915}"/>
              </a:ext>
            </a:extLst>
          </p:cNvPr>
          <p:cNvSpPr/>
          <p:nvPr/>
        </p:nvSpPr>
        <p:spPr>
          <a:xfrm>
            <a:off x="7199953" y="3168648"/>
            <a:ext cx="3612069" cy="41132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Usage Matrix – before Selection</a:t>
            </a:r>
            <a:endParaRPr lang="en-US" sz="1100" b="1">
              <a:solidFill>
                <a:srgbClr val="002060"/>
              </a:solidFill>
            </a:endParaRPr>
          </a:p>
        </p:txBody>
      </p:sp>
      <p:sp>
        <p:nvSpPr>
          <p:cNvPr id="115" name="Ellipse 114">
            <a:extLst>
              <a:ext uri="{FF2B5EF4-FFF2-40B4-BE49-F238E27FC236}">
                <a16:creationId xmlns:a16="http://schemas.microsoft.com/office/drawing/2014/main" id="{2074993C-EC93-4FCD-A6F8-1C3576E084A3}"/>
              </a:ext>
            </a:extLst>
          </p:cNvPr>
          <p:cNvSpPr/>
          <p:nvPr/>
        </p:nvSpPr>
        <p:spPr>
          <a:xfrm>
            <a:off x="637415" y="2964047"/>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17" name="Ellipse 116">
            <a:extLst>
              <a:ext uri="{FF2B5EF4-FFF2-40B4-BE49-F238E27FC236}">
                <a16:creationId xmlns:a16="http://schemas.microsoft.com/office/drawing/2014/main" id="{262656AA-48B4-47A6-9C30-E5A41380DCAB}"/>
              </a:ext>
            </a:extLst>
          </p:cNvPr>
          <p:cNvSpPr/>
          <p:nvPr/>
        </p:nvSpPr>
        <p:spPr>
          <a:xfrm>
            <a:off x="3785325" y="2992964"/>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20" name="Ellipse 119">
            <a:extLst>
              <a:ext uri="{FF2B5EF4-FFF2-40B4-BE49-F238E27FC236}">
                <a16:creationId xmlns:a16="http://schemas.microsoft.com/office/drawing/2014/main" id="{01F776EB-C47F-467C-B026-88576D0BC607}"/>
              </a:ext>
            </a:extLst>
          </p:cNvPr>
          <p:cNvSpPr/>
          <p:nvPr/>
        </p:nvSpPr>
        <p:spPr>
          <a:xfrm>
            <a:off x="7223203" y="2980404"/>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cxnSp>
        <p:nvCxnSpPr>
          <p:cNvPr id="13" name="Gerade Verbindung mit Pfeil 12">
            <a:extLst>
              <a:ext uri="{FF2B5EF4-FFF2-40B4-BE49-F238E27FC236}">
                <a16:creationId xmlns:a16="http://schemas.microsoft.com/office/drawing/2014/main" id="{075B4DD9-F23A-4870-A4D1-F3DB7A9A02AF}"/>
              </a:ext>
            </a:extLst>
          </p:cNvPr>
          <p:cNvCxnSpPr>
            <a:cxnSpLocks/>
            <a:endCxn id="115" idx="0"/>
          </p:cNvCxnSpPr>
          <p:nvPr/>
        </p:nvCxnSpPr>
        <p:spPr>
          <a:xfrm>
            <a:off x="720007" y="2215120"/>
            <a:ext cx="7408" cy="748927"/>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3" name="Verbinder: gewinkelt 72">
            <a:extLst>
              <a:ext uri="{FF2B5EF4-FFF2-40B4-BE49-F238E27FC236}">
                <a16:creationId xmlns:a16="http://schemas.microsoft.com/office/drawing/2014/main" id="{0973B7D4-E791-4039-A366-1CF1E71C4DA8}"/>
              </a:ext>
            </a:extLst>
          </p:cNvPr>
          <p:cNvCxnSpPr>
            <a:cxnSpLocks/>
            <a:endCxn id="117" idx="0"/>
          </p:cNvCxnSpPr>
          <p:nvPr/>
        </p:nvCxnSpPr>
        <p:spPr>
          <a:xfrm>
            <a:off x="720007" y="2655778"/>
            <a:ext cx="3155318" cy="337186"/>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6" name="Gruppieren 5">
            <a:extLst>
              <a:ext uri="{FF2B5EF4-FFF2-40B4-BE49-F238E27FC236}">
                <a16:creationId xmlns:a16="http://schemas.microsoft.com/office/drawing/2014/main" id="{3A238C1C-3930-479C-B198-0561EC6C8460}"/>
              </a:ext>
            </a:extLst>
          </p:cNvPr>
          <p:cNvGrpSpPr/>
          <p:nvPr/>
        </p:nvGrpSpPr>
        <p:grpSpPr>
          <a:xfrm>
            <a:off x="2445395" y="2301124"/>
            <a:ext cx="4859131" cy="715280"/>
            <a:chOff x="2445395" y="2301124"/>
            <a:chExt cx="5743858" cy="715280"/>
          </a:xfrm>
        </p:grpSpPr>
        <p:cxnSp>
          <p:nvCxnSpPr>
            <p:cNvPr id="123" name="Verbinder: gewinkelt 122">
              <a:extLst>
                <a:ext uri="{FF2B5EF4-FFF2-40B4-BE49-F238E27FC236}">
                  <a16:creationId xmlns:a16="http://schemas.microsoft.com/office/drawing/2014/main" id="{138BB8D7-4568-4129-9B2A-A9E93704D239}"/>
                </a:ext>
              </a:extLst>
            </p:cNvPr>
            <p:cNvCxnSpPr>
              <a:cxnSpLocks/>
            </p:cNvCxnSpPr>
            <p:nvPr/>
          </p:nvCxnSpPr>
          <p:spPr>
            <a:xfrm>
              <a:off x="2445395" y="2445124"/>
              <a:ext cx="5743858" cy="571280"/>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6BF68D7A-D2EA-49FF-9900-A04588D801DE}"/>
                </a:ext>
              </a:extLst>
            </p:cNvPr>
            <p:cNvCxnSpPr/>
            <p:nvPr/>
          </p:nvCxnSpPr>
          <p:spPr>
            <a:xfrm>
              <a:off x="2455018" y="2301124"/>
              <a:ext cx="0" cy="144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26" name="Grafik 125">
            <a:extLst>
              <a:ext uri="{FF2B5EF4-FFF2-40B4-BE49-F238E27FC236}">
                <a16:creationId xmlns:a16="http://schemas.microsoft.com/office/drawing/2014/main" id="{2B988173-4FA8-459D-BA92-750E6D64BC10}"/>
              </a:ext>
            </a:extLst>
          </p:cNvPr>
          <p:cNvPicPr>
            <a:picLocks noChangeAspect="1"/>
          </p:cNvPicPr>
          <p:nvPr/>
        </p:nvPicPr>
        <p:blipFill>
          <a:blip r:embed="rId2"/>
          <a:stretch>
            <a:fillRect/>
          </a:stretch>
        </p:blipFill>
        <p:spPr>
          <a:xfrm>
            <a:off x="3785325" y="3450315"/>
            <a:ext cx="3058311" cy="2509683"/>
          </a:xfrm>
          <a:prstGeom prst="rect">
            <a:avLst/>
          </a:prstGeom>
        </p:spPr>
      </p:pic>
      <p:pic>
        <p:nvPicPr>
          <p:cNvPr id="41" name="Grafik 40">
            <a:extLst>
              <a:ext uri="{FF2B5EF4-FFF2-40B4-BE49-F238E27FC236}">
                <a16:creationId xmlns:a16="http://schemas.microsoft.com/office/drawing/2014/main" id="{7F6B2601-97C9-4C44-BBBD-0F2C629165F0}"/>
              </a:ext>
            </a:extLst>
          </p:cNvPr>
          <p:cNvPicPr>
            <a:picLocks noChangeAspect="1"/>
          </p:cNvPicPr>
          <p:nvPr/>
        </p:nvPicPr>
        <p:blipFill>
          <a:blip r:embed="rId3"/>
          <a:stretch>
            <a:fillRect/>
          </a:stretch>
        </p:blipFill>
        <p:spPr>
          <a:xfrm>
            <a:off x="7071341" y="3588219"/>
            <a:ext cx="4815075" cy="1838702"/>
          </a:xfrm>
          <a:prstGeom prst="rect">
            <a:avLst/>
          </a:prstGeom>
        </p:spPr>
      </p:pic>
      <p:pic>
        <p:nvPicPr>
          <p:cNvPr id="4" name="Grafik 3">
            <a:extLst>
              <a:ext uri="{FF2B5EF4-FFF2-40B4-BE49-F238E27FC236}">
                <a16:creationId xmlns:a16="http://schemas.microsoft.com/office/drawing/2014/main" id="{B1C1CBCC-E349-4805-B031-AF6DD8329E20}"/>
              </a:ext>
            </a:extLst>
          </p:cNvPr>
          <p:cNvPicPr>
            <a:picLocks noChangeAspect="1"/>
          </p:cNvPicPr>
          <p:nvPr/>
        </p:nvPicPr>
        <p:blipFill>
          <a:blip r:embed="rId4"/>
          <a:stretch>
            <a:fillRect/>
          </a:stretch>
        </p:blipFill>
        <p:spPr>
          <a:xfrm>
            <a:off x="574062" y="3754892"/>
            <a:ext cx="2983558" cy="2152765"/>
          </a:xfrm>
          <a:prstGeom prst="rect">
            <a:avLst/>
          </a:prstGeom>
        </p:spPr>
      </p:pic>
      <p:sp>
        <p:nvSpPr>
          <p:cNvPr id="5" name="Foliennummernplatzhalter 4">
            <a:extLst>
              <a:ext uri="{FF2B5EF4-FFF2-40B4-BE49-F238E27FC236}">
                <a16:creationId xmlns:a16="http://schemas.microsoft.com/office/drawing/2014/main" id="{0559B789-B1D4-437B-8B69-F359EE3C29C0}"/>
              </a:ext>
            </a:extLst>
          </p:cNvPr>
          <p:cNvSpPr>
            <a:spLocks noGrp="1"/>
          </p:cNvSpPr>
          <p:nvPr>
            <p:ph type="sldNum" sz="quarter" idx="11"/>
          </p:nvPr>
        </p:nvSpPr>
        <p:spPr/>
        <p:txBody>
          <a:bodyPr/>
          <a:lstStyle/>
          <a:p>
            <a:fld id="{221F1D72-F2AC-4B6E-A46C-E63D2CF40C7B}" type="slidenum">
              <a:rPr lang="de-DE" smtClean="0"/>
              <a:pPr/>
              <a:t>23</a:t>
            </a:fld>
            <a:endParaRPr lang="de-DE"/>
          </a:p>
        </p:txBody>
      </p:sp>
      <p:sp>
        <p:nvSpPr>
          <p:cNvPr id="3" name="Date Placeholder 2">
            <a:extLst>
              <a:ext uri="{FF2B5EF4-FFF2-40B4-BE49-F238E27FC236}">
                <a16:creationId xmlns:a16="http://schemas.microsoft.com/office/drawing/2014/main" id="{FB530D70-F8EF-4066-87A3-BC963DDA9021}"/>
              </a:ext>
            </a:extLst>
          </p:cNvPr>
          <p:cNvSpPr>
            <a:spLocks noGrp="1"/>
          </p:cNvSpPr>
          <p:nvPr>
            <p:ph type="dt" sz="half" idx="10"/>
          </p:nvPr>
        </p:nvSpPr>
        <p:spPr/>
        <p:txBody>
          <a:bodyPr/>
          <a:lstStyle/>
          <a:p>
            <a:r>
              <a:rPr lang="en-US"/>
              <a:t>21/08/2019</a:t>
            </a:r>
            <a:endParaRPr lang="de-DE" dirty="0"/>
          </a:p>
        </p:txBody>
      </p:sp>
      <p:grpSp>
        <p:nvGrpSpPr>
          <p:cNvPr id="39" name="Gruppieren 23">
            <a:extLst>
              <a:ext uri="{FF2B5EF4-FFF2-40B4-BE49-F238E27FC236}">
                <a16:creationId xmlns:a16="http://schemas.microsoft.com/office/drawing/2014/main" id="{0C9F81B5-0F7C-4755-8513-FB250A8414B6}"/>
              </a:ext>
            </a:extLst>
          </p:cNvPr>
          <p:cNvGrpSpPr/>
          <p:nvPr/>
        </p:nvGrpSpPr>
        <p:grpSpPr>
          <a:xfrm>
            <a:off x="8543478" y="116632"/>
            <a:ext cx="790389" cy="880719"/>
            <a:chOff x="4989407" y="2549111"/>
            <a:chExt cx="1904103" cy="2121714"/>
          </a:xfrm>
        </p:grpSpPr>
        <p:pic>
          <p:nvPicPr>
            <p:cNvPr id="40" name="Grafik 24">
              <a:extLst>
                <a:ext uri="{FF2B5EF4-FFF2-40B4-BE49-F238E27FC236}">
                  <a16:creationId xmlns:a16="http://schemas.microsoft.com/office/drawing/2014/main" id="{A7C467E2-80FB-4D1F-B0C6-37566AF4A9D5}"/>
                </a:ext>
              </a:extLst>
            </p:cNvPr>
            <p:cNvPicPr>
              <a:picLocks noChangeAspect="1"/>
            </p:cNvPicPr>
            <p:nvPr/>
          </p:nvPicPr>
          <p:blipFill>
            <a:blip r:embed="rId5" cstate="screen">
              <a:biLevel thresh="7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004810" y="2563284"/>
              <a:ext cx="1873296" cy="2093368"/>
            </a:xfrm>
            <a:prstGeom prst="rect">
              <a:avLst/>
            </a:prstGeom>
            <a:effectLst/>
          </p:spPr>
        </p:pic>
        <p:pic>
          <p:nvPicPr>
            <p:cNvPr id="42" name="Grafik 25">
              <a:extLst>
                <a:ext uri="{FF2B5EF4-FFF2-40B4-BE49-F238E27FC236}">
                  <a16:creationId xmlns:a16="http://schemas.microsoft.com/office/drawing/2014/main" id="{CCD1C97E-2024-4F65-A278-0DC05D3A070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89407" y="2549111"/>
              <a:ext cx="1904103" cy="2121714"/>
            </a:xfrm>
            <a:prstGeom prst="rect">
              <a:avLst/>
            </a:prstGeom>
          </p:spPr>
        </p:pic>
      </p:grpSp>
      <p:pic>
        <p:nvPicPr>
          <p:cNvPr id="43" name="Picture 42">
            <a:extLst>
              <a:ext uri="{FF2B5EF4-FFF2-40B4-BE49-F238E27FC236}">
                <a16:creationId xmlns:a16="http://schemas.microsoft.com/office/drawing/2014/main" id="{B76E3C17-5AD8-4E40-B6F4-2B50D6BD3AD7}"/>
              </a:ext>
            </a:extLst>
          </p:cNvPr>
          <p:cNvPicPr>
            <a:picLocks noChangeAspect="1"/>
          </p:cNvPicPr>
          <p:nvPr/>
        </p:nvPicPr>
        <p:blipFill>
          <a:blip r:embed="rId8"/>
          <a:stretch>
            <a:fillRect/>
          </a:stretch>
        </p:blipFill>
        <p:spPr>
          <a:xfrm>
            <a:off x="9994951" y="384669"/>
            <a:ext cx="1311958" cy="411043"/>
          </a:xfrm>
          <a:prstGeom prst="rect">
            <a:avLst/>
          </a:prstGeom>
        </p:spPr>
      </p:pic>
      <p:sp>
        <p:nvSpPr>
          <p:cNvPr id="46" name="Footer Placeholder 5">
            <a:extLst>
              <a:ext uri="{FF2B5EF4-FFF2-40B4-BE49-F238E27FC236}">
                <a16:creationId xmlns:a16="http://schemas.microsoft.com/office/drawing/2014/main" id="{CC54E80C-FFE0-4EA7-BD2B-34696F4BEB40}"/>
              </a:ext>
            </a:extLst>
          </p:cNvPr>
          <p:cNvSpPr txBox="1">
            <a:spLocks/>
          </p:cNvSpPr>
          <p:nvPr/>
        </p:nvSpPr>
        <p:spPr>
          <a:xfrm>
            <a:off x="1054646" y="6475131"/>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GB" sz="900" dirty="0">
                <a:solidFill>
                  <a:srgbClr val="6F6F6F"/>
                </a:solidFill>
              </a:rPr>
              <a:t>NZSUG Auckland Event + SAP Forum</a:t>
            </a:r>
            <a:endParaRPr lang="de-DE" sz="900" dirty="0">
              <a:solidFill>
                <a:srgbClr val="6F6F6F"/>
              </a:solidFill>
            </a:endParaRPr>
          </a:p>
        </p:txBody>
      </p:sp>
    </p:spTree>
    <p:extLst>
      <p:ext uri="{BB962C8B-B14F-4D97-AF65-F5344CB8AC3E}">
        <p14:creationId xmlns:p14="http://schemas.microsoft.com/office/powerpoint/2010/main" val="130348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 grpId="0"/>
      <p:bldP spid="1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40920-0B37-4D42-AC85-780EE4217D39}"/>
              </a:ext>
            </a:extLst>
          </p:cNvPr>
          <p:cNvSpPr>
            <a:spLocks noGrp="1"/>
          </p:cNvSpPr>
          <p:nvPr>
            <p:ph type="title"/>
          </p:nvPr>
        </p:nvSpPr>
        <p:spPr/>
        <p:txBody>
          <a:bodyPr/>
          <a:lstStyle/>
          <a:p>
            <a:r>
              <a:rPr lang="en-GB" noProof="0" dirty="0"/>
              <a:t>Selective Migration powered by CrystalBridge</a:t>
            </a:r>
          </a:p>
        </p:txBody>
      </p:sp>
      <p:grpSp>
        <p:nvGrpSpPr>
          <p:cNvPr id="21" name="Gruppieren 20">
            <a:extLst>
              <a:ext uri="{FF2B5EF4-FFF2-40B4-BE49-F238E27FC236}">
                <a16:creationId xmlns:a16="http://schemas.microsoft.com/office/drawing/2014/main" id="{254A7253-8B3B-4DC0-BFC3-69E97D61BFC1}"/>
              </a:ext>
            </a:extLst>
          </p:cNvPr>
          <p:cNvGrpSpPr/>
          <p:nvPr/>
        </p:nvGrpSpPr>
        <p:grpSpPr>
          <a:xfrm>
            <a:off x="406400" y="1528088"/>
            <a:ext cx="11464697" cy="975191"/>
            <a:chOff x="406400" y="3037320"/>
            <a:chExt cx="11464697" cy="1079483"/>
          </a:xfrm>
        </p:grpSpPr>
        <p:sp>
          <p:nvSpPr>
            <p:cNvPr id="7" name="Rechteck 6">
              <a:extLst>
                <a:ext uri="{FF2B5EF4-FFF2-40B4-BE49-F238E27FC236}">
                  <a16:creationId xmlns:a16="http://schemas.microsoft.com/office/drawing/2014/main" id="{94DF3FA5-117D-49A6-8266-614AEF9F9DE5}"/>
                </a:ext>
              </a:extLst>
            </p:cNvPr>
            <p:cNvSpPr/>
            <p:nvPr/>
          </p:nvSpPr>
          <p:spPr>
            <a:xfrm>
              <a:off x="605698" y="3218064"/>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1. Organize</a:t>
              </a:r>
              <a:endParaRPr lang="en-US" sz="1100" b="1">
                <a:solidFill>
                  <a:srgbClr val="002060"/>
                </a:solidFill>
              </a:endParaRPr>
            </a:p>
            <a:p>
              <a:r>
                <a:rPr lang="en-US" sz="1000">
                  <a:solidFill>
                    <a:srgbClr val="002060"/>
                  </a:solidFill>
                </a:rPr>
                <a:t>Selection of Org-Units in use</a:t>
              </a:r>
            </a:p>
          </p:txBody>
        </p:sp>
        <p:sp>
          <p:nvSpPr>
            <p:cNvPr id="8" name="Rechteck 7">
              <a:extLst>
                <a:ext uri="{FF2B5EF4-FFF2-40B4-BE49-F238E27FC236}">
                  <a16:creationId xmlns:a16="http://schemas.microsoft.com/office/drawing/2014/main" id="{5BD1F924-62C2-4A37-AEB3-09986D0ACA93}"/>
                </a:ext>
              </a:extLst>
            </p:cNvPr>
            <p:cNvSpPr/>
            <p:nvPr/>
          </p:nvSpPr>
          <p:spPr>
            <a:xfrm>
              <a:off x="2429769" y="322378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2. Design</a:t>
              </a:r>
              <a:endParaRPr lang="en-US" sz="1100" b="1">
                <a:solidFill>
                  <a:srgbClr val="002060"/>
                </a:solidFill>
              </a:endParaRPr>
            </a:p>
            <a:p>
              <a:r>
                <a:rPr lang="en-US" sz="1000">
                  <a:solidFill>
                    <a:srgbClr val="002060"/>
                  </a:solidFill>
                </a:rPr>
                <a:t>Check Migration Objects used by selected Org-Units</a:t>
              </a:r>
            </a:p>
          </p:txBody>
        </p:sp>
        <p:sp>
          <p:nvSpPr>
            <p:cNvPr id="9" name="Rechteck 8">
              <a:extLst>
                <a:ext uri="{FF2B5EF4-FFF2-40B4-BE49-F238E27FC236}">
                  <a16:creationId xmlns:a16="http://schemas.microsoft.com/office/drawing/2014/main" id="{4905A7B8-8123-4DE5-BFF7-417770071969}"/>
                </a:ext>
              </a:extLst>
            </p:cNvPr>
            <p:cNvSpPr/>
            <p:nvPr/>
          </p:nvSpPr>
          <p:spPr>
            <a:xfrm>
              <a:off x="4326447"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3. Time Based Selection</a:t>
              </a:r>
              <a:endParaRPr lang="en-US" sz="1100" b="1">
                <a:solidFill>
                  <a:srgbClr val="002060"/>
                </a:solidFill>
              </a:endParaRPr>
            </a:p>
            <a:p>
              <a:r>
                <a:rPr lang="en-US" sz="1000">
                  <a:solidFill>
                    <a:srgbClr val="002060"/>
                  </a:solidFill>
                </a:rPr>
                <a:t>See Tables and Objects to be migrated</a:t>
              </a:r>
            </a:p>
          </p:txBody>
        </p:sp>
        <p:sp>
          <p:nvSpPr>
            <p:cNvPr id="10" name="Rechteck 9">
              <a:extLst>
                <a:ext uri="{FF2B5EF4-FFF2-40B4-BE49-F238E27FC236}">
                  <a16:creationId xmlns:a16="http://schemas.microsoft.com/office/drawing/2014/main" id="{C0A58272-A02B-4F74-B338-85B6A11B1B78}"/>
                </a:ext>
              </a:extLst>
            </p:cNvPr>
            <p:cNvSpPr/>
            <p:nvPr/>
          </p:nvSpPr>
          <p:spPr>
            <a:xfrm>
              <a:off x="6175223"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dirty="0">
                  <a:solidFill>
                    <a:srgbClr val="002060"/>
                  </a:solidFill>
                </a:rPr>
                <a:t>4. Plan</a:t>
              </a:r>
              <a:endParaRPr lang="en-US" sz="1100" b="1" dirty="0">
                <a:solidFill>
                  <a:srgbClr val="002060"/>
                </a:solidFill>
              </a:endParaRPr>
            </a:p>
            <a:p>
              <a:r>
                <a:rPr lang="en-US" sz="1000" dirty="0">
                  <a:solidFill>
                    <a:srgbClr val="002060"/>
                  </a:solidFill>
                </a:rPr>
                <a:t>S/4HANA Migration</a:t>
              </a:r>
            </a:p>
            <a:p>
              <a:r>
                <a:rPr lang="en-US" sz="1000" dirty="0">
                  <a:solidFill>
                    <a:srgbClr val="002060"/>
                  </a:solidFill>
                </a:rPr>
                <a:t>Business Questionnaire</a:t>
              </a:r>
            </a:p>
          </p:txBody>
        </p:sp>
        <p:sp>
          <p:nvSpPr>
            <p:cNvPr id="11" name="Rechteck 10">
              <a:extLst>
                <a:ext uri="{FF2B5EF4-FFF2-40B4-BE49-F238E27FC236}">
                  <a16:creationId xmlns:a16="http://schemas.microsoft.com/office/drawing/2014/main" id="{1B07C04B-72FE-4DE5-AE01-CBD485A5FCDF}"/>
                </a:ext>
              </a:extLst>
            </p:cNvPr>
            <p:cNvSpPr/>
            <p:nvPr/>
          </p:nvSpPr>
          <p:spPr>
            <a:xfrm>
              <a:off x="8066522" y="3205763"/>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dirty="0">
                  <a:solidFill>
                    <a:srgbClr val="002060"/>
                  </a:solidFill>
                </a:rPr>
                <a:t>5. Setup</a:t>
              </a:r>
            </a:p>
            <a:p>
              <a:r>
                <a:rPr lang="en-US" sz="1000" dirty="0">
                  <a:solidFill>
                    <a:srgbClr val="002060"/>
                  </a:solidFill>
                </a:rPr>
                <a:t>Download the scoping results to start the Project</a:t>
              </a:r>
            </a:p>
          </p:txBody>
        </p:sp>
        <p:sp>
          <p:nvSpPr>
            <p:cNvPr id="12" name="Rechteck 11">
              <a:extLst>
                <a:ext uri="{FF2B5EF4-FFF2-40B4-BE49-F238E27FC236}">
                  <a16:creationId xmlns:a16="http://schemas.microsoft.com/office/drawing/2014/main" id="{A15B490D-0100-4089-B5B6-913947B04C97}"/>
                </a:ext>
              </a:extLst>
            </p:cNvPr>
            <p:cNvSpPr/>
            <p:nvPr/>
          </p:nvSpPr>
          <p:spPr>
            <a:xfrm>
              <a:off x="9992165" y="3201315"/>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6. Control</a:t>
              </a:r>
              <a:endParaRPr lang="en-US" sz="1100" b="1">
                <a:solidFill>
                  <a:srgbClr val="002060"/>
                </a:solidFill>
              </a:endParaRPr>
            </a:p>
            <a:p>
              <a:r>
                <a:rPr lang="en-US" sz="1000">
                  <a:solidFill>
                    <a:srgbClr val="002060"/>
                  </a:solidFill>
                </a:rPr>
                <a:t>Control the project in Solman</a:t>
              </a:r>
            </a:p>
          </p:txBody>
        </p:sp>
        <p:cxnSp>
          <p:nvCxnSpPr>
            <p:cNvPr id="14" name="Gerade Verbindung mit Pfeil 13">
              <a:extLst>
                <a:ext uri="{FF2B5EF4-FFF2-40B4-BE49-F238E27FC236}">
                  <a16:creationId xmlns:a16="http://schemas.microsoft.com/office/drawing/2014/main" id="{1FB74D42-4D44-4FE5-B24E-1F0C17603D5A}"/>
                </a:ext>
              </a:extLst>
            </p:cNvPr>
            <p:cNvCxnSpPr/>
            <p:nvPr/>
          </p:nvCxnSpPr>
          <p:spPr>
            <a:xfrm>
              <a:off x="406400" y="3140968"/>
              <a:ext cx="11377613" cy="0"/>
            </a:xfrm>
            <a:prstGeom prst="straightConnector1">
              <a:avLst/>
            </a:prstGeom>
            <a:ln w="508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Ellipse 14">
              <a:extLst>
                <a:ext uri="{FF2B5EF4-FFF2-40B4-BE49-F238E27FC236}">
                  <a16:creationId xmlns:a16="http://schemas.microsoft.com/office/drawing/2014/main" id="{3CAF8349-A5A1-442F-8840-E81F04C4E13F}"/>
                </a:ext>
              </a:extLst>
            </p:cNvPr>
            <p:cNvSpPr/>
            <p:nvPr/>
          </p:nvSpPr>
          <p:spPr>
            <a:xfrm>
              <a:off x="622598" y="303732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6" name="Ellipse 15">
              <a:extLst>
                <a:ext uri="{FF2B5EF4-FFF2-40B4-BE49-F238E27FC236}">
                  <a16:creationId xmlns:a16="http://schemas.microsoft.com/office/drawing/2014/main" id="{F9E7DC64-5772-49A0-8641-B2F19ECF2A8F}"/>
                </a:ext>
              </a:extLst>
            </p:cNvPr>
            <p:cNvSpPr/>
            <p:nvPr/>
          </p:nvSpPr>
          <p:spPr>
            <a:xfrm>
              <a:off x="2422798" y="3041578"/>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7" name="Ellipse 16">
              <a:extLst>
                <a:ext uri="{FF2B5EF4-FFF2-40B4-BE49-F238E27FC236}">
                  <a16:creationId xmlns:a16="http://schemas.microsoft.com/office/drawing/2014/main" id="{B6C35302-3BD4-48BB-B198-6F4FBC05E076}"/>
                </a:ext>
              </a:extLst>
            </p:cNvPr>
            <p:cNvSpPr/>
            <p:nvPr/>
          </p:nvSpPr>
          <p:spPr>
            <a:xfrm>
              <a:off x="4331030" y="3041882"/>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8" name="Ellipse 17">
              <a:extLst>
                <a:ext uri="{FF2B5EF4-FFF2-40B4-BE49-F238E27FC236}">
                  <a16:creationId xmlns:a16="http://schemas.microsoft.com/office/drawing/2014/main" id="{B6DC7796-64E3-4061-9ECB-6FB1F9B4991C}"/>
                </a:ext>
              </a:extLst>
            </p:cNvPr>
            <p:cNvSpPr/>
            <p:nvPr/>
          </p:nvSpPr>
          <p:spPr>
            <a:xfrm>
              <a:off x="6167214" y="304614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9" name="Ellipse 18">
              <a:extLst>
                <a:ext uri="{FF2B5EF4-FFF2-40B4-BE49-F238E27FC236}">
                  <a16:creationId xmlns:a16="http://schemas.microsoft.com/office/drawing/2014/main" id="{1B53BBCB-2B7A-4ADA-A44B-55747D625216}"/>
                </a:ext>
              </a:extLst>
            </p:cNvPr>
            <p:cNvSpPr/>
            <p:nvPr/>
          </p:nvSpPr>
          <p:spPr>
            <a:xfrm>
              <a:off x="8075446" y="3045967"/>
              <a:ext cx="180000" cy="180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20" name="Ellipse 19">
              <a:extLst>
                <a:ext uri="{FF2B5EF4-FFF2-40B4-BE49-F238E27FC236}">
                  <a16:creationId xmlns:a16="http://schemas.microsoft.com/office/drawing/2014/main" id="{95972A82-0734-4BC8-988D-A2E14E53E3F3}"/>
                </a:ext>
              </a:extLst>
            </p:cNvPr>
            <p:cNvSpPr/>
            <p:nvPr/>
          </p:nvSpPr>
          <p:spPr>
            <a:xfrm>
              <a:off x="9983658" y="3050225"/>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grpSp>
      <p:sp>
        <p:nvSpPr>
          <p:cNvPr id="22" name="Rechteck 21">
            <a:extLst>
              <a:ext uri="{FF2B5EF4-FFF2-40B4-BE49-F238E27FC236}">
                <a16:creationId xmlns:a16="http://schemas.microsoft.com/office/drawing/2014/main" id="{561EC3A5-AF60-444C-8E52-7783786AADC5}"/>
              </a:ext>
            </a:extLst>
          </p:cNvPr>
          <p:cNvSpPr/>
          <p:nvPr/>
        </p:nvSpPr>
        <p:spPr>
          <a:xfrm>
            <a:off x="366026" y="1203762"/>
            <a:ext cx="3028879"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dirty="0">
                <a:solidFill>
                  <a:srgbClr val="002060"/>
                </a:solidFill>
              </a:rPr>
              <a:t>Steps in CrystalBridge</a:t>
            </a:r>
            <a:endParaRPr lang="en-US" sz="1000" dirty="0">
              <a:solidFill>
                <a:srgbClr val="002060"/>
              </a:solidFill>
            </a:endParaRPr>
          </a:p>
        </p:txBody>
      </p:sp>
      <p:cxnSp>
        <p:nvCxnSpPr>
          <p:cNvPr id="114" name="Gerade Verbindung mit Pfeil 113">
            <a:extLst>
              <a:ext uri="{FF2B5EF4-FFF2-40B4-BE49-F238E27FC236}">
                <a16:creationId xmlns:a16="http://schemas.microsoft.com/office/drawing/2014/main" id="{F94C73DD-A426-4E96-94A9-0F636F943154}"/>
              </a:ext>
            </a:extLst>
          </p:cNvPr>
          <p:cNvCxnSpPr/>
          <p:nvPr/>
        </p:nvCxnSpPr>
        <p:spPr>
          <a:xfrm>
            <a:off x="421217" y="3077967"/>
            <a:ext cx="11377613" cy="0"/>
          </a:xfrm>
          <a:prstGeom prst="straightConnector1">
            <a:avLst/>
          </a:prstGeom>
          <a:ln w="508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9" name="Gruppieren 28">
            <a:extLst>
              <a:ext uri="{FF2B5EF4-FFF2-40B4-BE49-F238E27FC236}">
                <a16:creationId xmlns:a16="http://schemas.microsoft.com/office/drawing/2014/main" id="{62F7FCAA-5E3A-4499-9A33-61CBC8ADFD0F}"/>
              </a:ext>
            </a:extLst>
          </p:cNvPr>
          <p:cNvGrpSpPr/>
          <p:nvPr/>
        </p:nvGrpSpPr>
        <p:grpSpPr>
          <a:xfrm>
            <a:off x="1716388" y="2339063"/>
            <a:ext cx="7778379" cy="3721512"/>
            <a:chOff x="620515" y="2359279"/>
            <a:chExt cx="7778379" cy="3721512"/>
          </a:xfrm>
        </p:grpSpPr>
        <p:sp>
          <p:nvSpPr>
            <p:cNvPr id="92" name="Rechteck 91">
              <a:extLst>
                <a:ext uri="{FF2B5EF4-FFF2-40B4-BE49-F238E27FC236}">
                  <a16:creationId xmlns:a16="http://schemas.microsoft.com/office/drawing/2014/main" id="{B329F20A-F84B-4982-9D5C-554949BAE1D2}"/>
                </a:ext>
              </a:extLst>
            </p:cNvPr>
            <p:cNvSpPr/>
            <p:nvPr/>
          </p:nvSpPr>
          <p:spPr>
            <a:xfrm>
              <a:off x="620515" y="3155064"/>
              <a:ext cx="2774390" cy="37172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Usage Matrix  Apply Selection</a:t>
              </a:r>
            </a:p>
            <a:p>
              <a:endParaRPr lang="en-US" sz="1100" b="1">
                <a:solidFill>
                  <a:srgbClr val="002060"/>
                </a:solidFill>
              </a:endParaRPr>
            </a:p>
          </p:txBody>
        </p:sp>
        <p:sp>
          <p:nvSpPr>
            <p:cNvPr id="115" name="Ellipse 114">
              <a:extLst>
                <a:ext uri="{FF2B5EF4-FFF2-40B4-BE49-F238E27FC236}">
                  <a16:creationId xmlns:a16="http://schemas.microsoft.com/office/drawing/2014/main" id="{2074993C-EC93-4FCD-A6F8-1C3576E084A3}"/>
                </a:ext>
              </a:extLst>
            </p:cNvPr>
            <p:cNvSpPr/>
            <p:nvPr/>
          </p:nvSpPr>
          <p:spPr>
            <a:xfrm>
              <a:off x="637415" y="2974319"/>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cxnSp>
          <p:nvCxnSpPr>
            <p:cNvPr id="73" name="Verbinder: gewinkelt 72">
              <a:extLst>
                <a:ext uri="{FF2B5EF4-FFF2-40B4-BE49-F238E27FC236}">
                  <a16:creationId xmlns:a16="http://schemas.microsoft.com/office/drawing/2014/main" id="{0973B7D4-E791-4039-A366-1CF1E71C4DA8}"/>
                </a:ext>
              </a:extLst>
            </p:cNvPr>
            <p:cNvCxnSpPr>
              <a:cxnSpLocks/>
              <a:endCxn id="115" idx="0"/>
            </p:cNvCxnSpPr>
            <p:nvPr/>
          </p:nvCxnSpPr>
          <p:spPr>
            <a:xfrm rot="10800000" flipV="1">
              <a:off x="727415" y="2503279"/>
              <a:ext cx="1772032" cy="471040"/>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6BF68D7A-D2EA-49FF-9900-A04588D801DE}"/>
                </a:ext>
              </a:extLst>
            </p:cNvPr>
            <p:cNvCxnSpPr>
              <a:cxnSpLocks/>
            </p:cNvCxnSpPr>
            <p:nvPr/>
          </p:nvCxnSpPr>
          <p:spPr>
            <a:xfrm flipH="1">
              <a:off x="2498279" y="2359279"/>
              <a:ext cx="1168" cy="144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40" name="Grafik 39">
              <a:extLst>
                <a:ext uri="{FF2B5EF4-FFF2-40B4-BE49-F238E27FC236}">
                  <a16:creationId xmlns:a16="http://schemas.microsoft.com/office/drawing/2014/main" id="{1274EF66-438C-4F86-AD7C-3B61CB1EF1B1}"/>
                </a:ext>
              </a:extLst>
            </p:cNvPr>
            <p:cNvPicPr>
              <a:picLocks noChangeAspect="1"/>
            </p:cNvPicPr>
            <p:nvPr/>
          </p:nvPicPr>
          <p:blipFill>
            <a:blip r:embed="rId2"/>
            <a:stretch>
              <a:fillRect/>
            </a:stretch>
          </p:blipFill>
          <p:spPr>
            <a:xfrm>
              <a:off x="637415" y="3606681"/>
              <a:ext cx="7761479" cy="2474110"/>
            </a:xfrm>
            <a:prstGeom prst="rect">
              <a:avLst/>
            </a:prstGeom>
          </p:spPr>
        </p:pic>
        <p:sp>
          <p:nvSpPr>
            <p:cNvPr id="52" name="Rechteck: abgerundete Ecken 51">
              <a:extLst>
                <a:ext uri="{FF2B5EF4-FFF2-40B4-BE49-F238E27FC236}">
                  <a16:creationId xmlns:a16="http://schemas.microsoft.com/office/drawing/2014/main" id="{230E0065-AEA7-4AF1-B941-821271327166}"/>
                </a:ext>
              </a:extLst>
            </p:cNvPr>
            <p:cNvSpPr/>
            <p:nvPr/>
          </p:nvSpPr>
          <p:spPr>
            <a:xfrm rot="10800000">
              <a:off x="6491250" y="3780033"/>
              <a:ext cx="1152128" cy="549065"/>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grpSp>
      <p:sp>
        <p:nvSpPr>
          <p:cNvPr id="4" name="Foliennummernplatzhalter 3">
            <a:extLst>
              <a:ext uri="{FF2B5EF4-FFF2-40B4-BE49-F238E27FC236}">
                <a16:creationId xmlns:a16="http://schemas.microsoft.com/office/drawing/2014/main" id="{0C908609-D963-42E0-A7B6-EA418B692855}"/>
              </a:ext>
            </a:extLst>
          </p:cNvPr>
          <p:cNvSpPr>
            <a:spLocks noGrp="1"/>
          </p:cNvSpPr>
          <p:nvPr>
            <p:ph type="sldNum" sz="quarter" idx="11"/>
          </p:nvPr>
        </p:nvSpPr>
        <p:spPr/>
        <p:txBody>
          <a:bodyPr/>
          <a:lstStyle/>
          <a:p>
            <a:fld id="{221F1D72-F2AC-4B6E-A46C-E63D2CF40C7B}" type="slidenum">
              <a:rPr lang="de-DE" smtClean="0"/>
              <a:pPr/>
              <a:t>24</a:t>
            </a:fld>
            <a:endParaRPr lang="de-DE"/>
          </a:p>
        </p:txBody>
      </p:sp>
      <p:sp>
        <p:nvSpPr>
          <p:cNvPr id="3" name="Date Placeholder 2">
            <a:extLst>
              <a:ext uri="{FF2B5EF4-FFF2-40B4-BE49-F238E27FC236}">
                <a16:creationId xmlns:a16="http://schemas.microsoft.com/office/drawing/2014/main" id="{5DF6E183-91B5-45B3-9297-5371B85624A3}"/>
              </a:ext>
            </a:extLst>
          </p:cNvPr>
          <p:cNvSpPr>
            <a:spLocks noGrp="1"/>
          </p:cNvSpPr>
          <p:nvPr>
            <p:ph type="dt" sz="half" idx="10"/>
          </p:nvPr>
        </p:nvSpPr>
        <p:spPr/>
        <p:txBody>
          <a:bodyPr/>
          <a:lstStyle/>
          <a:p>
            <a:r>
              <a:rPr lang="en-US"/>
              <a:t>21/08/2019</a:t>
            </a:r>
            <a:endParaRPr lang="de-DE" dirty="0"/>
          </a:p>
        </p:txBody>
      </p:sp>
      <p:grpSp>
        <p:nvGrpSpPr>
          <p:cNvPr id="33" name="Gruppieren 23">
            <a:extLst>
              <a:ext uri="{FF2B5EF4-FFF2-40B4-BE49-F238E27FC236}">
                <a16:creationId xmlns:a16="http://schemas.microsoft.com/office/drawing/2014/main" id="{7DC4CE6E-ECF4-44A9-A628-F6462D7C3725}"/>
              </a:ext>
            </a:extLst>
          </p:cNvPr>
          <p:cNvGrpSpPr/>
          <p:nvPr/>
        </p:nvGrpSpPr>
        <p:grpSpPr>
          <a:xfrm>
            <a:off x="8543478" y="116632"/>
            <a:ext cx="790389" cy="880719"/>
            <a:chOff x="4989407" y="2549111"/>
            <a:chExt cx="1904103" cy="2121714"/>
          </a:xfrm>
        </p:grpSpPr>
        <p:pic>
          <p:nvPicPr>
            <p:cNvPr id="34" name="Grafik 24">
              <a:extLst>
                <a:ext uri="{FF2B5EF4-FFF2-40B4-BE49-F238E27FC236}">
                  <a16:creationId xmlns:a16="http://schemas.microsoft.com/office/drawing/2014/main" id="{96A751C5-916C-4213-8BCF-C0DAE76F64E6}"/>
                </a:ext>
              </a:extLst>
            </p:cNvPr>
            <p:cNvPicPr>
              <a:picLocks noChangeAspect="1"/>
            </p:cNvPicPr>
            <p:nvPr/>
          </p:nvPicPr>
          <p:blipFill>
            <a:blip r:embed="rId3" cstate="screen">
              <a:biLevel thresh="7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004810" y="2563284"/>
              <a:ext cx="1873296" cy="2093368"/>
            </a:xfrm>
            <a:prstGeom prst="rect">
              <a:avLst/>
            </a:prstGeom>
            <a:effectLst/>
          </p:spPr>
        </p:pic>
        <p:pic>
          <p:nvPicPr>
            <p:cNvPr id="35" name="Grafik 25">
              <a:extLst>
                <a:ext uri="{FF2B5EF4-FFF2-40B4-BE49-F238E27FC236}">
                  <a16:creationId xmlns:a16="http://schemas.microsoft.com/office/drawing/2014/main" id="{71CA06BA-09BD-45DF-98BC-19B29C96164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89407" y="2549111"/>
              <a:ext cx="1904103" cy="2121714"/>
            </a:xfrm>
            <a:prstGeom prst="rect">
              <a:avLst/>
            </a:prstGeom>
          </p:spPr>
        </p:pic>
      </p:grpSp>
      <p:pic>
        <p:nvPicPr>
          <p:cNvPr id="36" name="Picture 35">
            <a:extLst>
              <a:ext uri="{FF2B5EF4-FFF2-40B4-BE49-F238E27FC236}">
                <a16:creationId xmlns:a16="http://schemas.microsoft.com/office/drawing/2014/main" id="{2CB621EE-7067-4B29-8FE9-835AC0E972CE}"/>
              </a:ext>
            </a:extLst>
          </p:cNvPr>
          <p:cNvPicPr>
            <a:picLocks noChangeAspect="1"/>
          </p:cNvPicPr>
          <p:nvPr/>
        </p:nvPicPr>
        <p:blipFill>
          <a:blip r:embed="rId6"/>
          <a:stretch>
            <a:fillRect/>
          </a:stretch>
        </p:blipFill>
        <p:spPr>
          <a:xfrm>
            <a:off x="9994951" y="384669"/>
            <a:ext cx="1311958" cy="411043"/>
          </a:xfrm>
          <a:prstGeom prst="rect">
            <a:avLst/>
          </a:prstGeom>
        </p:spPr>
      </p:pic>
      <p:sp>
        <p:nvSpPr>
          <p:cNvPr id="37" name="Footer Placeholder 5">
            <a:extLst>
              <a:ext uri="{FF2B5EF4-FFF2-40B4-BE49-F238E27FC236}">
                <a16:creationId xmlns:a16="http://schemas.microsoft.com/office/drawing/2014/main" id="{9632674A-2356-4521-8336-747172CB048A}"/>
              </a:ext>
            </a:extLst>
          </p:cNvPr>
          <p:cNvSpPr txBox="1">
            <a:spLocks/>
          </p:cNvSpPr>
          <p:nvPr/>
        </p:nvSpPr>
        <p:spPr>
          <a:xfrm>
            <a:off x="1054646" y="6475131"/>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GB" sz="900" dirty="0">
                <a:solidFill>
                  <a:srgbClr val="6F6F6F"/>
                </a:solidFill>
              </a:rPr>
              <a:t>NZSUG Auckland Event + SAP Forum</a:t>
            </a:r>
            <a:endParaRPr lang="de-DE" sz="900" dirty="0">
              <a:solidFill>
                <a:srgbClr val="6F6F6F"/>
              </a:solidFill>
            </a:endParaRPr>
          </a:p>
        </p:txBody>
      </p:sp>
    </p:spTree>
    <p:extLst>
      <p:ext uri="{BB962C8B-B14F-4D97-AF65-F5344CB8AC3E}">
        <p14:creationId xmlns:p14="http://schemas.microsoft.com/office/powerpoint/2010/main" val="181844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40920-0B37-4D42-AC85-780EE4217D39}"/>
              </a:ext>
            </a:extLst>
          </p:cNvPr>
          <p:cNvSpPr>
            <a:spLocks noGrp="1"/>
          </p:cNvSpPr>
          <p:nvPr>
            <p:ph type="title"/>
          </p:nvPr>
        </p:nvSpPr>
        <p:spPr/>
        <p:txBody>
          <a:bodyPr/>
          <a:lstStyle/>
          <a:p>
            <a:r>
              <a:rPr lang="en-GB" noProof="0" dirty="0"/>
              <a:t>Time Slice powered by CrystalBridge</a:t>
            </a:r>
          </a:p>
        </p:txBody>
      </p:sp>
      <p:grpSp>
        <p:nvGrpSpPr>
          <p:cNvPr id="21" name="Gruppieren 20">
            <a:extLst>
              <a:ext uri="{FF2B5EF4-FFF2-40B4-BE49-F238E27FC236}">
                <a16:creationId xmlns:a16="http://schemas.microsoft.com/office/drawing/2014/main" id="{254A7253-8B3B-4DC0-BFC3-69E97D61BFC1}"/>
              </a:ext>
            </a:extLst>
          </p:cNvPr>
          <p:cNvGrpSpPr/>
          <p:nvPr/>
        </p:nvGrpSpPr>
        <p:grpSpPr>
          <a:xfrm>
            <a:off x="406400" y="1528088"/>
            <a:ext cx="11464697" cy="975191"/>
            <a:chOff x="406400" y="3037320"/>
            <a:chExt cx="11464697" cy="1079483"/>
          </a:xfrm>
        </p:grpSpPr>
        <p:sp>
          <p:nvSpPr>
            <p:cNvPr id="7" name="Rechteck 6">
              <a:extLst>
                <a:ext uri="{FF2B5EF4-FFF2-40B4-BE49-F238E27FC236}">
                  <a16:creationId xmlns:a16="http://schemas.microsoft.com/office/drawing/2014/main" id="{94DF3FA5-117D-49A6-8266-614AEF9F9DE5}"/>
                </a:ext>
              </a:extLst>
            </p:cNvPr>
            <p:cNvSpPr/>
            <p:nvPr/>
          </p:nvSpPr>
          <p:spPr>
            <a:xfrm>
              <a:off x="605698" y="3218064"/>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1. Organize</a:t>
              </a:r>
              <a:endParaRPr lang="en-US" sz="1100" b="1">
                <a:solidFill>
                  <a:srgbClr val="002060"/>
                </a:solidFill>
              </a:endParaRPr>
            </a:p>
            <a:p>
              <a:r>
                <a:rPr lang="en-US" sz="1000">
                  <a:solidFill>
                    <a:srgbClr val="002060"/>
                  </a:solidFill>
                </a:rPr>
                <a:t>Selection of Org-Units in use</a:t>
              </a:r>
            </a:p>
          </p:txBody>
        </p:sp>
        <p:sp>
          <p:nvSpPr>
            <p:cNvPr id="8" name="Rechteck 7">
              <a:extLst>
                <a:ext uri="{FF2B5EF4-FFF2-40B4-BE49-F238E27FC236}">
                  <a16:creationId xmlns:a16="http://schemas.microsoft.com/office/drawing/2014/main" id="{5BD1F924-62C2-4A37-AEB3-09986D0ACA93}"/>
                </a:ext>
              </a:extLst>
            </p:cNvPr>
            <p:cNvSpPr/>
            <p:nvPr/>
          </p:nvSpPr>
          <p:spPr>
            <a:xfrm>
              <a:off x="2429769" y="322378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2. Design</a:t>
              </a:r>
              <a:endParaRPr lang="en-US" sz="1100" b="1">
                <a:solidFill>
                  <a:srgbClr val="002060"/>
                </a:solidFill>
              </a:endParaRPr>
            </a:p>
            <a:p>
              <a:r>
                <a:rPr lang="en-US" sz="1000">
                  <a:solidFill>
                    <a:srgbClr val="002060"/>
                  </a:solidFill>
                </a:rPr>
                <a:t>Check Migration Objects used by selected Org-Units</a:t>
              </a:r>
            </a:p>
          </p:txBody>
        </p:sp>
        <p:sp>
          <p:nvSpPr>
            <p:cNvPr id="9" name="Rechteck 8">
              <a:extLst>
                <a:ext uri="{FF2B5EF4-FFF2-40B4-BE49-F238E27FC236}">
                  <a16:creationId xmlns:a16="http://schemas.microsoft.com/office/drawing/2014/main" id="{4905A7B8-8123-4DE5-BFF7-417770071969}"/>
                </a:ext>
              </a:extLst>
            </p:cNvPr>
            <p:cNvSpPr/>
            <p:nvPr/>
          </p:nvSpPr>
          <p:spPr>
            <a:xfrm>
              <a:off x="4326447"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3. Time Based Selection</a:t>
              </a:r>
              <a:endParaRPr lang="en-US" sz="1100" b="1">
                <a:solidFill>
                  <a:srgbClr val="002060"/>
                </a:solidFill>
              </a:endParaRPr>
            </a:p>
            <a:p>
              <a:r>
                <a:rPr lang="en-US" sz="1000">
                  <a:solidFill>
                    <a:srgbClr val="002060"/>
                  </a:solidFill>
                </a:rPr>
                <a:t>See Tables and Objects to be migrated</a:t>
              </a:r>
            </a:p>
          </p:txBody>
        </p:sp>
        <p:sp>
          <p:nvSpPr>
            <p:cNvPr id="10" name="Rechteck 9">
              <a:extLst>
                <a:ext uri="{FF2B5EF4-FFF2-40B4-BE49-F238E27FC236}">
                  <a16:creationId xmlns:a16="http://schemas.microsoft.com/office/drawing/2014/main" id="{C0A58272-A02B-4F74-B338-85B6A11B1B78}"/>
                </a:ext>
              </a:extLst>
            </p:cNvPr>
            <p:cNvSpPr/>
            <p:nvPr/>
          </p:nvSpPr>
          <p:spPr>
            <a:xfrm>
              <a:off x="6175223"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dirty="0">
                  <a:solidFill>
                    <a:srgbClr val="002060"/>
                  </a:solidFill>
                </a:rPr>
                <a:t>4. Plan</a:t>
              </a:r>
              <a:endParaRPr lang="en-US" sz="1100" b="1" dirty="0">
                <a:solidFill>
                  <a:srgbClr val="002060"/>
                </a:solidFill>
              </a:endParaRPr>
            </a:p>
            <a:p>
              <a:r>
                <a:rPr lang="en-US" sz="1000" dirty="0">
                  <a:solidFill>
                    <a:srgbClr val="002060"/>
                  </a:solidFill>
                </a:rPr>
                <a:t>S/4HANA Migration</a:t>
              </a:r>
            </a:p>
            <a:p>
              <a:r>
                <a:rPr lang="en-US" sz="1000" dirty="0">
                  <a:solidFill>
                    <a:srgbClr val="002060"/>
                  </a:solidFill>
                </a:rPr>
                <a:t>Business Questionnaire</a:t>
              </a:r>
            </a:p>
          </p:txBody>
        </p:sp>
        <p:sp>
          <p:nvSpPr>
            <p:cNvPr id="11" name="Rechteck 10">
              <a:extLst>
                <a:ext uri="{FF2B5EF4-FFF2-40B4-BE49-F238E27FC236}">
                  <a16:creationId xmlns:a16="http://schemas.microsoft.com/office/drawing/2014/main" id="{1B07C04B-72FE-4DE5-AE01-CBD485A5FCDF}"/>
                </a:ext>
              </a:extLst>
            </p:cNvPr>
            <p:cNvSpPr/>
            <p:nvPr/>
          </p:nvSpPr>
          <p:spPr>
            <a:xfrm>
              <a:off x="8066522" y="3205763"/>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dirty="0">
                  <a:solidFill>
                    <a:srgbClr val="002060"/>
                  </a:solidFill>
                </a:rPr>
                <a:t>5. Setup</a:t>
              </a:r>
            </a:p>
            <a:p>
              <a:r>
                <a:rPr lang="en-US" sz="1000" dirty="0">
                  <a:solidFill>
                    <a:srgbClr val="002060"/>
                  </a:solidFill>
                </a:rPr>
                <a:t>Download the scoping results to start the Project</a:t>
              </a:r>
            </a:p>
          </p:txBody>
        </p:sp>
        <p:sp>
          <p:nvSpPr>
            <p:cNvPr id="12" name="Rechteck 11">
              <a:extLst>
                <a:ext uri="{FF2B5EF4-FFF2-40B4-BE49-F238E27FC236}">
                  <a16:creationId xmlns:a16="http://schemas.microsoft.com/office/drawing/2014/main" id="{A15B490D-0100-4089-B5B6-913947B04C97}"/>
                </a:ext>
              </a:extLst>
            </p:cNvPr>
            <p:cNvSpPr/>
            <p:nvPr/>
          </p:nvSpPr>
          <p:spPr>
            <a:xfrm>
              <a:off x="9992165" y="3201315"/>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6. Control</a:t>
              </a:r>
              <a:endParaRPr lang="en-US" sz="1100" b="1">
                <a:solidFill>
                  <a:srgbClr val="002060"/>
                </a:solidFill>
              </a:endParaRPr>
            </a:p>
            <a:p>
              <a:r>
                <a:rPr lang="en-US" sz="1000">
                  <a:solidFill>
                    <a:srgbClr val="002060"/>
                  </a:solidFill>
                </a:rPr>
                <a:t>Control the project in Solman</a:t>
              </a:r>
            </a:p>
          </p:txBody>
        </p:sp>
        <p:cxnSp>
          <p:nvCxnSpPr>
            <p:cNvPr id="14" name="Gerade Verbindung mit Pfeil 13">
              <a:extLst>
                <a:ext uri="{FF2B5EF4-FFF2-40B4-BE49-F238E27FC236}">
                  <a16:creationId xmlns:a16="http://schemas.microsoft.com/office/drawing/2014/main" id="{1FB74D42-4D44-4FE5-B24E-1F0C17603D5A}"/>
                </a:ext>
              </a:extLst>
            </p:cNvPr>
            <p:cNvCxnSpPr/>
            <p:nvPr/>
          </p:nvCxnSpPr>
          <p:spPr>
            <a:xfrm>
              <a:off x="406400" y="3140968"/>
              <a:ext cx="11377613" cy="0"/>
            </a:xfrm>
            <a:prstGeom prst="straightConnector1">
              <a:avLst/>
            </a:prstGeom>
            <a:ln w="508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Ellipse 14">
              <a:extLst>
                <a:ext uri="{FF2B5EF4-FFF2-40B4-BE49-F238E27FC236}">
                  <a16:creationId xmlns:a16="http://schemas.microsoft.com/office/drawing/2014/main" id="{3CAF8349-A5A1-442F-8840-E81F04C4E13F}"/>
                </a:ext>
              </a:extLst>
            </p:cNvPr>
            <p:cNvSpPr/>
            <p:nvPr/>
          </p:nvSpPr>
          <p:spPr>
            <a:xfrm>
              <a:off x="622598" y="303732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6" name="Ellipse 15">
              <a:extLst>
                <a:ext uri="{FF2B5EF4-FFF2-40B4-BE49-F238E27FC236}">
                  <a16:creationId xmlns:a16="http://schemas.microsoft.com/office/drawing/2014/main" id="{F9E7DC64-5772-49A0-8641-B2F19ECF2A8F}"/>
                </a:ext>
              </a:extLst>
            </p:cNvPr>
            <p:cNvSpPr/>
            <p:nvPr/>
          </p:nvSpPr>
          <p:spPr>
            <a:xfrm>
              <a:off x="2422798" y="3041578"/>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7" name="Ellipse 16">
              <a:extLst>
                <a:ext uri="{FF2B5EF4-FFF2-40B4-BE49-F238E27FC236}">
                  <a16:creationId xmlns:a16="http://schemas.microsoft.com/office/drawing/2014/main" id="{B6C35302-3BD4-48BB-B198-6F4FBC05E076}"/>
                </a:ext>
              </a:extLst>
            </p:cNvPr>
            <p:cNvSpPr/>
            <p:nvPr/>
          </p:nvSpPr>
          <p:spPr>
            <a:xfrm>
              <a:off x="4331030" y="3041882"/>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8" name="Ellipse 17">
              <a:extLst>
                <a:ext uri="{FF2B5EF4-FFF2-40B4-BE49-F238E27FC236}">
                  <a16:creationId xmlns:a16="http://schemas.microsoft.com/office/drawing/2014/main" id="{B6DC7796-64E3-4061-9ECB-6FB1F9B4991C}"/>
                </a:ext>
              </a:extLst>
            </p:cNvPr>
            <p:cNvSpPr/>
            <p:nvPr/>
          </p:nvSpPr>
          <p:spPr>
            <a:xfrm>
              <a:off x="6167214" y="304614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9" name="Ellipse 18">
              <a:extLst>
                <a:ext uri="{FF2B5EF4-FFF2-40B4-BE49-F238E27FC236}">
                  <a16:creationId xmlns:a16="http://schemas.microsoft.com/office/drawing/2014/main" id="{1B53BBCB-2B7A-4ADA-A44B-55747D625216}"/>
                </a:ext>
              </a:extLst>
            </p:cNvPr>
            <p:cNvSpPr/>
            <p:nvPr/>
          </p:nvSpPr>
          <p:spPr>
            <a:xfrm>
              <a:off x="8075446" y="3045967"/>
              <a:ext cx="180000" cy="180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20" name="Ellipse 19">
              <a:extLst>
                <a:ext uri="{FF2B5EF4-FFF2-40B4-BE49-F238E27FC236}">
                  <a16:creationId xmlns:a16="http://schemas.microsoft.com/office/drawing/2014/main" id="{95972A82-0734-4BC8-988D-A2E14E53E3F3}"/>
                </a:ext>
              </a:extLst>
            </p:cNvPr>
            <p:cNvSpPr/>
            <p:nvPr/>
          </p:nvSpPr>
          <p:spPr>
            <a:xfrm>
              <a:off x="9983658" y="3050225"/>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grpSp>
      <p:sp>
        <p:nvSpPr>
          <p:cNvPr id="22" name="Rechteck 21">
            <a:extLst>
              <a:ext uri="{FF2B5EF4-FFF2-40B4-BE49-F238E27FC236}">
                <a16:creationId xmlns:a16="http://schemas.microsoft.com/office/drawing/2014/main" id="{561EC3A5-AF60-444C-8E52-7783786AADC5}"/>
              </a:ext>
            </a:extLst>
          </p:cNvPr>
          <p:cNvSpPr/>
          <p:nvPr/>
        </p:nvSpPr>
        <p:spPr>
          <a:xfrm>
            <a:off x="366026" y="1203762"/>
            <a:ext cx="3028879"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dirty="0">
                <a:solidFill>
                  <a:srgbClr val="002060"/>
                </a:solidFill>
              </a:rPr>
              <a:t>Steps in CrystalBridge</a:t>
            </a:r>
            <a:endParaRPr lang="en-US" sz="1000" dirty="0">
              <a:solidFill>
                <a:srgbClr val="002060"/>
              </a:solidFill>
            </a:endParaRPr>
          </a:p>
        </p:txBody>
      </p:sp>
      <p:cxnSp>
        <p:nvCxnSpPr>
          <p:cNvPr id="114" name="Gerade Verbindung mit Pfeil 113">
            <a:extLst>
              <a:ext uri="{FF2B5EF4-FFF2-40B4-BE49-F238E27FC236}">
                <a16:creationId xmlns:a16="http://schemas.microsoft.com/office/drawing/2014/main" id="{F94C73DD-A426-4E96-94A9-0F636F943154}"/>
              </a:ext>
            </a:extLst>
          </p:cNvPr>
          <p:cNvCxnSpPr/>
          <p:nvPr/>
        </p:nvCxnSpPr>
        <p:spPr>
          <a:xfrm>
            <a:off x="421217" y="3077967"/>
            <a:ext cx="11377613" cy="0"/>
          </a:xfrm>
          <a:prstGeom prst="straightConnector1">
            <a:avLst/>
          </a:prstGeom>
          <a:ln w="508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5" name="Gruppieren 64">
            <a:extLst>
              <a:ext uri="{FF2B5EF4-FFF2-40B4-BE49-F238E27FC236}">
                <a16:creationId xmlns:a16="http://schemas.microsoft.com/office/drawing/2014/main" id="{01324477-C901-4E4F-8A07-F19962E313C0}"/>
              </a:ext>
            </a:extLst>
          </p:cNvPr>
          <p:cNvGrpSpPr/>
          <p:nvPr/>
        </p:nvGrpSpPr>
        <p:grpSpPr>
          <a:xfrm>
            <a:off x="622597" y="2486995"/>
            <a:ext cx="5520421" cy="942006"/>
            <a:chOff x="622597" y="2348880"/>
            <a:chExt cx="5520421" cy="1216062"/>
          </a:xfrm>
        </p:grpSpPr>
        <p:cxnSp>
          <p:nvCxnSpPr>
            <p:cNvPr id="48" name="Gerader Verbinder 47">
              <a:extLst>
                <a:ext uri="{FF2B5EF4-FFF2-40B4-BE49-F238E27FC236}">
                  <a16:creationId xmlns:a16="http://schemas.microsoft.com/office/drawing/2014/main" id="{98E95E23-9973-4B67-95F4-A69D7E8A565E}"/>
                </a:ext>
              </a:extLst>
            </p:cNvPr>
            <p:cNvCxnSpPr>
              <a:cxnSpLocks/>
            </p:cNvCxnSpPr>
            <p:nvPr/>
          </p:nvCxnSpPr>
          <p:spPr>
            <a:xfrm>
              <a:off x="4425408" y="2348880"/>
              <a:ext cx="0" cy="21049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Rechteck 43">
              <a:extLst>
                <a:ext uri="{FF2B5EF4-FFF2-40B4-BE49-F238E27FC236}">
                  <a16:creationId xmlns:a16="http://schemas.microsoft.com/office/drawing/2014/main" id="{3A62E6B6-5707-4DF5-9A92-999C14541217}"/>
                </a:ext>
              </a:extLst>
            </p:cNvPr>
            <p:cNvSpPr/>
            <p:nvPr/>
          </p:nvSpPr>
          <p:spPr>
            <a:xfrm>
              <a:off x="622597" y="3209967"/>
              <a:ext cx="5520421" cy="3549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Define the time slice in selected Org. Units</a:t>
              </a:r>
              <a:endParaRPr lang="en-US" sz="1100" b="1">
                <a:solidFill>
                  <a:srgbClr val="002060"/>
                </a:solidFill>
              </a:endParaRPr>
            </a:p>
          </p:txBody>
        </p:sp>
        <p:sp>
          <p:nvSpPr>
            <p:cNvPr id="45" name="Ellipse 44">
              <a:extLst>
                <a:ext uri="{FF2B5EF4-FFF2-40B4-BE49-F238E27FC236}">
                  <a16:creationId xmlns:a16="http://schemas.microsoft.com/office/drawing/2014/main" id="{3A7CAE05-FF60-4F4C-A1CF-BA4E9AB6D3F2}"/>
                </a:ext>
              </a:extLst>
            </p:cNvPr>
            <p:cNvSpPr/>
            <p:nvPr/>
          </p:nvSpPr>
          <p:spPr>
            <a:xfrm>
              <a:off x="622598" y="2999043"/>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cxnSp>
          <p:nvCxnSpPr>
            <p:cNvPr id="46" name="Verbinder: gewinkelt 45">
              <a:extLst>
                <a:ext uri="{FF2B5EF4-FFF2-40B4-BE49-F238E27FC236}">
                  <a16:creationId xmlns:a16="http://schemas.microsoft.com/office/drawing/2014/main" id="{F7F3FFA5-28D0-4DF4-8E3D-5CE273214273}"/>
                </a:ext>
              </a:extLst>
            </p:cNvPr>
            <p:cNvCxnSpPr>
              <a:cxnSpLocks/>
              <a:endCxn id="45" idx="0"/>
            </p:cNvCxnSpPr>
            <p:nvPr/>
          </p:nvCxnSpPr>
          <p:spPr>
            <a:xfrm rot="10800000" flipV="1">
              <a:off x="712598" y="2559375"/>
              <a:ext cx="3712810" cy="439667"/>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Grafik 4">
            <a:extLst>
              <a:ext uri="{FF2B5EF4-FFF2-40B4-BE49-F238E27FC236}">
                <a16:creationId xmlns:a16="http://schemas.microsoft.com/office/drawing/2014/main" id="{DCE68D5A-0F44-4FD0-8EBB-EE665CA55D9A}"/>
              </a:ext>
            </a:extLst>
          </p:cNvPr>
          <p:cNvPicPr>
            <a:picLocks noChangeAspect="1"/>
          </p:cNvPicPr>
          <p:nvPr/>
        </p:nvPicPr>
        <p:blipFill>
          <a:blip r:embed="rId2"/>
          <a:stretch>
            <a:fillRect/>
          </a:stretch>
        </p:blipFill>
        <p:spPr>
          <a:xfrm>
            <a:off x="540060" y="3505057"/>
            <a:ext cx="6095206" cy="2905159"/>
          </a:xfrm>
          <a:prstGeom prst="rect">
            <a:avLst/>
          </a:prstGeom>
        </p:spPr>
      </p:pic>
      <p:pic>
        <p:nvPicPr>
          <p:cNvPr id="6" name="Grafik 5">
            <a:extLst>
              <a:ext uri="{FF2B5EF4-FFF2-40B4-BE49-F238E27FC236}">
                <a16:creationId xmlns:a16="http://schemas.microsoft.com/office/drawing/2014/main" id="{5FA0D2ED-20D4-476C-A396-330E69A3406E}"/>
              </a:ext>
            </a:extLst>
          </p:cNvPr>
          <p:cNvPicPr>
            <a:picLocks noChangeAspect="1"/>
          </p:cNvPicPr>
          <p:nvPr/>
        </p:nvPicPr>
        <p:blipFill>
          <a:blip r:embed="rId3"/>
          <a:stretch>
            <a:fillRect/>
          </a:stretch>
        </p:blipFill>
        <p:spPr>
          <a:xfrm>
            <a:off x="7894181" y="3786486"/>
            <a:ext cx="3010887" cy="2597841"/>
          </a:xfrm>
          <a:prstGeom prst="rect">
            <a:avLst/>
          </a:prstGeom>
        </p:spPr>
      </p:pic>
      <p:cxnSp>
        <p:nvCxnSpPr>
          <p:cNvPr id="23" name="Gerade Verbindung mit Pfeil 22">
            <a:extLst>
              <a:ext uri="{FF2B5EF4-FFF2-40B4-BE49-F238E27FC236}">
                <a16:creationId xmlns:a16="http://schemas.microsoft.com/office/drawing/2014/main" id="{A16FCAA5-4989-4890-9A3E-EEE645CD228A}"/>
              </a:ext>
            </a:extLst>
          </p:cNvPr>
          <p:cNvCxnSpPr/>
          <p:nvPr/>
        </p:nvCxnSpPr>
        <p:spPr>
          <a:xfrm>
            <a:off x="6743278" y="5318254"/>
            <a:ext cx="9001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 name="Foliennummernplatzhalter 3">
            <a:extLst>
              <a:ext uri="{FF2B5EF4-FFF2-40B4-BE49-F238E27FC236}">
                <a16:creationId xmlns:a16="http://schemas.microsoft.com/office/drawing/2014/main" id="{75133D88-2897-4B1D-9562-1E3E3A0D7159}"/>
              </a:ext>
            </a:extLst>
          </p:cNvPr>
          <p:cNvSpPr>
            <a:spLocks noGrp="1"/>
          </p:cNvSpPr>
          <p:nvPr>
            <p:ph type="sldNum" sz="quarter" idx="11"/>
          </p:nvPr>
        </p:nvSpPr>
        <p:spPr/>
        <p:txBody>
          <a:bodyPr/>
          <a:lstStyle/>
          <a:p>
            <a:fld id="{221F1D72-F2AC-4B6E-A46C-E63D2CF40C7B}" type="slidenum">
              <a:rPr lang="de-DE" smtClean="0"/>
              <a:pPr/>
              <a:t>25</a:t>
            </a:fld>
            <a:endParaRPr lang="de-DE"/>
          </a:p>
        </p:txBody>
      </p:sp>
      <p:sp>
        <p:nvSpPr>
          <p:cNvPr id="3" name="Date Placeholder 2">
            <a:extLst>
              <a:ext uri="{FF2B5EF4-FFF2-40B4-BE49-F238E27FC236}">
                <a16:creationId xmlns:a16="http://schemas.microsoft.com/office/drawing/2014/main" id="{673EE450-DE21-4452-8522-85966E4906E9}"/>
              </a:ext>
            </a:extLst>
          </p:cNvPr>
          <p:cNvSpPr>
            <a:spLocks noGrp="1"/>
          </p:cNvSpPr>
          <p:nvPr>
            <p:ph type="dt" sz="half" idx="10"/>
          </p:nvPr>
        </p:nvSpPr>
        <p:spPr/>
        <p:txBody>
          <a:bodyPr/>
          <a:lstStyle/>
          <a:p>
            <a:r>
              <a:rPr lang="en-US"/>
              <a:t>21/08/2019</a:t>
            </a:r>
            <a:endParaRPr lang="de-DE" dirty="0"/>
          </a:p>
        </p:txBody>
      </p:sp>
      <p:grpSp>
        <p:nvGrpSpPr>
          <p:cNvPr id="33" name="Gruppieren 23">
            <a:extLst>
              <a:ext uri="{FF2B5EF4-FFF2-40B4-BE49-F238E27FC236}">
                <a16:creationId xmlns:a16="http://schemas.microsoft.com/office/drawing/2014/main" id="{96ED7929-8A27-4410-AA8D-8F0C873DD4F3}"/>
              </a:ext>
            </a:extLst>
          </p:cNvPr>
          <p:cNvGrpSpPr/>
          <p:nvPr/>
        </p:nvGrpSpPr>
        <p:grpSpPr>
          <a:xfrm>
            <a:off x="8543478" y="116632"/>
            <a:ext cx="790389" cy="880719"/>
            <a:chOff x="4989407" y="2549111"/>
            <a:chExt cx="1904103" cy="2121714"/>
          </a:xfrm>
        </p:grpSpPr>
        <p:pic>
          <p:nvPicPr>
            <p:cNvPr id="34" name="Grafik 24">
              <a:extLst>
                <a:ext uri="{FF2B5EF4-FFF2-40B4-BE49-F238E27FC236}">
                  <a16:creationId xmlns:a16="http://schemas.microsoft.com/office/drawing/2014/main" id="{ED6FCE7D-1B65-42B9-923B-4AB8B2EF9D2F}"/>
                </a:ext>
              </a:extLst>
            </p:cNvPr>
            <p:cNvPicPr>
              <a:picLocks noChangeAspect="1"/>
            </p:cNvPicPr>
            <p:nvPr/>
          </p:nvPicPr>
          <p:blipFill>
            <a:blip r:embed="rId4" cstate="screen">
              <a:biLevel thresh="7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004810" y="2563284"/>
              <a:ext cx="1873296" cy="2093368"/>
            </a:xfrm>
            <a:prstGeom prst="rect">
              <a:avLst/>
            </a:prstGeom>
            <a:effectLst/>
          </p:spPr>
        </p:pic>
        <p:pic>
          <p:nvPicPr>
            <p:cNvPr id="35" name="Grafik 25">
              <a:extLst>
                <a:ext uri="{FF2B5EF4-FFF2-40B4-BE49-F238E27FC236}">
                  <a16:creationId xmlns:a16="http://schemas.microsoft.com/office/drawing/2014/main" id="{B5A4EBFF-E055-4930-ACE7-5251DAC7E52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89407" y="2549111"/>
              <a:ext cx="1904103" cy="2121714"/>
            </a:xfrm>
            <a:prstGeom prst="rect">
              <a:avLst/>
            </a:prstGeom>
          </p:spPr>
        </p:pic>
      </p:grpSp>
      <p:pic>
        <p:nvPicPr>
          <p:cNvPr id="36" name="Picture 35">
            <a:extLst>
              <a:ext uri="{FF2B5EF4-FFF2-40B4-BE49-F238E27FC236}">
                <a16:creationId xmlns:a16="http://schemas.microsoft.com/office/drawing/2014/main" id="{F3B37A90-3736-4801-A98F-7E9FA0265C20}"/>
              </a:ext>
            </a:extLst>
          </p:cNvPr>
          <p:cNvPicPr>
            <a:picLocks noChangeAspect="1"/>
          </p:cNvPicPr>
          <p:nvPr/>
        </p:nvPicPr>
        <p:blipFill>
          <a:blip r:embed="rId7"/>
          <a:stretch>
            <a:fillRect/>
          </a:stretch>
        </p:blipFill>
        <p:spPr>
          <a:xfrm>
            <a:off x="9994951" y="384669"/>
            <a:ext cx="1311958" cy="411043"/>
          </a:xfrm>
          <a:prstGeom prst="rect">
            <a:avLst/>
          </a:prstGeom>
        </p:spPr>
      </p:pic>
      <p:sp>
        <p:nvSpPr>
          <p:cNvPr id="38" name="Footer Placeholder 5">
            <a:extLst>
              <a:ext uri="{FF2B5EF4-FFF2-40B4-BE49-F238E27FC236}">
                <a16:creationId xmlns:a16="http://schemas.microsoft.com/office/drawing/2014/main" id="{67F89118-3C5F-43AF-9351-D9B08BF49927}"/>
              </a:ext>
            </a:extLst>
          </p:cNvPr>
          <p:cNvSpPr txBox="1">
            <a:spLocks/>
          </p:cNvSpPr>
          <p:nvPr/>
        </p:nvSpPr>
        <p:spPr>
          <a:xfrm>
            <a:off x="1054646" y="6475131"/>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GB" sz="900" dirty="0">
                <a:solidFill>
                  <a:srgbClr val="6F6F6F"/>
                </a:solidFill>
              </a:rPr>
              <a:t>NZSUG Auckland Event + SAP Forum</a:t>
            </a:r>
            <a:endParaRPr lang="de-DE" sz="900" dirty="0">
              <a:solidFill>
                <a:srgbClr val="6F6F6F"/>
              </a:solidFill>
            </a:endParaRPr>
          </a:p>
        </p:txBody>
      </p:sp>
    </p:spTree>
    <p:extLst>
      <p:ext uri="{BB962C8B-B14F-4D97-AF65-F5344CB8AC3E}">
        <p14:creationId xmlns:p14="http://schemas.microsoft.com/office/powerpoint/2010/main" val="242007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40920-0B37-4D42-AC85-780EE4217D39}"/>
              </a:ext>
            </a:extLst>
          </p:cNvPr>
          <p:cNvSpPr>
            <a:spLocks noGrp="1"/>
          </p:cNvSpPr>
          <p:nvPr>
            <p:ph type="title"/>
          </p:nvPr>
        </p:nvSpPr>
        <p:spPr/>
        <p:txBody>
          <a:bodyPr/>
          <a:lstStyle/>
          <a:p>
            <a:r>
              <a:rPr lang="en-GB" noProof="0" dirty="0"/>
              <a:t>Business Requirements powered by CrystalBridge</a:t>
            </a:r>
          </a:p>
        </p:txBody>
      </p:sp>
      <p:grpSp>
        <p:nvGrpSpPr>
          <p:cNvPr id="21" name="Gruppieren 20">
            <a:extLst>
              <a:ext uri="{FF2B5EF4-FFF2-40B4-BE49-F238E27FC236}">
                <a16:creationId xmlns:a16="http://schemas.microsoft.com/office/drawing/2014/main" id="{254A7253-8B3B-4DC0-BFC3-69E97D61BFC1}"/>
              </a:ext>
            </a:extLst>
          </p:cNvPr>
          <p:cNvGrpSpPr/>
          <p:nvPr/>
        </p:nvGrpSpPr>
        <p:grpSpPr>
          <a:xfrm>
            <a:off x="406400" y="1528088"/>
            <a:ext cx="11464697" cy="1079483"/>
            <a:chOff x="406400" y="3037320"/>
            <a:chExt cx="11464697" cy="1079483"/>
          </a:xfrm>
        </p:grpSpPr>
        <p:sp>
          <p:nvSpPr>
            <p:cNvPr id="7" name="Rechteck 6">
              <a:extLst>
                <a:ext uri="{FF2B5EF4-FFF2-40B4-BE49-F238E27FC236}">
                  <a16:creationId xmlns:a16="http://schemas.microsoft.com/office/drawing/2014/main" id="{94DF3FA5-117D-49A6-8266-614AEF9F9DE5}"/>
                </a:ext>
              </a:extLst>
            </p:cNvPr>
            <p:cNvSpPr/>
            <p:nvPr/>
          </p:nvSpPr>
          <p:spPr>
            <a:xfrm>
              <a:off x="605698" y="3218064"/>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1. Organize</a:t>
              </a:r>
              <a:endParaRPr lang="en-US" sz="1100" b="1">
                <a:solidFill>
                  <a:srgbClr val="002060"/>
                </a:solidFill>
              </a:endParaRPr>
            </a:p>
            <a:p>
              <a:r>
                <a:rPr lang="en-US" sz="1000">
                  <a:solidFill>
                    <a:srgbClr val="002060"/>
                  </a:solidFill>
                </a:rPr>
                <a:t>Selection of Org-Units in use</a:t>
              </a:r>
            </a:p>
          </p:txBody>
        </p:sp>
        <p:sp>
          <p:nvSpPr>
            <p:cNvPr id="8" name="Rechteck 7">
              <a:extLst>
                <a:ext uri="{FF2B5EF4-FFF2-40B4-BE49-F238E27FC236}">
                  <a16:creationId xmlns:a16="http://schemas.microsoft.com/office/drawing/2014/main" id="{5BD1F924-62C2-4A37-AEB3-09986D0ACA93}"/>
                </a:ext>
              </a:extLst>
            </p:cNvPr>
            <p:cNvSpPr/>
            <p:nvPr/>
          </p:nvSpPr>
          <p:spPr>
            <a:xfrm>
              <a:off x="2429769" y="322378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2. Design</a:t>
              </a:r>
              <a:endParaRPr lang="en-US" sz="1100" b="1">
                <a:solidFill>
                  <a:srgbClr val="002060"/>
                </a:solidFill>
              </a:endParaRPr>
            </a:p>
            <a:p>
              <a:r>
                <a:rPr lang="en-US" sz="1000">
                  <a:solidFill>
                    <a:srgbClr val="002060"/>
                  </a:solidFill>
                </a:rPr>
                <a:t>Check Migration Objects used by selected Org-Units</a:t>
              </a:r>
            </a:p>
          </p:txBody>
        </p:sp>
        <p:sp>
          <p:nvSpPr>
            <p:cNvPr id="9" name="Rechteck 8">
              <a:extLst>
                <a:ext uri="{FF2B5EF4-FFF2-40B4-BE49-F238E27FC236}">
                  <a16:creationId xmlns:a16="http://schemas.microsoft.com/office/drawing/2014/main" id="{4905A7B8-8123-4DE5-BFF7-417770071969}"/>
                </a:ext>
              </a:extLst>
            </p:cNvPr>
            <p:cNvSpPr/>
            <p:nvPr/>
          </p:nvSpPr>
          <p:spPr>
            <a:xfrm>
              <a:off x="4326447"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3. Time Based Selection</a:t>
              </a:r>
              <a:endParaRPr lang="en-US" sz="1100" b="1">
                <a:solidFill>
                  <a:srgbClr val="002060"/>
                </a:solidFill>
              </a:endParaRPr>
            </a:p>
            <a:p>
              <a:r>
                <a:rPr lang="en-US" sz="1000">
                  <a:solidFill>
                    <a:srgbClr val="002060"/>
                  </a:solidFill>
                </a:rPr>
                <a:t>See Tables and Objects to be migrated</a:t>
              </a:r>
            </a:p>
          </p:txBody>
        </p:sp>
        <p:sp>
          <p:nvSpPr>
            <p:cNvPr id="10" name="Rechteck 9">
              <a:extLst>
                <a:ext uri="{FF2B5EF4-FFF2-40B4-BE49-F238E27FC236}">
                  <a16:creationId xmlns:a16="http://schemas.microsoft.com/office/drawing/2014/main" id="{C0A58272-A02B-4F74-B338-85B6A11B1B78}"/>
                </a:ext>
              </a:extLst>
            </p:cNvPr>
            <p:cNvSpPr/>
            <p:nvPr/>
          </p:nvSpPr>
          <p:spPr>
            <a:xfrm>
              <a:off x="6175223"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dirty="0">
                  <a:solidFill>
                    <a:srgbClr val="002060"/>
                  </a:solidFill>
                </a:rPr>
                <a:t>4. Plan</a:t>
              </a:r>
              <a:endParaRPr lang="en-US" sz="1100" b="1" dirty="0">
                <a:solidFill>
                  <a:srgbClr val="002060"/>
                </a:solidFill>
              </a:endParaRPr>
            </a:p>
            <a:p>
              <a:r>
                <a:rPr lang="en-US" sz="1000" dirty="0">
                  <a:solidFill>
                    <a:srgbClr val="002060"/>
                  </a:solidFill>
                </a:rPr>
                <a:t>S/4HANA Migration</a:t>
              </a:r>
            </a:p>
            <a:p>
              <a:r>
                <a:rPr lang="en-US" sz="1000" dirty="0">
                  <a:solidFill>
                    <a:srgbClr val="002060"/>
                  </a:solidFill>
                </a:rPr>
                <a:t>Business Questionnaire</a:t>
              </a:r>
            </a:p>
          </p:txBody>
        </p:sp>
        <p:sp>
          <p:nvSpPr>
            <p:cNvPr id="11" name="Rechteck 10">
              <a:extLst>
                <a:ext uri="{FF2B5EF4-FFF2-40B4-BE49-F238E27FC236}">
                  <a16:creationId xmlns:a16="http://schemas.microsoft.com/office/drawing/2014/main" id="{1B07C04B-72FE-4DE5-AE01-CBD485A5FCDF}"/>
                </a:ext>
              </a:extLst>
            </p:cNvPr>
            <p:cNvSpPr/>
            <p:nvPr/>
          </p:nvSpPr>
          <p:spPr>
            <a:xfrm>
              <a:off x="8066522" y="3205763"/>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dirty="0">
                  <a:solidFill>
                    <a:srgbClr val="002060"/>
                  </a:solidFill>
                </a:rPr>
                <a:t>5. Setup</a:t>
              </a:r>
            </a:p>
            <a:p>
              <a:r>
                <a:rPr lang="en-US" sz="1000" dirty="0">
                  <a:solidFill>
                    <a:srgbClr val="002060"/>
                  </a:solidFill>
                </a:rPr>
                <a:t>Download the scoping results to start the Project</a:t>
              </a:r>
            </a:p>
          </p:txBody>
        </p:sp>
        <p:sp>
          <p:nvSpPr>
            <p:cNvPr id="12" name="Rechteck 11">
              <a:extLst>
                <a:ext uri="{FF2B5EF4-FFF2-40B4-BE49-F238E27FC236}">
                  <a16:creationId xmlns:a16="http://schemas.microsoft.com/office/drawing/2014/main" id="{A15B490D-0100-4089-B5B6-913947B04C97}"/>
                </a:ext>
              </a:extLst>
            </p:cNvPr>
            <p:cNvSpPr/>
            <p:nvPr/>
          </p:nvSpPr>
          <p:spPr>
            <a:xfrm>
              <a:off x="9992165" y="3201315"/>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6. Control</a:t>
              </a:r>
              <a:endParaRPr lang="en-US" sz="1100" b="1">
                <a:solidFill>
                  <a:srgbClr val="002060"/>
                </a:solidFill>
              </a:endParaRPr>
            </a:p>
            <a:p>
              <a:r>
                <a:rPr lang="en-US" sz="1000">
                  <a:solidFill>
                    <a:srgbClr val="002060"/>
                  </a:solidFill>
                </a:rPr>
                <a:t>Control the project in Solman</a:t>
              </a:r>
            </a:p>
          </p:txBody>
        </p:sp>
        <p:cxnSp>
          <p:nvCxnSpPr>
            <p:cNvPr id="14" name="Gerade Verbindung mit Pfeil 13">
              <a:extLst>
                <a:ext uri="{FF2B5EF4-FFF2-40B4-BE49-F238E27FC236}">
                  <a16:creationId xmlns:a16="http://schemas.microsoft.com/office/drawing/2014/main" id="{1FB74D42-4D44-4FE5-B24E-1F0C17603D5A}"/>
                </a:ext>
              </a:extLst>
            </p:cNvPr>
            <p:cNvCxnSpPr/>
            <p:nvPr/>
          </p:nvCxnSpPr>
          <p:spPr>
            <a:xfrm>
              <a:off x="406400" y="3140968"/>
              <a:ext cx="11377613" cy="0"/>
            </a:xfrm>
            <a:prstGeom prst="straightConnector1">
              <a:avLst/>
            </a:prstGeom>
            <a:ln w="508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Ellipse 14">
              <a:extLst>
                <a:ext uri="{FF2B5EF4-FFF2-40B4-BE49-F238E27FC236}">
                  <a16:creationId xmlns:a16="http://schemas.microsoft.com/office/drawing/2014/main" id="{3CAF8349-A5A1-442F-8840-E81F04C4E13F}"/>
                </a:ext>
              </a:extLst>
            </p:cNvPr>
            <p:cNvSpPr/>
            <p:nvPr/>
          </p:nvSpPr>
          <p:spPr>
            <a:xfrm>
              <a:off x="622598" y="303732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6" name="Ellipse 15">
              <a:extLst>
                <a:ext uri="{FF2B5EF4-FFF2-40B4-BE49-F238E27FC236}">
                  <a16:creationId xmlns:a16="http://schemas.microsoft.com/office/drawing/2014/main" id="{F9E7DC64-5772-49A0-8641-B2F19ECF2A8F}"/>
                </a:ext>
              </a:extLst>
            </p:cNvPr>
            <p:cNvSpPr/>
            <p:nvPr/>
          </p:nvSpPr>
          <p:spPr>
            <a:xfrm>
              <a:off x="2422798" y="3041578"/>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7" name="Ellipse 16">
              <a:extLst>
                <a:ext uri="{FF2B5EF4-FFF2-40B4-BE49-F238E27FC236}">
                  <a16:creationId xmlns:a16="http://schemas.microsoft.com/office/drawing/2014/main" id="{B6C35302-3BD4-48BB-B198-6F4FBC05E076}"/>
                </a:ext>
              </a:extLst>
            </p:cNvPr>
            <p:cNvSpPr/>
            <p:nvPr/>
          </p:nvSpPr>
          <p:spPr>
            <a:xfrm>
              <a:off x="4331030" y="3041882"/>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8" name="Ellipse 17">
              <a:extLst>
                <a:ext uri="{FF2B5EF4-FFF2-40B4-BE49-F238E27FC236}">
                  <a16:creationId xmlns:a16="http://schemas.microsoft.com/office/drawing/2014/main" id="{B6DC7796-64E3-4061-9ECB-6FB1F9B4991C}"/>
                </a:ext>
              </a:extLst>
            </p:cNvPr>
            <p:cNvSpPr/>
            <p:nvPr/>
          </p:nvSpPr>
          <p:spPr>
            <a:xfrm>
              <a:off x="6167214" y="304614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9" name="Ellipse 18">
              <a:extLst>
                <a:ext uri="{FF2B5EF4-FFF2-40B4-BE49-F238E27FC236}">
                  <a16:creationId xmlns:a16="http://schemas.microsoft.com/office/drawing/2014/main" id="{1B53BBCB-2B7A-4ADA-A44B-55747D625216}"/>
                </a:ext>
              </a:extLst>
            </p:cNvPr>
            <p:cNvSpPr/>
            <p:nvPr/>
          </p:nvSpPr>
          <p:spPr>
            <a:xfrm>
              <a:off x="8075446" y="3045967"/>
              <a:ext cx="180000" cy="180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20" name="Ellipse 19">
              <a:extLst>
                <a:ext uri="{FF2B5EF4-FFF2-40B4-BE49-F238E27FC236}">
                  <a16:creationId xmlns:a16="http://schemas.microsoft.com/office/drawing/2014/main" id="{95972A82-0734-4BC8-988D-A2E14E53E3F3}"/>
                </a:ext>
              </a:extLst>
            </p:cNvPr>
            <p:cNvSpPr/>
            <p:nvPr/>
          </p:nvSpPr>
          <p:spPr>
            <a:xfrm>
              <a:off x="9983658" y="3050225"/>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grpSp>
      <p:sp>
        <p:nvSpPr>
          <p:cNvPr id="22" name="Rechteck 21">
            <a:extLst>
              <a:ext uri="{FF2B5EF4-FFF2-40B4-BE49-F238E27FC236}">
                <a16:creationId xmlns:a16="http://schemas.microsoft.com/office/drawing/2014/main" id="{561EC3A5-AF60-444C-8E52-7783786AADC5}"/>
              </a:ext>
            </a:extLst>
          </p:cNvPr>
          <p:cNvSpPr/>
          <p:nvPr/>
        </p:nvSpPr>
        <p:spPr>
          <a:xfrm>
            <a:off x="366026" y="1203762"/>
            <a:ext cx="3028879"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dirty="0">
                <a:solidFill>
                  <a:srgbClr val="002060"/>
                </a:solidFill>
              </a:rPr>
              <a:t>Steps in CrystalBridge</a:t>
            </a:r>
            <a:endParaRPr lang="en-US" sz="1000" dirty="0">
              <a:solidFill>
                <a:srgbClr val="002060"/>
              </a:solidFill>
            </a:endParaRPr>
          </a:p>
        </p:txBody>
      </p:sp>
      <p:cxnSp>
        <p:nvCxnSpPr>
          <p:cNvPr id="114" name="Gerade Verbindung mit Pfeil 113">
            <a:extLst>
              <a:ext uri="{FF2B5EF4-FFF2-40B4-BE49-F238E27FC236}">
                <a16:creationId xmlns:a16="http://schemas.microsoft.com/office/drawing/2014/main" id="{F94C73DD-A426-4E96-94A9-0F636F943154}"/>
              </a:ext>
            </a:extLst>
          </p:cNvPr>
          <p:cNvCxnSpPr/>
          <p:nvPr/>
        </p:nvCxnSpPr>
        <p:spPr>
          <a:xfrm>
            <a:off x="421217" y="3077967"/>
            <a:ext cx="11377613" cy="0"/>
          </a:xfrm>
          <a:prstGeom prst="straightConnector1">
            <a:avLst/>
          </a:prstGeom>
          <a:ln w="508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uppieren 47">
            <a:extLst>
              <a:ext uri="{FF2B5EF4-FFF2-40B4-BE49-F238E27FC236}">
                <a16:creationId xmlns:a16="http://schemas.microsoft.com/office/drawing/2014/main" id="{9A22BD04-A018-4663-ABFB-59E144DD32CA}"/>
              </a:ext>
            </a:extLst>
          </p:cNvPr>
          <p:cNvGrpSpPr/>
          <p:nvPr/>
        </p:nvGrpSpPr>
        <p:grpSpPr>
          <a:xfrm>
            <a:off x="622597" y="2348880"/>
            <a:ext cx="8928993" cy="1216062"/>
            <a:chOff x="622597" y="2348880"/>
            <a:chExt cx="5520421" cy="1216062"/>
          </a:xfrm>
        </p:grpSpPr>
        <p:cxnSp>
          <p:nvCxnSpPr>
            <p:cNvPr id="49" name="Gerader Verbinder 48">
              <a:extLst>
                <a:ext uri="{FF2B5EF4-FFF2-40B4-BE49-F238E27FC236}">
                  <a16:creationId xmlns:a16="http://schemas.microsoft.com/office/drawing/2014/main" id="{BC26C353-F72D-4816-BE51-F97CBC2964F4}"/>
                </a:ext>
              </a:extLst>
            </p:cNvPr>
            <p:cNvCxnSpPr>
              <a:cxnSpLocks/>
            </p:cNvCxnSpPr>
            <p:nvPr/>
          </p:nvCxnSpPr>
          <p:spPr>
            <a:xfrm>
              <a:off x="4425408" y="2348880"/>
              <a:ext cx="0" cy="21049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Rechteck 49">
              <a:extLst>
                <a:ext uri="{FF2B5EF4-FFF2-40B4-BE49-F238E27FC236}">
                  <a16:creationId xmlns:a16="http://schemas.microsoft.com/office/drawing/2014/main" id="{EE1CAEED-2FC5-4F14-9423-25A36A53FB00}"/>
                </a:ext>
              </a:extLst>
            </p:cNvPr>
            <p:cNvSpPr/>
            <p:nvPr/>
          </p:nvSpPr>
          <p:spPr>
            <a:xfrm>
              <a:off x="622597" y="3209967"/>
              <a:ext cx="5520421" cy="3549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Business Requirements for S/4HANA Migration</a:t>
              </a:r>
              <a:endParaRPr lang="en-US" sz="1100" b="1">
                <a:solidFill>
                  <a:srgbClr val="002060"/>
                </a:solidFill>
              </a:endParaRPr>
            </a:p>
          </p:txBody>
        </p:sp>
        <p:cxnSp>
          <p:nvCxnSpPr>
            <p:cNvPr id="52" name="Verbinder: gewinkelt 51">
              <a:extLst>
                <a:ext uri="{FF2B5EF4-FFF2-40B4-BE49-F238E27FC236}">
                  <a16:creationId xmlns:a16="http://schemas.microsoft.com/office/drawing/2014/main" id="{69751E23-B34A-4FBD-9BF4-A7A43C33128F}"/>
                </a:ext>
              </a:extLst>
            </p:cNvPr>
            <p:cNvCxnSpPr>
              <a:cxnSpLocks/>
            </p:cNvCxnSpPr>
            <p:nvPr/>
          </p:nvCxnSpPr>
          <p:spPr>
            <a:xfrm rot="10800000" flipV="1">
              <a:off x="712598" y="2559375"/>
              <a:ext cx="3712810" cy="439667"/>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54" name="Ellipse 53">
            <a:extLst>
              <a:ext uri="{FF2B5EF4-FFF2-40B4-BE49-F238E27FC236}">
                <a16:creationId xmlns:a16="http://schemas.microsoft.com/office/drawing/2014/main" id="{24A813FC-F164-4746-9D8C-5A3E7737D606}"/>
              </a:ext>
            </a:extLst>
          </p:cNvPr>
          <p:cNvSpPr/>
          <p:nvPr/>
        </p:nvSpPr>
        <p:spPr>
          <a:xfrm>
            <a:off x="658602" y="2999043"/>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3" name="Rechteck 2">
            <a:extLst>
              <a:ext uri="{FF2B5EF4-FFF2-40B4-BE49-F238E27FC236}">
                <a16:creationId xmlns:a16="http://schemas.microsoft.com/office/drawing/2014/main" id="{81DFE464-DFE1-409C-B7F4-C053E87A7E3F}"/>
              </a:ext>
            </a:extLst>
          </p:cNvPr>
          <p:cNvSpPr/>
          <p:nvPr/>
        </p:nvSpPr>
        <p:spPr>
          <a:xfrm>
            <a:off x="838602" y="3600244"/>
            <a:ext cx="6092825" cy="2416046"/>
          </a:xfrm>
          <a:prstGeom prst="rect">
            <a:avLst/>
          </a:prstGeom>
        </p:spPr>
        <p:txBody>
          <a:bodyPr wrap="square">
            <a:spAutoFit/>
          </a:bodyPr>
          <a:lstStyle/>
          <a:p>
            <a:pPr marL="216000" lvl="2" indent="-216000">
              <a:spcBef>
                <a:spcPts val="600"/>
              </a:spcBef>
              <a:spcAft>
                <a:spcPts val="600"/>
              </a:spcAft>
              <a:buClr>
                <a:schemeClr val="accent3"/>
              </a:buClr>
              <a:buFont typeface="Wingdings 2" panose="05020102010507070707" pitchFamily="18" charset="2"/>
              <a:buChar char=""/>
            </a:pPr>
            <a:r>
              <a:rPr lang="en-US" sz="1300">
                <a:solidFill>
                  <a:schemeClr val="accent1">
                    <a:lumMod val="50000"/>
                  </a:schemeClr>
                </a:solidFill>
              </a:rPr>
              <a:t>New General Ledger</a:t>
            </a:r>
          </a:p>
          <a:p>
            <a:pPr marL="825539" lvl="3" indent="-216000">
              <a:spcBef>
                <a:spcPts val="600"/>
              </a:spcBef>
              <a:spcAft>
                <a:spcPts val="600"/>
              </a:spcAft>
              <a:buClr>
                <a:schemeClr val="accent3"/>
              </a:buClr>
              <a:buFont typeface="Wingdings 2" panose="05020102010507070707" pitchFamily="18" charset="2"/>
              <a:buChar char=""/>
            </a:pPr>
            <a:r>
              <a:rPr lang="en-US" sz="1300">
                <a:solidFill>
                  <a:schemeClr val="accent1">
                    <a:lumMod val="50000"/>
                  </a:schemeClr>
                </a:solidFill>
              </a:rPr>
              <a:t>Ledger Change</a:t>
            </a:r>
          </a:p>
          <a:p>
            <a:pPr marL="825539" lvl="3" indent="-216000">
              <a:spcBef>
                <a:spcPts val="600"/>
              </a:spcBef>
              <a:spcAft>
                <a:spcPts val="600"/>
              </a:spcAft>
              <a:buClr>
                <a:schemeClr val="accent3"/>
              </a:buClr>
              <a:buFont typeface="Wingdings 2" panose="05020102010507070707" pitchFamily="18" charset="2"/>
              <a:buChar char=""/>
            </a:pPr>
            <a:r>
              <a:rPr lang="en-US" sz="1300">
                <a:solidFill>
                  <a:schemeClr val="accent1">
                    <a:lumMod val="50000"/>
                  </a:schemeClr>
                </a:solidFill>
              </a:rPr>
              <a:t>Change from Account to Ledger Approach</a:t>
            </a:r>
          </a:p>
          <a:p>
            <a:pPr marL="216000" lvl="2" indent="-216000">
              <a:spcBef>
                <a:spcPts val="600"/>
              </a:spcBef>
              <a:spcAft>
                <a:spcPts val="600"/>
              </a:spcAft>
              <a:buClr>
                <a:schemeClr val="accent3"/>
              </a:buClr>
              <a:buFont typeface="Wingdings 2" panose="05020102010507070707" pitchFamily="18" charset="2"/>
              <a:buChar char=""/>
            </a:pPr>
            <a:r>
              <a:rPr lang="en-US" sz="1300">
                <a:solidFill>
                  <a:schemeClr val="accent1">
                    <a:lumMod val="50000"/>
                  </a:schemeClr>
                </a:solidFill>
              </a:rPr>
              <a:t>Business Partner Harmonization</a:t>
            </a:r>
          </a:p>
          <a:p>
            <a:pPr marL="216000" lvl="2" indent="-216000">
              <a:spcBef>
                <a:spcPts val="600"/>
              </a:spcBef>
              <a:spcAft>
                <a:spcPts val="600"/>
              </a:spcAft>
              <a:buClr>
                <a:schemeClr val="accent3"/>
              </a:buClr>
              <a:buFont typeface="Wingdings 2" panose="05020102010507070707" pitchFamily="18" charset="2"/>
              <a:buChar char=""/>
            </a:pPr>
            <a:r>
              <a:rPr lang="en-US" sz="1300">
                <a:solidFill>
                  <a:schemeClr val="accent1">
                    <a:lumMod val="50000"/>
                  </a:schemeClr>
                </a:solidFill>
              </a:rPr>
              <a:t>New Asset Accounting Change of Posting Rules</a:t>
            </a:r>
          </a:p>
          <a:p>
            <a:pPr marL="216000" lvl="2" indent="-216000">
              <a:spcBef>
                <a:spcPts val="600"/>
              </a:spcBef>
              <a:spcAft>
                <a:spcPts val="600"/>
              </a:spcAft>
              <a:buClr>
                <a:schemeClr val="accent3"/>
              </a:buClr>
              <a:buFont typeface="Wingdings 2" panose="05020102010507070707" pitchFamily="18" charset="2"/>
              <a:buChar char=""/>
            </a:pPr>
            <a:r>
              <a:rPr lang="en-US" sz="1300">
                <a:solidFill>
                  <a:schemeClr val="accent1">
                    <a:lumMod val="50000"/>
                  </a:schemeClr>
                </a:solidFill>
              </a:rPr>
              <a:t>Additional Data Cleansing</a:t>
            </a:r>
          </a:p>
          <a:p>
            <a:pPr marL="216000" lvl="2" indent="-216000">
              <a:spcBef>
                <a:spcPts val="600"/>
              </a:spcBef>
              <a:spcAft>
                <a:spcPts val="600"/>
              </a:spcAft>
              <a:buClr>
                <a:schemeClr val="accent3"/>
              </a:buClr>
              <a:buFont typeface="Wingdings 2" panose="05020102010507070707" pitchFamily="18" charset="2"/>
              <a:buChar char=""/>
            </a:pPr>
            <a:r>
              <a:rPr lang="en-US" sz="1300">
                <a:solidFill>
                  <a:schemeClr val="accent1">
                    <a:lumMod val="50000"/>
                  </a:schemeClr>
                </a:solidFill>
              </a:rPr>
              <a:t>Master Data </a:t>
            </a:r>
            <a:r>
              <a:rPr lang="en-US" sz="1300" err="1">
                <a:solidFill>
                  <a:schemeClr val="accent1">
                    <a:lumMod val="50000"/>
                  </a:schemeClr>
                </a:solidFill>
              </a:rPr>
              <a:t>Hamonization</a:t>
            </a:r>
            <a:endParaRPr lang="en-US" sz="1300">
              <a:solidFill>
                <a:schemeClr val="accent1">
                  <a:lumMod val="50000"/>
                </a:schemeClr>
              </a:solidFill>
            </a:endParaRPr>
          </a:p>
        </p:txBody>
      </p:sp>
      <p:pic>
        <p:nvPicPr>
          <p:cNvPr id="1026" name="Picture 2" descr="Bildergebnis fÃ¼r yes no button ppt">
            <a:extLst>
              <a:ext uri="{FF2B5EF4-FFF2-40B4-BE49-F238E27FC236}">
                <a16:creationId xmlns:a16="http://schemas.microsoft.com/office/drawing/2014/main" id="{026F680E-E66B-46E3-B12D-1744590DB312}"/>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347214" y="3881670"/>
            <a:ext cx="709949" cy="35497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 descr="Bildergebnis fÃ¼r yes no button ppt">
            <a:extLst>
              <a:ext uri="{FF2B5EF4-FFF2-40B4-BE49-F238E27FC236}">
                <a16:creationId xmlns:a16="http://schemas.microsoft.com/office/drawing/2014/main" id="{D8E88216-E023-47D1-BABA-0B12ECA036EB}"/>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347213" y="4258017"/>
            <a:ext cx="709949" cy="35497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Bildergebnis fÃ¼r yes no button ppt">
            <a:extLst>
              <a:ext uri="{FF2B5EF4-FFF2-40B4-BE49-F238E27FC236}">
                <a16:creationId xmlns:a16="http://schemas.microsoft.com/office/drawing/2014/main" id="{C14F3EFD-2137-43D8-99BB-D882E5A204A5}"/>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347212" y="4630779"/>
            <a:ext cx="709949" cy="35497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Bildergebnis fÃ¼r yes no button ppt">
            <a:extLst>
              <a:ext uri="{FF2B5EF4-FFF2-40B4-BE49-F238E27FC236}">
                <a16:creationId xmlns:a16="http://schemas.microsoft.com/office/drawing/2014/main" id="{D435D654-0EAD-467E-948A-26337D62BFFB}"/>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347214" y="4994712"/>
            <a:ext cx="709949" cy="354975"/>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a:extLst>
              <a:ext uri="{FF2B5EF4-FFF2-40B4-BE49-F238E27FC236}">
                <a16:creationId xmlns:a16="http://schemas.microsoft.com/office/drawing/2014/main" id="{E52B808A-C172-4ACC-A9A6-A1E494A47EE5}"/>
              </a:ext>
            </a:extLst>
          </p:cNvPr>
          <p:cNvSpPr/>
          <p:nvPr/>
        </p:nvSpPr>
        <p:spPr>
          <a:xfrm>
            <a:off x="7607374" y="3881671"/>
            <a:ext cx="3420380" cy="277566"/>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59" name="Rechteck 58">
            <a:extLst>
              <a:ext uri="{FF2B5EF4-FFF2-40B4-BE49-F238E27FC236}">
                <a16:creationId xmlns:a16="http://schemas.microsoft.com/office/drawing/2014/main" id="{5D82CA3B-13BC-4F67-88C9-319ED074CCA2}"/>
              </a:ext>
            </a:extLst>
          </p:cNvPr>
          <p:cNvSpPr/>
          <p:nvPr/>
        </p:nvSpPr>
        <p:spPr>
          <a:xfrm>
            <a:off x="7607374" y="4275805"/>
            <a:ext cx="3420380" cy="27756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60" name="Rechteck 59">
            <a:extLst>
              <a:ext uri="{FF2B5EF4-FFF2-40B4-BE49-F238E27FC236}">
                <a16:creationId xmlns:a16="http://schemas.microsoft.com/office/drawing/2014/main" id="{A02B8D13-A019-4D85-BDA3-61120AC819A3}"/>
              </a:ext>
            </a:extLst>
          </p:cNvPr>
          <p:cNvSpPr/>
          <p:nvPr/>
        </p:nvSpPr>
        <p:spPr>
          <a:xfrm>
            <a:off x="7607374" y="4645304"/>
            <a:ext cx="3420380" cy="277566"/>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61" name="Rechteck 60">
            <a:extLst>
              <a:ext uri="{FF2B5EF4-FFF2-40B4-BE49-F238E27FC236}">
                <a16:creationId xmlns:a16="http://schemas.microsoft.com/office/drawing/2014/main" id="{9216593A-4F57-4368-8740-013164236F3A}"/>
              </a:ext>
            </a:extLst>
          </p:cNvPr>
          <p:cNvSpPr/>
          <p:nvPr/>
        </p:nvSpPr>
        <p:spPr>
          <a:xfrm>
            <a:off x="7607374" y="5039438"/>
            <a:ext cx="3420380" cy="27756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pic>
        <p:nvPicPr>
          <p:cNvPr id="62" name="Picture 2" descr="Bildergebnis fÃ¼r yes no button ppt">
            <a:extLst>
              <a:ext uri="{FF2B5EF4-FFF2-40B4-BE49-F238E27FC236}">
                <a16:creationId xmlns:a16="http://schemas.microsoft.com/office/drawing/2014/main" id="{21A07753-5139-4B16-8121-3CC80FCA30C1}"/>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343047" y="5381529"/>
            <a:ext cx="709949" cy="35497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Bildergebnis fÃ¼r yes no button ppt">
            <a:extLst>
              <a:ext uri="{FF2B5EF4-FFF2-40B4-BE49-F238E27FC236}">
                <a16:creationId xmlns:a16="http://schemas.microsoft.com/office/drawing/2014/main" id="{C8A11B1C-490D-4011-A9FA-F17E040B2661}"/>
              </a:ext>
            </a:extLst>
          </p:cNvPr>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343049" y="5745462"/>
            <a:ext cx="709949" cy="354975"/>
          </a:xfrm>
          <a:prstGeom prst="rect">
            <a:avLst/>
          </a:prstGeom>
          <a:noFill/>
          <a:extLst>
            <a:ext uri="{909E8E84-426E-40DD-AFC4-6F175D3DCCD1}">
              <a14:hiddenFill xmlns:a14="http://schemas.microsoft.com/office/drawing/2010/main">
                <a:solidFill>
                  <a:srgbClr val="FFFFFF"/>
                </a:solidFill>
              </a14:hiddenFill>
            </a:ext>
          </a:extLst>
        </p:spPr>
      </p:pic>
      <p:sp>
        <p:nvSpPr>
          <p:cNvPr id="67" name="Rechteck 66">
            <a:extLst>
              <a:ext uri="{FF2B5EF4-FFF2-40B4-BE49-F238E27FC236}">
                <a16:creationId xmlns:a16="http://schemas.microsoft.com/office/drawing/2014/main" id="{78AF9AFE-ACD9-415C-9F1A-6E27AF7B7C8D}"/>
              </a:ext>
            </a:extLst>
          </p:cNvPr>
          <p:cNvSpPr/>
          <p:nvPr/>
        </p:nvSpPr>
        <p:spPr>
          <a:xfrm>
            <a:off x="7603209" y="5396054"/>
            <a:ext cx="3420380" cy="277566"/>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68" name="Rechteck 67">
            <a:extLst>
              <a:ext uri="{FF2B5EF4-FFF2-40B4-BE49-F238E27FC236}">
                <a16:creationId xmlns:a16="http://schemas.microsoft.com/office/drawing/2014/main" id="{4D4A0A71-8CEF-4CA9-B937-7D698510CDFA}"/>
              </a:ext>
            </a:extLst>
          </p:cNvPr>
          <p:cNvSpPr/>
          <p:nvPr/>
        </p:nvSpPr>
        <p:spPr>
          <a:xfrm>
            <a:off x="7603209" y="5790188"/>
            <a:ext cx="3420380" cy="277569"/>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6" name="Foliennummernplatzhalter 5">
            <a:extLst>
              <a:ext uri="{FF2B5EF4-FFF2-40B4-BE49-F238E27FC236}">
                <a16:creationId xmlns:a16="http://schemas.microsoft.com/office/drawing/2014/main" id="{245B8293-06FA-4A33-B89F-DEFC632647DD}"/>
              </a:ext>
            </a:extLst>
          </p:cNvPr>
          <p:cNvSpPr>
            <a:spLocks noGrp="1"/>
          </p:cNvSpPr>
          <p:nvPr>
            <p:ph type="sldNum" sz="quarter" idx="11"/>
          </p:nvPr>
        </p:nvSpPr>
        <p:spPr/>
        <p:txBody>
          <a:bodyPr/>
          <a:lstStyle/>
          <a:p>
            <a:fld id="{221F1D72-F2AC-4B6E-A46C-E63D2CF40C7B}" type="slidenum">
              <a:rPr lang="de-DE" smtClean="0"/>
              <a:pPr/>
              <a:t>26</a:t>
            </a:fld>
            <a:endParaRPr lang="de-DE"/>
          </a:p>
        </p:txBody>
      </p:sp>
      <p:sp>
        <p:nvSpPr>
          <p:cNvPr id="5" name="Date Placeholder 4">
            <a:extLst>
              <a:ext uri="{FF2B5EF4-FFF2-40B4-BE49-F238E27FC236}">
                <a16:creationId xmlns:a16="http://schemas.microsoft.com/office/drawing/2014/main" id="{FCE1B573-3ED9-4B2E-8A5A-FE06B9A0DB88}"/>
              </a:ext>
            </a:extLst>
          </p:cNvPr>
          <p:cNvSpPr>
            <a:spLocks noGrp="1"/>
          </p:cNvSpPr>
          <p:nvPr>
            <p:ph type="dt" sz="half" idx="10"/>
          </p:nvPr>
        </p:nvSpPr>
        <p:spPr/>
        <p:txBody>
          <a:bodyPr/>
          <a:lstStyle/>
          <a:p>
            <a:r>
              <a:rPr lang="en-US"/>
              <a:t>21/08/2019</a:t>
            </a:r>
            <a:endParaRPr lang="de-DE" dirty="0"/>
          </a:p>
        </p:txBody>
      </p:sp>
      <p:grpSp>
        <p:nvGrpSpPr>
          <p:cNvPr id="42" name="Gruppieren 23">
            <a:extLst>
              <a:ext uri="{FF2B5EF4-FFF2-40B4-BE49-F238E27FC236}">
                <a16:creationId xmlns:a16="http://schemas.microsoft.com/office/drawing/2014/main" id="{2553FEE6-B3D0-4756-B354-2520A9C9F973}"/>
              </a:ext>
            </a:extLst>
          </p:cNvPr>
          <p:cNvGrpSpPr/>
          <p:nvPr/>
        </p:nvGrpSpPr>
        <p:grpSpPr>
          <a:xfrm>
            <a:off x="8543478" y="116632"/>
            <a:ext cx="790389" cy="880719"/>
            <a:chOff x="4989407" y="2549111"/>
            <a:chExt cx="1904103" cy="2121714"/>
          </a:xfrm>
        </p:grpSpPr>
        <p:pic>
          <p:nvPicPr>
            <p:cNvPr id="43" name="Grafik 24">
              <a:extLst>
                <a:ext uri="{FF2B5EF4-FFF2-40B4-BE49-F238E27FC236}">
                  <a16:creationId xmlns:a16="http://schemas.microsoft.com/office/drawing/2014/main" id="{C1EA94B0-D106-4746-891F-A227EE7FE27B}"/>
                </a:ext>
              </a:extLst>
            </p:cNvPr>
            <p:cNvPicPr>
              <a:picLocks noChangeAspect="1"/>
            </p:cNvPicPr>
            <p:nvPr/>
          </p:nvPicPr>
          <p:blipFill>
            <a:blip r:embed="rId3" cstate="screen">
              <a:biLevel thresh="75000"/>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004810" y="2563284"/>
              <a:ext cx="1873296" cy="2093368"/>
            </a:xfrm>
            <a:prstGeom prst="rect">
              <a:avLst/>
            </a:prstGeom>
            <a:effectLst/>
          </p:spPr>
        </p:pic>
        <p:pic>
          <p:nvPicPr>
            <p:cNvPr id="44" name="Grafik 25">
              <a:extLst>
                <a:ext uri="{FF2B5EF4-FFF2-40B4-BE49-F238E27FC236}">
                  <a16:creationId xmlns:a16="http://schemas.microsoft.com/office/drawing/2014/main" id="{58EF9927-F92A-42DE-95AF-35A788F52C7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89407" y="2549111"/>
              <a:ext cx="1904103" cy="2121714"/>
            </a:xfrm>
            <a:prstGeom prst="rect">
              <a:avLst/>
            </a:prstGeom>
          </p:spPr>
        </p:pic>
      </p:grpSp>
      <p:pic>
        <p:nvPicPr>
          <p:cNvPr id="45" name="Picture 44">
            <a:extLst>
              <a:ext uri="{FF2B5EF4-FFF2-40B4-BE49-F238E27FC236}">
                <a16:creationId xmlns:a16="http://schemas.microsoft.com/office/drawing/2014/main" id="{72D1CB01-6880-4DF7-BD0A-D591D294C961}"/>
              </a:ext>
            </a:extLst>
          </p:cNvPr>
          <p:cNvPicPr>
            <a:picLocks noChangeAspect="1"/>
          </p:cNvPicPr>
          <p:nvPr/>
        </p:nvPicPr>
        <p:blipFill>
          <a:blip r:embed="rId6"/>
          <a:stretch>
            <a:fillRect/>
          </a:stretch>
        </p:blipFill>
        <p:spPr>
          <a:xfrm>
            <a:off x="9994951" y="384669"/>
            <a:ext cx="1311958" cy="411043"/>
          </a:xfrm>
          <a:prstGeom prst="rect">
            <a:avLst/>
          </a:prstGeom>
        </p:spPr>
      </p:pic>
      <p:sp>
        <p:nvSpPr>
          <p:cNvPr id="47" name="Footer Placeholder 5">
            <a:extLst>
              <a:ext uri="{FF2B5EF4-FFF2-40B4-BE49-F238E27FC236}">
                <a16:creationId xmlns:a16="http://schemas.microsoft.com/office/drawing/2014/main" id="{325F0C86-3185-46FF-9CDD-E3F3124F75B1}"/>
              </a:ext>
            </a:extLst>
          </p:cNvPr>
          <p:cNvSpPr txBox="1">
            <a:spLocks/>
          </p:cNvSpPr>
          <p:nvPr/>
        </p:nvSpPr>
        <p:spPr>
          <a:xfrm>
            <a:off x="1054646" y="6475131"/>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GB" sz="900" dirty="0">
                <a:solidFill>
                  <a:srgbClr val="6F6F6F"/>
                </a:solidFill>
              </a:rPr>
              <a:t>NZSUG Auckland Event + SAP Forum</a:t>
            </a:r>
            <a:endParaRPr lang="de-DE" sz="900" dirty="0">
              <a:solidFill>
                <a:srgbClr val="6F6F6F"/>
              </a:solidFill>
            </a:endParaRPr>
          </a:p>
        </p:txBody>
      </p:sp>
    </p:spTree>
    <p:extLst>
      <p:ext uri="{BB962C8B-B14F-4D97-AF65-F5344CB8AC3E}">
        <p14:creationId xmlns:p14="http://schemas.microsoft.com/office/powerpoint/2010/main" val="404409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9" grpId="0" animBg="1"/>
      <p:bldP spid="60" grpId="0" animBg="1"/>
      <p:bldP spid="61" grpId="0" animBg="1"/>
      <p:bldP spid="67" grpId="0" animBg="1"/>
      <p:bldP spid="6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240920-0B37-4D42-AC85-780EE4217D39}"/>
              </a:ext>
            </a:extLst>
          </p:cNvPr>
          <p:cNvSpPr>
            <a:spLocks noGrp="1"/>
          </p:cNvSpPr>
          <p:nvPr>
            <p:ph type="title"/>
          </p:nvPr>
        </p:nvSpPr>
        <p:spPr/>
        <p:txBody>
          <a:bodyPr/>
          <a:lstStyle/>
          <a:p>
            <a:r>
              <a:rPr lang="en-GB" noProof="0" dirty="0"/>
              <a:t>Selective Migration powered by CrystalBridge</a:t>
            </a:r>
          </a:p>
        </p:txBody>
      </p:sp>
      <p:grpSp>
        <p:nvGrpSpPr>
          <p:cNvPr id="21" name="Gruppieren 20">
            <a:extLst>
              <a:ext uri="{FF2B5EF4-FFF2-40B4-BE49-F238E27FC236}">
                <a16:creationId xmlns:a16="http://schemas.microsoft.com/office/drawing/2014/main" id="{254A7253-8B3B-4DC0-BFC3-69E97D61BFC1}"/>
              </a:ext>
            </a:extLst>
          </p:cNvPr>
          <p:cNvGrpSpPr/>
          <p:nvPr/>
        </p:nvGrpSpPr>
        <p:grpSpPr>
          <a:xfrm>
            <a:off x="406400" y="1505674"/>
            <a:ext cx="11464697" cy="1079483"/>
            <a:chOff x="406400" y="3037320"/>
            <a:chExt cx="11464697" cy="1079483"/>
          </a:xfrm>
        </p:grpSpPr>
        <p:sp>
          <p:nvSpPr>
            <p:cNvPr id="7" name="Rechteck 6">
              <a:extLst>
                <a:ext uri="{FF2B5EF4-FFF2-40B4-BE49-F238E27FC236}">
                  <a16:creationId xmlns:a16="http://schemas.microsoft.com/office/drawing/2014/main" id="{94DF3FA5-117D-49A6-8266-614AEF9F9DE5}"/>
                </a:ext>
              </a:extLst>
            </p:cNvPr>
            <p:cNvSpPr/>
            <p:nvPr/>
          </p:nvSpPr>
          <p:spPr>
            <a:xfrm>
              <a:off x="605698" y="3218064"/>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1. Organize</a:t>
              </a:r>
              <a:endParaRPr lang="en-US" sz="1100" b="1">
                <a:solidFill>
                  <a:srgbClr val="002060"/>
                </a:solidFill>
              </a:endParaRPr>
            </a:p>
            <a:p>
              <a:r>
                <a:rPr lang="en-US" sz="1000">
                  <a:solidFill>
                    <a:srgbClr val="002060"/>
                  </a:solidFill>
                </a:rPr>
                <a:t>Selection of Org-Units in use</a:t>
              </a:r>
            </a:p>
          </p:txBody>
        </p:sp>
        <p:sp>
          <p:nvSpPr>
            <p:cNvPr id="8" name="Rechteck 7">
              <a:extLst>
                <a:ext uri="{FF2B5EF4-FFF2-40B4-BE49-F238E27FC236}">
                  <a16:creationId xmlns:a16="http://schemas.microsoft.com/office/drawing/2014/main" id="{5BD1F924-62C2-4A37-AEB3-09986D0ACA93}"/>
                </a:ext>
              </a:extLst>
            </p:cNvPr>
            <p:cNvSpPr/>
            <p:nvPr/>
          </p:nvSpPr>
          <p:spPr>
            <a:xfrm>
              <a:off x="2429769" y="322378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2. Design</a:t>
              </a:r>
              <a:endParaRPr lang="en-US" sz="1100" b="1">
                <a:solidFill>
                  <a:srgbClr val="002060"/>
                </a:solidFill>
              </a:endParaRPr>
            </a:p>
            <a:p>
              <a:r>
                <a:rPr lang="en-US" sz="1000">
                  <a:solidFill>
                    <a:srgbClr val="002060"/>
                  </a:solidFill>
                </a:rPr>
                <a:t>Check Migration Objects used by selected Org-Units</a:t>
              </a:r>
            </a:p>
          </p:txBody>
        </p:sp>
        <p:sp>
          <p:nvSpPr>
            <p:cNvPr id="9" name="Rechteck 8">
              <a:extLst>
                <a:ext uri="{FF2B5EF4-FFF2-40B4-BE49-F238E27FC236}">
                  <a16:creationId xmlns:a16="http://schemas.microsoft.com/office/drawing/2014/main" id="{4905A7B8-8123-4DE5-BFF7-417770071969}"/>
                </a:ext>
              </a:extLst>
            </p:cNvPr>
            <p:cNvSpPr/>
            <p:nvPr/>
          </p:nvSpPr>
          <p:spPr>
            <a:xfrm>
              <a:off x="4326447"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3. Time Based Selection</a:t>
              </a:r>
              <a:endParaRPr lang="en-US" sz="1100" b="1">
                <a:solidFill>
                  <a:srgbClr val="002060"/>
                </a:solidFill>
              </a:endParaRPr>
            </a:p>
            <a:p>
              <a:r>
                <a:rPr lang="en-US" sz="1000">
                  <a:solidFill>
                    <a:srgbClr val="002060"/>
                  </a:solidFill>
                </a:rPr>
                <a:t>See Tables and Objects to be migrated</a:t>
              </a:r>
            </a:p>
          </p:txBody>
        </p:sp>
        <p:sp>
          <p:nvSpPr>
            <p:cNvPr id="10" name="Rechteck 9">
              <a:extLst>
                <a:ext uri="{FF2B5EF4-FFF2-40B4-BE49-F238E27FC236}">
                  <a16:creationId xmlns:a16="http://schemas.microsoft.com/office/drawing/2014/main" id="{C0A58272-A02B-4F74-B338-85B6A11B1B78}"/>
                </a:ext>
              </a:extLst>
            </p:cNvPr>
            <p:cNvSpPr/>
            <p:nvPr/>
          </p:nvSpPr>
          <p:spPr>
            <a:xfrm>
              <a:off x="6175223" y="3214008"/>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dirty="0">
                  <a:solidFill>
                    <a:srgbClr val="002060"/>
                  </a:solidFill>
                </a:rPr>
                <a:t>4. Plan</a:t>
              </a:r>
              <a:endParaRPr lang="en-US" sz="1100" b="1" dirty="0">
                <a:solidFill>
                  <a:srgbClr val="002060"/>
                </a:solidFill>
              </a:endParaRPr>
            </a:p>
            <a:p>
              <a:r>
                <a:rPr lang="en-US" sz="1000" dirty="0">
                  <a:solidFill>
                    <a:srgbClr val="002060"/>
                  </a:solidFill>
                </a:rPr>
                <a:t>Estimate Size and Structure of Target System and download blueprint (XML)</a:t>
              </a:r>
            </a:p>
          </p:txBody>
        </p:sp>
        <p:sp>
          <p:nvSpPr>
            <p:cNvPr id="11" name="Rechteck 10">
              <a:extLst>
                <a:ext uri="{FF2B5EF4-FFF2-40B4-BE49-F238E27FC236}">
                  <a16:creationId xmlns:a16="http://schemas.microsoft.com/office/drawing/2014/main" id="{1B07C04B-72FE-4DE5-AE01-CBD485A5FCDF}"/>
                </a:ext>
              </a:extLst>
            </p:cNvPr>
            <p:cNvSpPr/>
            <p:nvPr/>
          </p:nvSpPr>
          <p:spPr>
            <a:xfrm>
              <a:off x="8066522" y="3205763"/>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chemeClr val="accent1">
                      <a:lumMod val="50000"/>
                    </a:schemeClr>
                  </a:solidFill>
                </a:rPr>
                <a:t>5. Setup</a:t>
              </a:r>
            </a:p>
            <a:p>
              <a:r>
                <a:rPr lang="en-US" sz="1000">
                  <a:solidFill>
                    <a:schemeClr val="accent1">
                      <a:lumMod val="50000"/>
                    </a:schemeClr>
                  </a:solidFill>
                </a:rPr>
                <a:t>Download the scoping results to start the Project</a:t>
              </a:r>
            </a:p>
          </p:txBody>
        </p:sp>
        <p:sp>
          <p:nvSpPr>
            <p:cNvPr id="12" name="Rechteck 11">
              <a:extLst>
                <a:ext uri="{FF2B5EF4-FFF2-40B4-BE49-F238E27FC236}">
                  <a16:creationId xmlns:a16="http://schemas.microsoft.com/office/drawing/2014/main" id="{A15B490D-0100-4089-B5B6-913947B04C97}"/>
                </a:ext>
              </a:extLst>
            </p:cNvPr>
            <p:cNvSpPr/>
            <p:nvPr/>
          </p:nvSpPr>
          <p:spPr>
            <a:xfrm>
              <a:off x="9992165" y="3201315"/>
              <a:ext cx="1878932"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6. Control</a:t>
              </a:r>
              <a:endParaRPr lang="en-US" sz="1100" b="1">
                <a:solidFill>
                  <a:srgbClr val="002060"/>
                </a:solidFill>
              </a:endParaRPr>
            </a:p>
            <a:p>
              <a:r>
                <a:rPr lang="en-US" sz="1000">
                  <a:solidFill>
                    <a:srgbClr val="002060"/>
                  </a:solidFill>
                </a:rPr>
                <a:t>Control the project in Solman</a:t>
              </a:r>
            </a:p>
          </p:txBody>
        </p:sp>
        <p:cxnSp>
          <p:nvCxnSpPr>
            <p:cNvPr id="14" name="Gerade Verbindung mit Pfeil 13">
              <a:extLst>
                <a:ext uri="{FF2B5EF4-FFF2-40B4-BE49-F238E27FC236}">
                  <a16:creationId xmlns:a16="http://schemas.microsoft.com/office/drawing/2014/main" id="{1FB74D42-4D44-4FE5-B24E-1F0C17603D5A}"/>
                </a:ext>
              </a:extLst>
            </p:cNvPr>
            <p:cNvCxnSpPr/>
            <p:nvPr/>
          </p:nvCxnSpPr>
          <p:spPr>
            <a:xfrm>
              <a:off x="406400" y="3140968"/>
              <a:ext cx="11377613" cy="0"/>
            </a:xfrm>
            <a:prstGeom prst="straightConnector1">
              <a:avLst/>
            </a:prstGeom>
            <a:ln w="508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Ellipse 14">
              <a:extLst>
                <a:ext uri="{FF2B5EF4-FFF2-40B4-BE49-F238E27FC236}">
                  <a16:creationId xmlns:a16="http://schemas.microsoft.com/office/drawing/2014/main" id="{3CAF8349-A5A1-442F-8840-E81F04C4E13F}"/>
                </a:ext>
              </a:extLst>
            </p:cNvPr>
            <p:cNvSpPr/>
            <p:nvPr/>
          </p:nvSpPr>
          <p:spPr>
            <a:xfrm>
              <a:off x="622598" y="303732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6" name="Ellipse 15">
              <a:extLst>
                <a:ext uri="{FF2B5EF4-FFF2-40B4-BE49-F238E27FC236}">
                  <a16:creationId xmlns:a16="http://schemas.microsoft.com/office/drawing/2014/main" id="{F9E7DC64-5772-49A0-8641-B2F19ECF2A8F}"/>
                </a:ext>
              </a:extLst>
            </p:cNvPr>
            <p:cNvSpPr/>
            <p:nvPr/>
          </p:nvSpPr>
          <p:spPr>
            <a:xfrm>
              <a:off x="2422798" y="3041578"/>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7" name="Ellipse 16">
              <a:extLst>
                <a:ext uri="{FF2B5EF4-FFF2-40B4-BE49-F238E27FC236}">
                  <a16:creationId xmlns:a16="http://schemas.microsoft.com/office/drawing/2014/main" id="{B6C35302-3BD4-48BB-B198-6F4FBC05E076}"/>
                </a:ext>
              </a:extLst>
            </p:cNvPr>
            <p:cNvSpPr/>
            <p:nvPr/>
          </p:nvSpPr>
          <p:spPr>
            <a:xfrm>
              <a:off x="4331030" y="3041882"/>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8" name="Ellipse 17">
              <a:extLst>
                <a:ext uri="{FF2B5EF4-FFF2-40B4-BE49-F238E27FC236}">
                  <a16:creationId xmlns:a16="http://schemas.microsoft.com/office/drawing/2014/main" id="{B6DC7796-64E3-4061-9ECB-6FB1F9B4991C}"/>
                </a:ext>
              </a:extLst>
            </p:cNvPr>
            <p:cNvSpPr/>
            <p:nvPr/>
          </p:nvSpPr>
          <p:spPr>
            <a:xfrm>
              <a:off x="6167214" y="304614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9" name="Ellipse 18">
              <a:extLst>
                <a:ext uri="{FF2B5EF4-FFF2-40B4-BE49-F238E27FC236}">
                  <a16:creationId xmlns:a16="http://schemas.microsoft.com/office/drawing/2014/main" id="{1B53BBCB-2B7A-4ADA-A44B-55747D625216}"/>
                </a:ext>
              </a:extLst>
            </p:cNvPr>
            <p:cNvSpPr/>
            <p:nvPr/>
          </p:nvSpPr>
          <p:spPr>
            <a:xfrm>
              <a:off x="8075446" y="3045967"/>
              <a:ext cx="180000" cy="180000"/>
            </a:xfrm>
            <a:prstGeom prst="ellipse">
              <a:avLst/>
            </a:prstGeom>
            <a:solidFill>
              <a:schemeClr val="bg1">
                <a:lumMod val="75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20" name="Ellipse 19">
              <a:extLst>
                <a:ext uri="{FF2B5EF4-FFF2-40B4-BE49-F238E27FC236}">
                  <a16:creationId xmlns:a16="http://schemas.microsoft.com/office/drawing/2014/main" id="{95972A82-0734-4BC8-988D-A2E14E53E3F3}"/>
                </a:ext>
              </a:extLst>
            </p:cNvPr>
            <p:cNvSpPr/>
            <p:nvPr/>
          </p:nvSpPr>
          <p:spPr>
            <a:xfrm>
              <a:off x="9983658" y="3050225"/>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grpSp>
      <p:sp>
        <p:nvSpPr>
          <p:cNvPr id="22" name="Rechteck 21">
            <a:extLst>
              <a:ext uri="{FF2B5EF4-FFF2-40B4-BE49-F238E27FC236}">
                <a16:creationId xmlns:a16="http://schemas.microsoft.com/office/drawing/2014/main" id="{561EC3A5-AF60-444C-8E52-7783786AADC5}"/>
              </a:ext>
            </a:extLst>
          </p:cNvPr>
          <p:cNvSpPr/>
          <p:nvPr/>
        </p:nvSpPr>
        <p:spPr>
          <a:xfrm>
            <a:off x="366026" y="1181348"/>
            <a:ext cx="3028879"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dirty="0">
                <a:solidFill>
                  <a:srgbClr val="002060"/>
                </a:solidFill>
              </a:rPr>
              <a:t>Steps in CrystalBridge</a:t>
            </a:r>
            <a:endParaRPr lang="en-US" sz="1000" dirty="0">
              <a:solidFill>
                <a:srgbClr val="002060"/>
              </a:solidFill>
            </a:endParaRPr>
          </a:p>
        </p:txBody>
      </p:sp>
      <p:sp>
        <p:nvSpPr>
          <p:cNvPr id="92" name="Rechteck 91">
            <a:extLst>
              <a:ext uri="{FF2B5EF4-FFF2-40B4-BE49-F238E27FC236}">
                <a16:creationId xmlns:a16="http://schemas.microsoft.com/office/drawing/2014/main" id="{B329F20A-F84B-4982-9D5C-554949BAE1D2}"/>
              </a:ext>
            </a:extLst>
          </p:cNvPr>
          <p:cNvSpPr/>
          <p:nvPr/>
        </p:nvSpPr>
        <p:spPr>
          <a:xfrm>
            <a:off x="620515" y="3132649"/>
            <a:ext cx="2774390"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Export Selection for TC</a:t>
            </a:r>
            <a:endParaRPr lang="en-US" sz="1100" b="1">
              <a:solidFill>
                <a:srgbClr val="002060"/>
              </a:solidFill>
            </a:endParaRPr>
          </a:p>
        </p:txBody>
      </p:sp>
      <p:sp>
        <p:nvSpPr>
          <p:cNvPr id="110" name="Rechteck 109">
            <a:extLst>
              <a:ext uri="{FF2B5EF4-FFF2-40B4-BE49-F238E27FC236}">
                <a16:creationId xmlns:a16="http://schemas.microsoft.com/office/drawing/2014/main" id="{09EBB9C0-8AE2-4078-8A31-3A220DEA47C1}"/>
              </a:ext>
            </a:extLst>
          </p:cNvPr>
          <p:cNvSpPr/>
          <p:nvPr/>
        </p:nvSpPr>
        <p:spPr>
          <a:xfrm>
            <a:off x="4341264" y="3128593"/>
            <a:ext cx="3414086"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chemeClr val="bg1">
                    <a:lumMod val="50000"/>
                  </a:schemeClr>
                </a:solidFill>
              </a:rPr>
              <a:t>Export Selection for Blueprint in Word</a:t>
            </a:r>
          </a:p>
        </p:txBody>
      </p:sp>
      <p:sp>
        <p:nvSpPr>
          <p:cNvPr id="113" name="Rechteck 112">
            <a:extLst>
              <a:ext uri="{FF2B5EF4-FFF2-40B4-BE49-F238E27FC236}">
                <a16:creationId xmlns:a16="http://schemas.microsoft.com/office/drawing/2014/main" id="{4C60415C-282C-4D52-9AC2-F25044993915}"/>
              </a:ext>
            </a:extLst>
          </p:cNvPr>
          <p:cNvSpPr/>
          <p:nvPr/>
        </p:nvSpPr>
        <p:spPr>
          <a:xfrm>
            <a:off x="8104705" y="3115900"/>
            <a:ext cx="3766391" cy="893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lang="en-US" sz="1400" b="1">
                <a:solidFill>
                  <a:srgbClr val="002060"/>
                </a:solidFill>
              </a:rPr>
              <a:t>Export Selection for Planning in </a:t>
            </a:r>
            <a:r>
              <a:rPr lang="en-US" sz="1400" b="1" err="1">
                <a:solidFill>
                  <a:srgbClr val="002060"/>
                </a:solidFill>
              </a:rPr>
              <a:t>SolMan</a:t>
            </a:r>
            <a:endParaRPr lang="en-US" sz="1100" b="1">
              <a:solidFill>
                <a:srgbClr val="002060"/>
              </a:solidFill>
            </a:endParaRPr>
          </a:p>
        </p:txBody>
      </p:sp>
      <p:cxnSp>
        <p:nvCxnSpPr>
          <p:cNvPr id="114" name="Gerade Verbindung mit Pfeil 113">
            <a:extLst>
              <a:ext uri="{FF2B5EF4-FFF2-40B4-BE49-F238E27FC236}">
                <a16:creationId xmlns:a16="http://schemas.microsoft.com/office/drawing/2014/main" id="{F94C73DD-A426-4E96-94A9-0F636F943154}"/>
              </a:ext>
            </a:extLst>
          </p:cNvPr>
          <p:cNvCxnSpPr/>
          <p:nvPr/>
        </p:nvCxnSpPr>
        <p:spPr>
          <a:xfrm>
            <a:off x="421217" y="3055553"/>
            <a:ext cx="11377613" cy="0"/>
          </a:xfrm>
          <a:prstGeom prst="straightConnector1">
            <a:avLst/>
          </a:prstGeom>
          <a:ln w="508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5" name="Ellipse 114">
            <a:extLst>
              <a:ext uri="{FF2B5EF4-FFF2-40B4-BE49-F238E27FC236}">
                <a16:creationId xmlns:a16="http://schemas.microsoft.com/office/drawing/2014/main" id="{2074993C-EC93-4FCD-A6F8-1C3576E084A3}"/>
              </a:ext>
            </a:extLst>
          </p:cNvPr>
          <p:cNvSpPr/>
          <p:nvPr/>
        </p:nvSpPr>
        <p:spPr>
          <a:xfrm>
            <a:off x="677601" y="293590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17" name="Ellipse 116">
            <a:extLst>
              <a:ext uri="{FF2B5EF4-FFF2-40B4-BE49-F238E27FC236}">
                <a16:creationId xmlns:a16="http://schemas.microsoft.com/office/drawing/2014/main" id="{262656AA-48B4-47A6-9C30-E5A41380DCAB}"/>
              </a:ext>
            </a:extLst>
          </p:cNvPr>
          <p:cNvSpPr/>
          <p:nvPr/>
        </p:nvSpPr>
        <p:spPr>
          <a:xfrm>
            <a:off x="4345847" y="2956467"/>
            <a:ext cx="180000" cy="180000"/>
          </a:xfrm>
          <a:prstGeom prst="ellipse">
            <a:avLst/>
          </a:prstGeom>
          <a:solidFill>
            <a:schemeClr val="bg1">
              <a:lumMod val="50000"/>
            </a:schemeClr>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sp>
        <p:nvSpPr>
          <p:cNvPr id="120" name="Ellipse 119">
            <a:extLst>
              <a:ext uri="{FF2B5EF4-FFF2-40B4-BE49-F238E27FC236}">
                <a16:creationId xmlns:a16="http://schemas.microsoft.com/office/drawing/2014/main" id="{01F776EB-C47F-467C-B026-88576D0BC607}"/>
              </a:ext>
            </a:extLst>
          </p:cNvPr>
          <p:cNvSpPr/>
          <p:nvPr/>
        </p:nvSpPr>
        <p:spPr>
          <a:xfrm>
            <a:off x="8096199" y="2964810"/>
            <a:ext cx="180000" cy="180000"/>
          </a:xfrm>
          <a:prstGeom prst="ellipse">
            <a:avLst/>
          </a:prstGeom>
          <a:solidFill>
            <a:srgbClr val="00206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err="1"/>
          </a:p>
        </p:txBody>
      </p:sp>
      <p:cxnSp>
        <p:nvCxnSpPr>
          <p:cNvPr id="73" name="Verbinder: gewinkelt 72">
            <a:extLst>
              <a:ext uri="{FF2B5EF4-FFF2-40B4-BE49-F238E27FC236}">
                <a16:creationId xmlns:a16="http://schemas.microsoft.com/office/drawing/2014/main" id="{0973B7D4-E791-4039-A366-1CF1E71C4DA8}"/>
              </a:ext>
            </a:extLst>
          </p:cNvPr>
          <p:cNvCxnSpPr>
            <a:cxnSpLocks/>
            <a:endCxn id="115" idx="0"/>
          </p:cNvCxnSpPr>
          <p:nvPr/>
        </p:nvCxnSpPr>
        <p:spPr>
          <a:xfrm rot="10800000" flipV="1">
            <a:off x="767602" y="2512130"/>
            <a:ext cx="5619807" cy="423770"/>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Verbinder: gewinkelt 122">
            <a:extLst>
              <a:ext uri="{FF2B5EF4-FFF2-40B4-BE49-F238E27FC236}">
                <a16:creationId xmlns:a16="http://schemas.microsoft.com/office/drawing/2014/main" id="{138BB8D7-4568-4129-9B2A-A9E93704D239}"/>
              </a:ext>
            </a:extLst>
          </p:cNvPr>
          <p:cNvCxnSpPr>
            <a:cxnSpLocks/>
            <a:endCxn id="117" idx="0"/>
          </p:cNvCxnSpPr>
          <p:nvPr/>
        </p:nvCxnSpPr>
        <p:spPr>
          <a:xfrm rot="10800000" flipV="1">
            <a:off x="4435848" y="2585157"/>
            <a:ext cx="3713849" cy="371310"/>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6BF68D7A-D2EA-49FF-9900-A04588D801DE}"/>
              </a:ext>
            </a:extLst>
          </p:cNvPr>
          <p:cNvCxnSpPr/>
          <p:nvPr/>
        </p:nvCxnSpPr>
        <p:spPr>
          <a:xfrm>
            <a:off x="6378876" y="2368130"/>
            <a:ext cx="0" cy="144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98E95E23-9973-4B67-95F4-A69D7E8A565E}"/>
              </a:ext>
            </a:extLst>
          </p:cNvPr>
          <p:cNvCxnSpPr>
            <a:cxnSpLocks/>
          </p:cNvCxnSpPr>
          <p:nvPr/>
        </p:nvCxnSpPr>
        <p:spPr>
          <a:xfrm>
            <a:off x="8155608" y="2441504"/>
            <a:ext cx="0" cy="144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Verbinder: gewinkelt 40">
            <a:extLst>
              <a:ext uri="{FF2B5EF4-FFF2-40B4-BE49-F238E27FC236}">
                <a16:creationId xmlns:a16="http://schemas.microsoft.com/office/drawing/2014/main" id="{151B89C5-4B48-4D74-8A33-50D82F2EC9A0}"/>
              </a:ext>
            </a:extLst>
          </p:cNvPr>
          <p:cNvCxnSpPr>
            <a:cxnSpLocks/>
            <a:endCxn id="120" idx="0"/>
          </p:cNvCxnSpPr>
          <p:nvPr/>
        </p:nvCxnSpPr>
        <p:spPr>
          <a:xfrm rot="10800000" flipV="1">
            <a:off x="8186200" y="2737556"/>
            <a:ext cx="1907121" cy="227254"/>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E144FA8B-D793-4D12-B587-D3D0B89FB3EF}"/>
              </a:ext>
            </a:extLst>
          </p:cNvPr>
          <p:cNvCxnSpPr>
            <a:cxnSpLocks/>
          </p:cNvCxnSpPr>
          <p:nvPr/>
        </p:nvCxnSpPr>
        <p:spPr>
          <a:xfrm flipH="1" flipV="1">
            <a:off x="10093318" y="2340300"/>
            <a:ext cx="2" cy="40103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52" name="Grafik 51">
            <a:extLst>
              <a:ext uri="{FF2B5EF4-FFF2-40B4-BE49-F238E27FC236}">
                <a16:creationId xmlns:a16="http://schemas.microsoft.com/office/drawing/2014/main" id="{1C983529-2BA7-4987-8DE3-68CCCC1749C8}"/>
              </a:ext>
            </a:extLst>
          </p:cNvPr>
          <p:cNvPicPr>
            <a:picLocks noChangeAspect="1"/>
          </p:cNvPicPr>
          <p:nvPr/>
        </p:nvPicPr>
        <p:blipFill>
          <a:blip r:embed="rId2"/>
          <a:stretch>
            <a:fillRect/>
          </a:stretch>
        </p:blipFill>
        <p:spPr>
          <a:xfrm>
            <a:off x="592887" y="3528917"/>
            <a:ext cx="3414087" cy="2135429"/>
          </a:xfrm>
          <a:prstGeom prst="rect">
            <a:avLst/>
          </a:prstGeom>
        </p:spPr>
      </p:pic>
      <p:pic>
        <p:nvPicPr>
          <p:cNvPr id="2050" name="Picture 2" descr="Bildergebnis fÃ¼r solman project planning">
            <a:extLst>
              <a:ext uri="{FF2B5EF4-FFF2-40B4-BE49-F238E27FC236}">
                <a16:creationId xmlns:a16="http://schemas.microsoft.com/office/drawing/2014/main" id="{0524C41E-A36D-4ABC-B054-CBB75636E069}"/>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8126205" y="3575099"/>
            <a:ext cx="3681610" cy="2135413"/>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2">
            <a:extLst>
              <a:ext uri="{FF2B5EF4-FFF2-40B4-BE49-F238E27FC236}">
                <a16:creationId xmlns:a16="http://schemas.microsoft.com/office/drawing/2014/main" id="{AA1BBBBF-AF62-44F5-A99A-385D6B6BE7D0}"/>
              </a:ext>
            </a:extLst>
          </p:cNvPr>
          <p:cNvPicPr>
            <a:picLocks noChangeAspect="1"/>
          </p:cNvPicPr>
          <p:nvPr/>
        </p:nvPicPr>
        <p:blipFill>
          <a:blip r:embed="rId4"/>
          <a:stretch>
            <a:fillRect/>
          </a:stretch>
        </p:blipFill>
        <p:spPr>
          <a:xfrm>
            <a:off x="5008991" y="3554353"/>
            <a:ext cx="2133570" cy="2989035"/>
          </a:xfrm>
          <a:prstGeom prst="rect">
            <a:avLst/>
          </a:prstGeom>
        </p:spPr>
      </p:pic>
      <p:sp>
        <p:nvSpPr>
          <p:cNvPr id="5" name="Foliennummernplatzhalter 4">
            <a:extLst>
              <a:ext uri="{FF2B5EF4-FFF2-40B4-BE49-F238E27FC236}">
                <a16:creationId xmlns:a16="http://schemas.microsoft.com/office/drawing/2014/main" id="{43B263CE-7478-42D3-81ED-6DE5167C5374}"/>
              </a:ext>
            </a:extLst>
          </p:cNvPr>
          <p:cNvSpPr>
            <a:spLocks noGrp="1"/>
          </p:cNvSpPr>
          <p:nvPr>
            <p:ph type="sldNum" sz="quarter" idx="11"/>
          </p:nvPr>
        </p:nvSpPr>
        <p:spPr/>
        <p:txBody>
          <a:bodyPr/>
          <a:lstStyle/>
          <a:p>
            <a:fld id="{221F1D72-F2AC-4B6E-A46C-E63D2CF40C7B}" type="slidenum">
              <a:rPr lang="de-DE" smtClean="0"/>
              <a:pPr/>
              <a:t>27</a:t>
            </a:fld>
            <a:endParaRPr lang="de-DE"/>
          </a:p>
        </p:txBody>
      </p:sp>
      <p:sp>
        <p:nvSpPr>
          <p:cNvPr id="4" name="Date Placeholder 3">
            <a:extLst>
              <a:ext uri="{FF2B5EF4-FFF2-40B4-BE49-F238E27FC236}">
                <a16:creationId xmlns:a16="http://schemas.microsoft.com/office/drawing/2014/main" id="{F7A23A2D-D3ED-42D0-9767-DABB7F21294F}"/>
              </a:ext>
            </a:extLst>
          </p:cNvPr>
          <p:cNvSpPr>
            <a:spLocks noGrp="1"/>
          </p:cNvSpPr>
          <p:nvPr>
            <p:ph type="dt" sz="half" idx="10"/>
          </p:nvPr>
        </p:nvSpPr>
        <p:spPr/>
        <p:txBody>
          <a:bodyPr/>
          <a:lstStyle/>
          <a:p>
            <a:r>
              <a:rPr lang="en-US"/>
              <a:t>21/08/2019</a:t>
            </a:r>
            <a:endParaRPr lang="de-DE" dirty="0"/>
          </a:p>
        </p:txBody>
      </p:sp>
      <p:grpSp>
        <p:nvGrpSpPr>
          <p:cNvPr id="39" name="Gruppieren 23">
            <a:extLst>
              <a:ext uri="{FF2B5EF4-FFF2-40B4-BE49-F238E27FC236}">
                <a16:creationId xmlns:a16="http://schemas.microsoft.com/office/drawing/2014/main" id="{CF68C37E-B9F1-480B-B458-A4DAB9FC7517}"/>
              </a:ext>
            </a:extLst>
          </p:cNvPr>
          <p:cNvGrpSpPr/>
          <p:nvPr/>
        </p:nvGrpSpPr>
        <p:grpSpPr>
          <a:xfrm>
            <a:off x="8543478" y="116632"/>
            <a:ext cx="790389" cy="880719"/>
            <a:chOff x="4989407" y="2549111"/>
            <a:chExt cx="1904103" cy="2121714"/>
          </a:xfrm>
        </p:grpSpPr>
        <p:pic>
          <p:nvPicPr>
            <p:cNvPr id="40" name="Grafik 24">
              <a:extLst>
                <a:ext uri="{FF2B5EF4-FFF2-40B4-BE49-F238E27FC236}">
                  <a16:creationId xmlns:a16="http://schemas.microsoft.com/office/drawing/2014/main" id="{D7E0AFBB-4483-4203-9669-4D4B83ED8E98}"/>
                </a:ext>
              </a:extLst>
            </p:cNvPr>
            <p:cNvPicPr>
              <a:picLocks noChangeAspect="1"/>
            </p:cNvPicPr>
            <p:nvPr/>
          </p:nvPicPr>
          <p:blipFill>
            <a:blip r:embed="rId5" cstate="screen">
              <a:biLevel thresh="75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004810" y="2563284"/>
              <a:ext cx="1873296" cy="2093368"/>
            </a:xfrm>
            <a:prstGeom prst="rect">
              <a:avLst/>
            </a:prstGeom>
            <a:effectLst/>
          </p:spPr>
        </p:pic>
        <p:pic>
          <p:nvPicPr>
            <p:cNvPr id="42" name="Grafik 25">
              <a:extLst>
                <a:ext uri="{FF2B5EF4-FFF2-40B4-BE49-F238E27FC236}">
                  <a16:creationId xmlns:a16="http://schemas.microsoft.com/office/drawing/2014/main" id="{FF881045-27B9-4BE6-809A-ABD84E5F44C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89407" y="2549111"/>
              <a:ext cx="1904103" cy="2121714"/>
            </a:xfrm>
            <a:prstGeom prst="rect">
              <a:avLst/>
            </a:prstGeom>
          </p:spPr>
        </p:pic>
      </p:grpSp>
      <p:pic>
        <p:nvPicPr>
          <p:cNvPr id="43" name="Picture 42">
            <a:extLst>
              <a:ext uri="{FF2B5EF4-FFF2-40B4-BE49-F238E27FC236}">
                <a16:creationId xmlns:a16="http://schemas.microsoft.com/office/drawing/2014/main" id="{4F8DEEFD-BEC1-494A-ABE8-9C90A62B6F3A}"/>
              </a:ext>
            </a:extLst>
          </p:cNvPr>
          <p:cNvPicPr>
            <a:picLocks noChangeAspect="1"/>
          </p:cNvPicPr>
          <p:nvPr/>
        </p:nvPicPr>
        <p:blipFill>
          <a:blip r:embed="rId8"/>
          <a:stretch>
            <a:fillRect/>
          </a:stretch>
        </p:blipFill>
        <p:spPr>
          <a:xfrm>
            <a:off x="9994951" y="384669"/>
            <a:ext cx="1311958" cy="411043"/>
          </a:xfrm>
          <a:prstGeom prst="rect">
            <a:avLst/>
          </a:prstGeom>
        </p:spPr>
      </p:pic>
      <p:sp>
        <p:nvSpPr>
          <p:cNvPr id="46" name="Footer Placeholder 5">
            <a:extLst>
              <a:ext uri="{FF2B5EF4-FFF2-40B4-BE49-F238E27FC236}">
                <a16:creationId xmlns:a16="http://schemas.microsoft.com/office/drawing/2014/main" id="{99DE3149-54A2-40B0-82CE-893E1A83A145}"/>
              </a:ext>
            </a:extLst>
          </p:cNvPr>
          <p:cNvSpPr txBox="1">
            <a:spLocks/>
          </p:cNvSpPr>
          <p:nvPr/>
        </p:nvSpPr>
        <p:spPr>
          <a:xfrm>
            <a:off x="1054646" y="6475131"/>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GB" sz="900" dirty="0">
                <a:solidFill>
                  <a:srgbClr val="6F6F6F"/>
                </a:solidFill>
              </a:rPr>
              <a:t>NZSUG Auckland Event + SAP Forum</a:t>
            </a:r>
            <a:endParaRPr lang="de-DE" sz="900" dirty="0">
              <a:solidFill>
                <a:srgbClr val="6F6F6F"/>
              </a:solidFill>
            </a:endParaRPr>
          </a:p>
        </p:txBody>
      </p:sp>
    </p:spTree>
    <p:extLst>
      <p:ext uri="{BB962C8B-B14F-4D97-AF65-F5344CB8AC3E}">
        <p14:creationId xmlns:p14="http://schemas.microsoft.com/office/powerpoint/2010/main" val="898085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5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P spid="110" grpId="0"/>
      <p:bldP spid="113" grpId="0"/>
      <p:bldP spid="11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6A445538-86A4-4D4A-8F73-4C33DF73F066}"/>
              </a:ext>
            </a:extLst>
          </p:cNvPr>
          <p:cNvGrpSpPr/>
          <p:nvPr/>
        </p:nvGrpSpPr>
        <p:grpSpPr>
          <a:xfrm>
            <a:off x="0" y="1449390"/>
            <a:ext cx="6221644" cy="4895853"/>
            <a:chOff x="0" y="1449390"/>
            <a:chExt cx="6221644" cy="4895853"/>
          </a:xfrm>
        </p:grpSpPr>
        <p:sp>
          <p:nvSpPr>
            <p:cNvPr id="11" name="Rechteck 10">
              <a:extLst>
                <a:ext uri="{FF2B5EF4-FFF2-40B4-BE49-F238E27FC236}">
                  <a16:creationId xmlns:a16="http://schemas.microsoft.com/office/drawing/2014/main" id="{AC5533B0-2362-40D3-90C4-3143CADCB311}"/>
                </a:ext>
              </a:extLst>
            </p:cNvPr>
            <p:cNvSpPr/>
            <p:nvPr/>
          </p:nvSpPr>
          <p:spPr>
            <a:xfrm>
              <a:off x="0" y="1449390"/>
              <a:ext cx="3070870" cy="4895853"/>
            </a:xfrm>
            <a:prstGeom prst="rect">
              <a:avLst/>
            </a:pr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Univers"/>
                <a:ea typeface="+mn-ea"/>
                <a:cs typeface="+mn-cs"/>
              </a:endParaRPr>
            </a:p>
          </p:txBody>
        </p:sp>
        <p:sp>
          <p:nvSpPr>
            <p:cNvPr id="86" name="Freihandform 67">
              <a:extLst>
                <a:ext uri="{FF2B5EF4-FFF2-40B4-BE49-F238E27FC236}">
                  <a16:creationId xmlns:a16="http://schemas.microsoft.com/office/drawing/2014/main" id="{D19D8EDE-F5DC-4A48-A166-AAF264E1A90B}"/>
                </a:ext>
              </a:extLst>
            </p:cNvPr>
            <p:cNvSpPr/>
            <p:nvPr/>
          </p:nvSpPr>
          <p:spPr>
            <a:xfrm>
              <a:off x="2443790" y="1449390"/>
              <a:ext cx="3777854" cy="4895850"/>
            </a:xfrm>
            <a:custGeom>
              <a:avLst/>
              <a:gdLst>
                <a:gd name="connsiteX0" fmla="*/ 0 w 3777854"/>
                <a:gd name="connsiteY0" fmla="*/ 0 h 4895850"/>
                <a:gd name="connsiteX1" fmla="*/ 6286 w 3777854"/>
                <a:gd name="connsiteY1" fmla="*/ 0 h 4895850"/>
                <a:gd name="connsiteX2" fmla="*/ 2169500 w 3777854"/>
                <a:gd name="connsiteY2" fmla="*/ 0 h 4895850"/>
                <a:gd name="connsiteX3" fmla="*/ 2602170 w 3777854"/>
                <a:gd name="connsiteY3" fmla="*/ 242976 h 4895850"/>
                <a:gd name="connsiteX4" fmla="*/ 3718956 w 3777854"/>
                <a:gd name="connsiteY4" fmla="*/ 2184512 h 4895850"/>
                <a:gd name="connsiteX5" fmla="*/ 3777854 w 3777854"/>
                <a:gd name="connsiteY5" fmla="*/ 2434300 h 4895850"/>
                <a:gd name="connsiteX6" fmla="*/ 3718956 w 3777854"/>
                <a:gd name="connsiteY6" fmla="*/ 2686359 h 4895850"/>
                <a:gd name="connsiteX7" fmla="*/ 2602170 w 3777854"/>
                <a:gd name="connsiteY7" fmla="*/ 4636978 h 4895850"/>
                <a:gd name="connsiteX8" fmla="*/ 2169500 w 3777854"/>
                <a:gd name="connsiteY8" fmla="*/ 4895850 h 4895850"/>
                <a:gd name="connsiteX9" fmla="*/ 140908 w 3777854"/>
                <a:gd name="connsiteY9" fmla="*/ 4895850 h 4895850"/>
                <a:gd name="connsiteX10" fmla="*/ 0 w 3777854"/>
                <a:gd name="connsiteY10" fmla="*/ 4895850 h 4895850"/>
                <a:gd name="connsiteX11" fmla="*/ 0 w 3777854"/>
                <a:gd name="connsiteY11"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7854" h="4895850">
                  <a:moveTo>
                    <a:pt x="0" y="0"/>
                  </a:moveTo>
                  <a:lnTo>
                    <a:pt x="6286" y="0"/>
                  </a:lnTo>
                  <a:cubicBezTo>
                    <a:pt x="156093" y="0"/>
                    <a:pt x="635476" y="0"/>
                    <a:pt x="2169500" y="0"/>
                  </a:cubicBezTo>
                  <a:cubicBezTo>
                    <a:pt x="2332600" y="0"/>
                    <a:pt x="2525150" y="106727"/>
                    <a:pt x="2602170" y="242976"/>
                  </a:cubicBezTo>
                  <a:cubicBezTo>
                    <a:pt x="2602170" y="242976"/>
                    <a:pt x="2602170" y="242976"/>
                    <a:pt x="3718956" y="2184512"/>
                  </a:cubicBezTo>
                  <a:cubicBezTo>
                    <a:pt x="3757466" y="2250365"/>
                    <a:pt x="3777854" y="2338926"/>
                    <a:pt x="3777854" y="2434300"/>
                  </a:cubicBezTo>
                  <a:cubicBezTo>
                    <a:pt x="3777854" y="2529674"/>
                    <a:pt x="3757466" y="2618235"/>
                    <a:pt x="3718956" y="2686359"/>
                  </a:cubicBezTo>
                  <a:cubicBezTo>
                    <a:pt x="3718956" y="2686359"/>
                    <a:pt x="3718956" y="2686359"/>
                    <a:pt x="2602170" y="4636978"/>
                  </a:cubicBezTo>
                  <a:cubicBezTo>
                    <a:pt x="2520619" y="4780039"/>
                    <a:pt x="2325805" y="4895850"/>
                    <a:pt x="2169500" y="4895850"/>
                  </a:cubicBezTo>
                  <a:cubicBezTo>
                    <a:pt x="2169500" y="4895850"/>
                    <a:pt x="2169500" y="4895850"/>
                    <a:pt x="140908" y="4895850"/>
                  </a:cubicBezTo>
                  <a:lnTo>
                    <a:pt x="0" y="4895850"/>
                  </a:lnTo>
                  <a:lnTo>
                    <a:pt x="0" y="0"/>
                  </a:lnTo>
                  <a:close/>
                </a:path>
              </a:pathLst>
            </a:custGeom>
            <a:solidFill>
              <a:schemeClr val="bg2">
                <a:lumMod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Univers"/>
                <a:ea typeface="+mn-ea"/>
                <a:cs typeface="+mn-cs"/>
              </a:endParaRPr>
            </a:p>
          </p:txBody>
        </p:sp>
      </p:grpSp>
      <p:sp>
        <p:nvSpPr>
          <p:cNvPr id="4" name="Titel 3">
            <a:extLst>
              <a:ext uri="{FF2B5EF4-FFF2-40B4-BE49-F238E27FC236}">
                <a16:creationId xmlns:a16="http://schemas.microsoft.com/office/drawing/2014/main" id="{297CF0C6-8A9D-44DC-B431-BC5779E35426}"/>
              </a:ext>
            </a:extLst>
          </p:cNvPr>
          <p:cNvSpPr>
            <a:spLocks noGrp="1"/>
          </p:cNvSpPr>
          <p:nvPr>
            <p:ph type="title"/>
          </p:nvPr>
        </p:nvSpPr>
        <p:spPr/>
        <p:txBody>
          <a:bodyPr/>
          <a:lstStyle/>
          <a:p>
            <a:r>
              <a:rPr lang="de-DE" dirty="0"/>
              <a:t>SNP Software Products</a:t>
            </a:r>
          </a:p>
        </p:txBody>
      </p:sp>
      <p:sp>
        <p:nvSpPr>
          <p:cNvPr id="25" name="Rechteck 6">
            <a:extLst>
              <a:ext uri="{FF2B5EF4-FFF2-40B4-BE49-F238E27FC236}">
                <a16:creationId xmlns:a16="http://schemas.microsoft.com/office/drawing/2014/main" id="{7A7C5EB8-708E-44FB-8CAE-25C33F5C58BD}"/>
              </a:ext>
            </a:extLst>
          </p:cNvPr>
          <p:cNvSpPr>
            <a:spLocks/>
          </p:cNvSpPr>
          <p:nvPr/>
        </p:nvSpPr>
        <p:spPr>
          <a:xfrm>
            <a:off x="406399" y="5393940"/>
            <a:ext cx="4224674" cy="903107"/>
          </a:xfrm>
          <a:prstGeom prst="rect">
            <a:avLst/>
          </a:prstGeom>
          <a:noFill/>
          <a:ln>
            <a:noFill/>
          </a:ln>
        </p:spPr>
        <p:txBody>
          <a:bodyPr wrap="square" lIns="72000" tIns="108000" rIns="108000" bIns="72000" rtlCol="0" anchor="ctr" anchorCtr="0">
            <a:noAutofit/>
          </a:bodyPr>
          <a:lstStyle/>
          <a:p>
            <a:pPr marL="0" marR="0" lvl="0" indent="0" algn="l" defTabSz="1219078" rtl="0" eaLnBrk="1" fontAlgn="auto" latinLnBrk="0" hangingPunct="1">
              <a:lnSpc>
                <a:spcPct val="100000"/>
              </a:lnSpc>
              <a:spcBef>
                <a:spcPts val="600"/>
              </a:spcBef>
              <a:spcAft>
                <a:spcPts val="0"/>
              </a:spcAft>
              <a:buClrTx/>
              <a:buSzTx/>
              <a:buFontTx/>
              <a:buNone/>
              <a:tabLst/>
              <a:defRPr/>
            </a:pPr>
            <a:r>
              <a:rPr kumimoji="0" lang="de-DE" sz="1400" b="1"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SNP Transformation Backbone</a:t>
            </a:r>
          </a:p>
          <a:p>
            <a:pPr marL="0" marR="0" lvl="0" indent="0" algn="l" defTabSz="1219078" rtl="0" eaLnBrk="1" fontAlgn="auto" latinLnBrk="0" hangingPunct="1">
              <a:lnSpc>
                <a:spcPct val="100000"/>
              </a:lnSpc>
              <a:spcBef>
                <a:spcPts val="600"/>
              </a:spcBef>
              <a:spcAft>
                <a:spcPts val="0"/>
              </a:spcAft>
              <a:buClrTx/>
              <a:buSzTx/>
              <a:buFontTx/>
              <a:buNone/>
              <a:tabLst/>
              <a:defRPr/>
            </a:pPr>
            <a:r>
              <a:rPr kumimoji="0" lang="de-DE" sz="1100" b="0"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Unique Software with pre-defined content ensuring easy and secure transformations</a:t>
            </a:r>
          </a:p>
        </p:txBody>
      </p:sp>
      <p:cxnSp>
        <p:nvCxnSpPr>
          <p:cNvPr id="26" name="Gerader Verbinder 109">
            <a:extLst>
              <a:ext uri="{FF2B5EF4-FFF2-40B4-BE49-F238E27FC236}">
                <a16:creationId xmlns:a16="http://schemas.microsoft.com/office/drawing/2014/main" id="{D339B99F-809E-479C-BADA-F4085E2076BD}"/>
              </a:ext>
            </a:extLst>
          </p:cNvPr>
          <p:cNvCxnSpPr>
            <a:cxnSpLocks/>
          </p:cNvCxnSpPr>
          <p:nvPr/>
        </p:nvCxnSpPr>
        <p:spPr>
          <a:xfrm>
            <a:off x="798647" y="5108939"/>
            <a:ext cx="3393426" cy="0"/>
          </a:xfrm>
          <a:prstGeom prst="line">
            <a:avLst/>
          </a:prstGeom>
          <a:solidFill>
            <a:schemeClr val="accent6"/>
          </a:solidFill>
          <a:ln w="12700">
            <a:noFill/>
          </a:ln>
          <a:effectLst/>
        </p:spPr>
        <p:style>
          <a:lnRef idx="2">
            <a:schemeClr val="accent1"/>
          </a:lnRef>
          <a:fillRef idx="0">
            <a:schemeClr val="accent1"/>
          </a:fillRef>
          <a:effectRef idx="1">
            <a:schemeClr val="accent1"/>
          </a:effectRef>
          <a:fontRef idx="minor">
            <a:schemeClr val="tx1"/>
          </a:fontRef>
        </p:style>
      </p:cxnSp>
      <p:sp>
        <p:nvSpPr>
          <p:cNvPr id="28" name="Rechteck 6">
            <a:extLst>
              <a:ext uri="{FF2B5EF4-FFF2-40B4-BE49-F238E27FC236}">
                <a16:creationId xmlns:a16="http://schemas.microsoft.com/office/drawing/2014/main" id="{0E80A00F-090E-484E-9862-CED7568B8103}"/>
              </a:ext>
            </a:extLst>
          </p:cNvPr>
          <p:cNvSpPr>
            <a:spLocks/>
          </p:cNvSpPr>
          <p:nvPr/>
        </p:nvSpPr>
        <p:spPr>
          <a:xfrm>
            <a:off x="448627" y="4415241"/>
            <a:ext cx="4182446" cy="903107"/>
          </a:xfrm>
          <a:prstGeom prst="rect">
            <a:avLst/>
          </a:prstGeom>
          <a:noFill/>
          <a:ln>
            <a:noFill/>
          </a:ln>
        </p:spPr>
        <p:txBody>
          <a:bodyPr wrap="square" lIns="72000" tIns="108000" rIns="108000" bIns="72000" rtlCol="0" anchor="ctr" anchorCtr="0">
            <a:noAutofit/>
          </a:bodyPr>
          <a:lstStyle/>
          <a:p>
            <a:pPr marL="0" marR="0" lvl="0" indent="0" algn="l" defTabSz="1219078" rtl="0" eaLnBrk="1" fontAlgn="auto" latinLnBrk="0" hangingPunct="1">
              <a:lnSpc>
                <a:spcPct val="100000"/>
              </a:lnSpc>
              <a:spcBef>
                <a:spcPts val="600"/>
              </a:spcBef>
              <a:spcAft>
                <a:spcPts val="0"/>
              </a:spcAft>
              <a:buClrTx/>
              <a:buSzTx/>
              <a:buFontTx/>
              <a:buNone/>
              <a:tabLst/>
              <a:defRPr/>
            </a:pPr>
            <a:r>
              <a:rPr kumimoji="0" lang="de-DE" sz="1400" b="1"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SNP System Scan</a:t>
            </a:r>
          </a:p>
          <a:p>
            <a:pPr marL="0" marR="0" lvl="0" indent="0" algn="l" defTabSz="1219078" rtl="0" eaLnBrk="1" fontAlgn="auto" latinLnBrk="0" hangingPunct="1">
              <a:lnSpc>
                <a:spcPct val="100000"/>
              </a:lnSpc>
              <a:spcBef>
                <a:spcPts val="600"/>
              </a:spcBef>
              <a:spcAft>
                <a:spcPts val="0"/>
              </a:spcAft>
              <a:buClrTx/>
              <a:buSzTx/>
              <a:buFontTx/>
              <a:buNone/>
              <a:tabLst/>
              <a:defRPr/>
            </a:pPr>
            <a:r>
              <a:rPr kumimoji="0" lang="de-DE" sz="1100" b="0"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Technical Analysis of used SAP Modules, Organizational Units, Tables, Repository and System Usage</a:t>
            </a:r>
          </a:p>
        </p:txBody>
      </p:sp>
      <p:sp>
        <p:nvSpPr>
          <p:cNvPr id="31" name="Rechteck 6">
            <a:extLst>
              <a:ext uri="{FF2B5EF4-FFF2-40B4-BE49-F238E27FC236}">
                <a16:creationId xmlns:a16="http://schemas.microsoft.com/office/drawing/2014/main" id="{F5FCD6DB-4EDE-4FA9-8018-66C9AB6AAD36}"/>
              </a:ext>
            </a:extLst>
          </p:cNvPr>
          <p:cNvSpPr>
            <a:spLocks/>
          </p:cNvSpPr>
          <p:nvPr/>
        </p:nvSpPr>
        <p:spPr>
          <a:xfrm>
            <a:off x="448628" y="3428206"/>
            <a:ext cx="4182445" cy="903107"/>
          </a:xfrm>
          <a:prstGeom prst="rect">
            <a:avLst/>
          </a:prstGeom>
          <a:noFill/>
          <a:ln>
            <a:noFill/>
          </a:ln>
        </p:spPr>
        <p:txBody>
          <a:bodyPr wrap="square" lIns="72000" tIns="108000" rIns="108000" bIns="72000" rtlCol="0" anchor="ctr" anchorCtr="0">
            <a:noAutofit/>
          </a:bodyPr>
          <a:lstStyle/>
          <a:p>
            <a:pPr marL="0" marR="0" lvl="0" indent="0" algn="l" defTabSz="1219078" rtl="0" eaLnBrk="1" fontAlgn="auto" latinLnBrk="0" hangingPunct="1">
              <a:lnSpc>
                <a:spcPct val="100000"/>
              </a:lnSpc>
              <a:spcBef>
                <a:spcPts val="600"/>
              </a:spcBef>
              <a:spcAft>
                <a:spcPts val="0"/>
              </a:spcAft>
              <a:buClrTx/>
              <a:buSzTx/>
              <a:buFontTx/>
              <a:buNone/>
              <a:tabLst/>
              <a:defRPr/>
            </a:pPr>
            <a:r>
              <a:rPr kumimoji="0" lang="de-DE" sz="1400" b="1"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SNP Interface Scanner</a:t>
            </a:r>
          </a:p>
          <a:p>
            <a:pPr marL="0" marR="0" lvl="0" indent="0" algn="l" defTabSz="1219078" rtl="0" eaLnBrk="1" fontAlgn="auto" latinLnBrk="0" hangingPunct="1">
              <a:lnSpc>
                <a:spcPct val="100000"/>
              </a:lnSpc>
              <a:spcBef>
                <a:spcPts val="600"/>
              </a:spcBef>
              <a:spcAft>
                <a:spcPts val="0"/>
              </a:spcAft>
              <a:buClrTx/>
              <a:buSzTx/>
              <a:buFontTx/>
              <a:buNone/>
              <a:tabLst/>
              <a:defRPr/>
            </a:pPr>
            <a:r>
              <a:rPr kumimoji="0" lang="de-DE" sz="1100" b="0"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Analysis and Documentation of used Interfaces to SAP System</a:t>
            </a:r>
          </a:p>
        </p:txBody>
      </p:sp>
      <p:sp>
        <p:nvSpPr>
          <p:cNvPr id="34" name="Rechteck 6">
            <a:extLst>
              <a:ext uri="{FF2B5EF4-FFF2-40B4-BE49-F238E27FC236}">
                <a16:creationId xmlns:a16="http://schemas.microsoft.com/office/drawing/2014/main" id="{1CCBEFB8-B373-405B-9821-B985BC30961D}"/>
              </a:ext>
            </a:extLst>
          </p:cNvPr>
          <p:cNvSpPr>
            <a:spLocks/>
          </p:cNvSpPr>
          <p:nvPr/>
        </p:nvSpPr>
        <p:spPr>
          <a:xfrm>
            <a:off x="415548" y="2469246"/>
            <a:ext cx="4212931" cy="903107"/>
          </a:xfrm>
          <a:prstGeom prst="rect">
            <a:avLst/>
          </a:prstGeom>
          <a:noFill/>
        </p:spPr>
        <p:txBody>
          <a:bodyPr wrap="square" lIns="72000" tIns="108000" rIns="108000" bIns="72000" rtlCol="0" anchor="ctr" anchorCtr="0">
            <a:noAutofit/>
          </a:bodyPr>
          <a:lstStyle/>
          <a:p>
            <a:pPr marL="0" marR="0" lvl="0" indent="0" algn="l" defTabSz="1219078" rtl="0" eaLnBrk="1" fontAlgn="auto" latinLnBrk="0" hangingPunct="1">
              <a:lnSpc>
                <a:spcPct val="100000"/>
              </a:lnSpc>
              <a:spcBef>
                <a:spcPts val="600"/>
              </a:spcBef>
              <a:spcAft>
                <a:spcPts val="0"/>
              </a:spcAft>
              <a:buClrTx/>
              <a:buSzTx/>
              <a:buFontTx/>
              <a:buNone/>
              <a:tabLst/>
              <a:defRPr/>
            </a:pPr>
            <a:r>
              <a:rPr kumimoji="0" lang="de-DE" sz="1400" b="1"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SNP Data </a:t>
            </a:r>
            <a:r>
              <a:rPr kumimoji="0" lang="de-DE" sz="1400" b="1" i="0" u="none" strike="noStrike" kern="1200" cap="none" spc="0" normalizeH="0" baseline="0" noProof="0" dirty="0" err="1">
                <a:ln>
                  <a:noFill/>
                </a:ln>
                <a:solidFill>
                  <a:schemeClr val="bg1"/>
                </a:solidFill>
                <a:effectLst/>
                <a:uLnTx/>
                <a:uFillTx/>
                <a:latin typeface="Univers" panose="020B0503020202020204" pitchFamily="34" charset="0"/>
                <a:ea typeface="+mn-ea"/>
                <a:cs typeface="+mn-cs"/>
              </a:rPr>
              <a:t>Provisioning</a:t>
            </a:r>
            <a:r>
              <a:rPr kumimoji="0" lang="de-DE" sz="1400" b="1"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 &amp; </a:t>
            </a:r>
            <a:r>
              <a:rPr kumimoji="0" lang="de-DE" sz="1400" b="1" i="0" u="none" strike="noStrike" kern="1200" cap="none" spc="0" normalizeH="0" baseline="0" noProof="0" dirty="0" err="1">
                <a:ln>
                  <a:noFill/>
                </a:ln>
                <a:solidFill>
                  <a:schemeClr val="bg1"/>
                </a:solidFill>
                <a:effectLst/>
                <a:uLnTx/>
                <a:uFillTx/>
                <a:latin typeface="Univers" panose="020B0503020202020204" pitchFamily="34" charset="0"/>
                <a:ea typeface="+mn-ea"/>
                <a:cs typeface="+mn-cs"/>
              </a:rPr>
              <a:t>Masking</a:t>
            </a:r>
            <a:endParaRPr kumimoji="0" lang="de-DE" sz="1400" b="1" i="0" u="none" strike="noStrike" kern="1200" cap="none" spc="0" normalizeH="0" baseline="0" noProof="0" dirty="0">
              <a:ln>
                <a:noFill/>
              </a:ln>
              <a:solidFill>
                <a:schemeClr val="bg1"/>
              </a:solidFill>
              <a:effectLst/>
              <a:uLnTx/>
              <a:uFillTx/>
              <a:latin typeface="Univers" panose="020B0503020202020204" pitchFamily="34" charset="0"/>
              <a:ea typeface="+mn-ea"/>
              <a:cs typeface="+mn-cs"/>
            </a:endParaRPr>
          </a:p>
          <a:p>
            <a:pPr marL="0" marR="0" lvl="0" indent="0" algn="l" defTabSz="1219078" rtl="0" eaLnBrk="1" fontAlgn="auto" latinLnBrk="0" hangingPunct="1">
              <a:lnSpc>
                <a:spcPct val="100000"/>
              </a:lnSpc>
              <a:spcBef>
                <a:spcPts val="600"/>
              </a:spcBef>
              <a:spcAft>
                <a:spcPts val="0"/>
              </a:spcAft>
              <a:buClrTx/>
              <a:buSzTx/>
              <a:buFontTx/>
              <a:buNone/>
              <a:tabLst/>
              <a:defRPr/>
            </a:pPr>
            <a:r>
              <a:rPr kumimoji="0" lang="de-DE" sz="1100" b="0"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Analysis and Comparison of Repository Objects, Customizing and Number Ranges of SAP System</a:t>
            </a:r>
          </a:p>
        </p:txBody>
      </p:sp>
      <p:sp>
        <p:nvSpPr>
          <p:cNvPr id="37" name="Rechteck 6">
            <a:extLst>
              <a:ext uri="{FF2B5EF4-FFF2-40B4-BE49-F238E27FC236}">
                <a16:creationId xmlns:a16="http://schemas.microsoft.com/office/drawing/2014/main" id="{E7221959-BC25-40E7-9A73-2CB98DEB548B}"/>
              </a:ext>
            </a:extLst>
          </p:cNvPr>
          <p:cNvSpPr>
            <a:spLocks/>
          </p:cNvSpPr>
          <p:nvPr/>
        </p:nvSpPr>
        <p:spPr>
          <a:xfrm>
            <a:off x="418142" y="1490767"/>
            <a:ext cx="4212931" cy="903107"/>
          </a:xfrm>
          <a:prstGeom prst="rect">
            <a:avLst/>
          </a:prstGeom>
          <a:noFill/>
          <a:ln>
            <a:noFill/>
          </a:ln>
        </p:spPr>
        <p:txBody>
          <a:bodyPr wrap="square" lIns="72000" tIns="108000" rIns="108000" bIns="72000" rtlCol="0" anchor="ctr" anchorCtr="0">
            <a:noAutofit/>
          </a:bodyPr>
          <a:lstStyle/>
          <a:p>
            <a:pPr marL="0" marR="0" lvl="0" indent="0" algn="l" defTabSz="1219078" rtl="0" eaLnBrk="1" fontAlgn="auto" latinLnBrk="0" hangingPunct="1">
              <a:lnSpc>
                <a:spcPct val="100000"/>
              </a:lnSpc>
              <a:spcBef>
                <a:spcPts val="600"/>
              </a:spcBef>
              <a:spcAft>
                <a:spcPts val="0"/>
              </a:spcAft>
              <a:buClrTx/>
              <a:buSzTx/>
              <a:buFontTx/>
              <a:buNone/>
              <a:tabLst/>
              <a:defRPr/>
            </a:pPr>
            <a:r>
              <a:rPr kumimoji="0" lang="de-DE" sz="1400" b="1"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SNP Dragoman</a:t>
            </a:r>
          </a:p>
          <a:p>
            <a:pPr marL="0" marR="0" lvl="0" indent="0" algn="l" defTabSz="1219078" rtl="0" eaLnBrk="1" fontAlgn="auto" latinLnBrk="0" hangingPunct="1">
              <a:lnSpc>
                <a:spcPct val="100000"/>
              </a:lnSpc>
              <a:spcBef>
                <a:spcPts val="600"/>
              </a:spcBef>
              <a:spcAft>
                <a:spcPts val="0"/>
              </a:spcAft>
              <a:buClrTx/>
              <a:buSzTx/>
              <a:buFontTx/>
              <a:buNone/>
              <a:tabLst/>
              <a:defRPr/>
            </a:pPr>
            <a:r>
              <a:rPr kumimoji="0" lang="de-DE" sz="1100" b="0" i="0" u="none" strike="noStrike" kern="1200" cap="none" spc="0" normalizeH="0" baseline="0" noProof="0" dirty="0" err="1">
                <a:ln>
                  <a:noFill/>
                </a:ln>
                <a:solidFill>
                  <a:schemeClr val="bg1"/>
                </a:solidFill>
                <a:effectLst/>
                <a:uLnTx/>
                <a:uFillTx/>
                <a:latin typeface="Univers" panose="020B0503020202020204" pitchFamily="34" charset="0"/>
                <a:ea typeface="+mn-ea"/>
                <a:cs typeface="+mn-cs"/>
              </a:rPr>
              <a:t>Automated</a:t>
            </a:r>
            <a:r>
              <a:rPr kumimoji="0" lang="de-DE" sz="1100" b="0"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 Translation </a:t>
            </a:r>
            <a:r>
              <a:rPr kumimoji="0" lang="de-DE" sz="1100" b="0" i="0" u="none" strike="noStrike" kern="1200" cap="none" spc="0" normalizeH="0" baseline="0" noProof="0" dirty="0" err="1">
                <a:ln>
                  <a:noFill/>
                </a:ln>
                <a:solidFill>
                  <a:schemeClr val="bg1"/>
                </a:solidFill>
                <a:effectLst/>
                <a:uLnTx/>
                <a:uFillTx/>
                <a:latin typeface="Univers" panose="020B0503020202020204" pitchFamily="34" charset="0"/>
                <a:ea typeface="+mn-ea"/>
                <a:cs typeface="+mn-cs"/>
              </a:rPr>
              <a:t>of</a:t>
            </a:r>
            <a:r>
              <a:rPr kumimoji="0" lang="de-DE" sz="1100" b="0" i="0" u="none" strike="noStrike" kern="1200" cap="none" spc="0" normalizeH="0" baseline="0" noProof="0" dirty="0">
                <a:ln>
                  <a:noFill/>
                </a:ln>
                <a:solidFill>
                  <a:schemeClr val="bg1"/>
                </a:solidFill>
                <a:effectLst/>
                <a:uLnTx/>
                <a:uFillTx/>
                <a:latin typeface="Univers" panose="020B0503020202020204" pitchFamily="34" charset="0"/>
                <a:ea typeface="+mn-ea"/>
                <a:cs typeface="+mn-cs"/>
              </a:rPr>
              <a:t> SAP Systems</a:t>
            </a:r>
          </a:p>
        </p:txBody>
      </p:sp>
      <p:grpSp>
        <p:nvGrpSpPr>
          <p:cNvPr id="5" name="Gruppieren 4"/>
          <p:cNvGrpSpPr/>
          <p:nvPr/>
        </p:nvGrpSpPr>
        <p:grpSpPr>
          <a:xfrm>
            <a:off x="418142" y="2416931"/>
            <a:ext cx="4212931" cy="2946233"/>
            <a:chOff x="418142" y="2433205"/>
            <a:chExt cx="5290394" cy="2934027"/>
          </a:xfrm>
        </p:grpSpPr>
        <p:cxnSp>
          <p:nvCxnSpPr>
            <p:cNvPr id="58" name="Gerader Verbinder 57"/>
            <p:cNvCxnSpPr/>
            <p:nvPr/>
          </p:nvCxnSpPr>
          <p:spPr>
            <a:xfrm>
              <a:off x="418142" y="2433205"/>
              <a:ext cx="52903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418142" y="3411214"/>
              <a:ext cx="52903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a:off x="418142" y="4389223"/>
              <a:ext cx="52903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Gerader Verbinder 60"/>
            <p:cNvCxnSpPr/>
            <p:nvPr/>
          </p:nvCxnSpPr>
          <p:spPr>
            <a:xfrm>
              <a:off x="418142" y="5367232"/>
              <a:ext cx="52903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Grafik 17">
            <a:extLst>
              <a:ext uri="{FF2B5EF4-FFF2-40B4-BE49-F238E27FC236}">
                <a16:creationId xmlns:a16="http://schemas.microsoft.com/office/drawing/2014/main" id="{69560543-61AD-974D-B2DA-9ABBDAA2E5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94194" y="1907012"/>
            <a:ext cx="4086572" cy="3848980"/>
          </a:xfrm>
          <a:prstGeom prst="rect">
            <a:avLst/>
          </a:prstGeom>
        </p:spPr>
      </p:pic>
      <p:sp>
        <p:nvSpPr>
          <p:cNvPr id="6" name="Datumsplatzhalter 5">
            <a:extLst>
              <a:ext uri="{FF2B5EF4-FFF2-40B4-BE49-F238E27FC236}">
                <a16:creationId xmlns:a16="http://schemas.microsoft.com/office/drawing/2014/main" id="{A5571831-05AA-4541-B8B2-597210C8D6BC}"/>
              </a:ext>
            </a:extLst>
          </p:cNvPr>
          <p:cNvSpPr>
            <a:spLocks noGrp="1"/>
          </p:cNvSpPr>
          <p:nvPr>
            <p:ph type="dt" sz="half" idx="10"/>
          </p:nvPr>
        </p:nvSpPr>
        <p:spPr/>
        <p:txBody>
          <a:bodyPr/>
          <a:lstStyle/>
          <a:p>
            <a:r>
              <a:rPr lang="en-US">
                <a:solidFill>
                  <a:srgbClr val="6F6F6F"/>
                </a:solidFill>
              </a:rPr>
              <a:t>21/08/2019</a:t>
            </a:r>
            <a:endParaRPr lang="de-DE" dirty="0">
              <a:solidFill>
                <a:srgbClr val="6F6F6F"/>
              </a:solidFill>
            </a:endParaRPr>
          </a:p>
        </p:txBody>
      </p:sp>
      <p:sp>
        <p:nvSpPr>
          <p:cNvPr id="7" name="Foliennummernplatzhalter 6">
            <a:extLst>
              <a:ext uri="{FF2B5EF4-FFF2-40B4-BE49-F238E27FC236}">
                <a16:creationId xmlns:a16="http://schemas.microsoft.com/office/drawing/2014/main" id="{8B1CC059-24D7-0D46-8E19-DBFBD77973EB}"/>
              </a:ext>
            </a:extLst>
          </p:cNvPr>
          <p:cNvSpPr>
            <a:spLocks noGrp="1"/>
          </p:cNvSpPr>
          <p:nvPr>
            <p:ph type="sldNum" sz="quarter" idx="11"/>
          </p:nvPr>
        </p:nvSpPr>
        <p:spPr/>
        <p:txBody>
          <a:bodyPr/>
          <a:lstStyle/>
          <a:p>
            <a:fld id="{221F1D72-F2AC-4B6E-A46C-E63D2CF40C7B}" type="slidenum">
              <a:rPr lang="de-DE" smtClean="0">
                <a:solidFill>
                  <a:srgbClr val="6F6F6F"/>
                </a:solidFill>
              </a:rPr>
              <a:pPr/>
              <a:t>28</a:t>
            </a:fld>
            <a:endParaRPr lang="de-DE" dirty="0">
              <a:solidFill>
                <a:srgbClr val="6F6F6F"/>
              </a:solidFill>
            </a:endParaRPr>
          </a:p>
        </p:txBody>
      </p:sp>
      <p:pic>
        <p:nvPicPr>
          <p:cNvPr id="23" name="Picture 22">
            <a:extLst>
              <a:ext uri="{FF2B5EF4-FFF2-40B4-BE49-F238E27FC236}">
                <a16:creationId xmlns:a16="http://schemas.microsoft.com/office/drawing/2014/main" id="{ADF69AB4-66F9-46CE-91B5-EA2D127EB582}"/>
              </a:ext>
            </a:extLst>
          </p:cNvPr>
          <p:cNvPicPr>
            <a:picLocks noChangeAspect="1"/>
          </p:cNvPicPr>
          <p:nvPr/>
        </p:nvPicPr>
        <p:blipFill>
          <a:blip r:embed="rId3"/>
          <a:stretch>
            <a:fillRect/>
          </a:stretch>
        </p:blipFill>
        <p:spPr>
          <a:xfrm>
            <a:off x="9994951" y="384669"/>
            <a:ext cx="1311958" cy="411043"/>
          </a:xfrm>
          <a:prstGeom prst="rect">
            <a:avLst/>
          </a:prstGeom>
        </p:spPr>
      </p:pic>
      <p:sp>
        <p:nvSpPr>
          <p:cNvPr id="24" name="Footer Placeholder 5">
            <a:extLst>
              <a:ext uri="{FF2B5EF4-FFF2-40B4-BE49-F238E27FC236}">
                <a16:creationId xmlns:a16="http://schemas.microsoft.com/office/drawing/2014/main" id="{34FB2360-78EE-452D-8609-5B81228D0E76}"/>
              </a:ext>
            </a:extLst>
          </p:cNvPr>
          <p:cNvSpPr txBox="1">
            <a:spLocks/>
          </p:cNvSpPr>
          <p:nvPr/>
        </p:nvSpPr>
        <p:spPr>
          <a:xfrm>
            <a:off x="1054646" y="6475131"/>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GB" sz="900" dirty="0">
                <a:solidFill>
                  <a:srgbClr val="6F6F6F"/>
                </a:solidFill>
              </a:rPr>
              <a:t>NZSUG Auckland Event + SAP Forum</a:t>
            </a:r>
            <a:endParaRPr lang="de-DE" sz="900" dirty="0">
              <a:solidFill>
                <a:srgbClr val="6F6F6F"/>
              </a:solidFill>
            </a:endParaRPr>
          </a:p>
        </p:txBody>
      </p:sp>
    </p:spTree>
    <p:extLst>
      <p:ext uri="{BB962C8B-B14F-4D97-AF65-F5344CB8AC3E}">
        <p14:creationId xmlns:p14="http://schemas.microsoft.com/office/powerpoint/2010/main" val="1948881916"/>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957D100-9E3D-854A-8BD2-D8B52DCF50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399"/>
            <a:ext cx="12190413" cy="6851201"/>
          </a:xfrm>
          <a:prstGeom prst="rect">
            <a:avLst/>
          </a:prstGeom>
        </p:spPr>
      </p:pic>
      <p:sp>
        <p:nvSpPr>
          <p:cNvPr id="2" name="Titel 1">
            <a:extLst>
              <a:ext uri="{FF2B5EF4-FFF2-40B4-BE49-F238E27FC236}">
                <a16:creationId xmlns:a16="http://schemas.microsoft.com/office/drawing/2014/main" id="{1760D622-1348-43AE-AF37-2D3D08212501}"/>
              </a:ext>
            </a:extLst>
          </p:cNvPr>
          <p:cNvSpPr>
            <a:spLocks noGrp="1"/>
          </p:cNvSpPr>
          <p:nvPr>
            <p:ph type="title"/>
          </p:nvPr>
        </p:nvSpPr>
        <p:spPr/>
        <p:txBody>
          <a:bodyPr/>
          <a:lstStyle/>
          <a:p>
            <a:r>
              <a:rPr lang="en-US" dirty="0">
                <a:solidFill>
                  <a:schemeClr val="bg1"/>
                </a:solidFill>
              </a:rPr>
              <a:t>S/4HANA TRANSFORMATION</a:t>
            </a:r>
          </a:p>
        </p:txBody>
      </p:sp>
      <p:sp>
        <p:nvSpPr>
          <p:cNvPr id="4" name="Textplatzhalter 5">
            <a:extLst>
              <a:ext uri="{FF2B5EF4-FFF2-40B4-BE49-F238E27FC236}">
                <a16:creationId xmlns:a16="http://schemas.microsoft.com/office/drawing/2014/main" id="{D5B23832-1FF6-4BBC-B72C-31A737E7953C}"/>
              </a:ext>
            </a:extLst>
          </p:cNvPr>
          <p:cNvSpPr txBox="1">
            <a:spLocks/>
          </p:cNvSpPr>
          <p:nvPr/>
        </p:nvSpPr>
        <p:spPr>
          <a:xfrm>
            <a:off x="334566" y="827038"/>
            <a:ext cx="11378505" cy="3826097"/>
          </a:xfrm>
          <a:prstGeom prst="rect">
            <a:avLst/>
          </a:prstGeom>
        </p:spPr>
        <p:txBody>
          <a:bodyPr anchor="ctr"/>
          <a:lstStyle>
            <a:lvl1pPr marL="0" indent="0" algn="l" defTabSz="1219078" rtl="0" eaLnBrk="1" latinLnBrk="0" hangingPunct="1">
              <a:lnSpc>
                <a:spcPct val="100000"/>
              </a:lnSpc>
              <a:spcBef>
                <a:spcPts val="0"/>
              </a:spcBef>
              <a:buFont typeface="Arial" panose="020B0604020202020204" pitchFamily="34" charset="0"/>
              <a:buNone/>
              <a:defRPr sz="1800" b="1" kern="1200">
                <a:solidFill>
                  <a:schemeClr val="accent3"/>
                </a:solidFill>
                <a:latin typeface="+mn-lt"/>
                <a:ea typeface="+mn-ea"/>
                <a:cs typeface="+mn-cs"/>
              </a:defRPr>
            </a:lvl1pPr>
            <a:lvl2pPr marL="0" indent="0" algn="l" defTabSz="1219078" rtl="0" eaLnBrk="1" latinLnBrk="0" hangingPunct="1">
              <a:lnSpc>
                <a:spcPct val="100000"/>
              </a:lnSpc>
              <a:spcBef>
                <a:spcPts val="0"/>
              </a:spcBef>
              <a:buFont typeface="Arial" panose="020B0604020202020204" pitchFamily="34" charset="0"/>
              <a:buNone/>
              <a:defRPr sz="1800" kern="1200">
                <a:solidFill>
                  <a:schemeClr val="bg2"/>
                </a:solidFill>
                <a:latin typeface="+mn-lt"/>
                <a:ea typeface="+mn-ea"/>
                <a:cs typeface="+mn-cs"/>
              </a:defRPr>
            </a:lvl2pPr>
            <a:lvl3pPr marL="216000" indent="-216000" algn="l" defTabSz="1219078" rtl="0" eaLnBrk="1" latinLnBrk="0" hangingPunct="1">
              <a:lnSpc>
                <a:spcPct val="100000"/>
              </a:lnSpc>
              <a:spcBef>
                <a:spcPts val="600"/>
              </a:spcBef>
              <a:buClr>
                <a:schemeClr val="accent3"/>
              </a:buClr>
              <a:buFont typeface="Wingdings 2" panose="05020102010507070707" pitchFamily="18" charset="2"/>
              <a:buChar char=""/>
              <a:defRPr sz="1800" kern="1200">
                <a:solidFill>
                  <a:schemeClr val="bg2"/>
                </a:solidFill>
                <a:latin typeface="+mn-lt"/>
                <a:ea typeface="+mn-ea"/>
                <a:cs typeface="+mn-cs"/>
              </a:defRPr>
            </a:lvl3pPr>
            <a:lvl4pPr marL="432000" indent="-216000" algn="l" defTabSz="1219078" rtl="0" eaLnBrk="1" latinLnBrk="0" hangingPunct="1">
              <a:lnSpc>
                <a:spcPct val="100000"/>
              </a:lnSpc>
              <a:spcBef>
                <a:spcPts val="600"/>
              </a:spcBef>
              <a:buClr>
                <a:schemeClr val="accent3"/>
              </a:buClr>
              <a:buFont typeface="Symbol" panose="05050102010706020507" pitchFamily="18" charset="2"/>
              <a:buChar char="-"/>
              <a:defRPr sz="1800" kern="1200">
                <a:solidFill>
                  <a:schemeClr val="bg2"/>
                </a:solidFill>
                <a:latin typeface="+mn-lt"/>
                <a:ea typeface="+mn-ea"/>
                <a:cs typeface="+mn-cs"/>
              </a:defRPr>
            </a:lvl4pPr>
            <a:lvl5pPr marL="648000" indent="-216000" algn="l" defTabSz="1219078" rtl="0" eaLnBrk="1" latinLnBrk="0" hangingPunct="1">
              <a:lnSpc>
                <a:spcPct val="100000"/>
              </a:lnSpc>
              <a:spcBef>
                <a:spcPts val="600"/>
              </a:spcBef>
              <a:buClr>
                <a:schemeClr val="accent3"/>
              </a:buClr>
              <a:buFont typeface="Wingdings 2" panose="05020102010507070707" pitchFamily="18" charset="2"/>
              <a:buChar char="¡"/>
              <a:defRPr lang="de-DE" sz="1800" kern="1200" dirty="0">
                <a:solidFill>
                  <a:schemeClr val="bg2"/>
                </a:solidFill>
                <a:latin typeface="+mn-lt"/>
                <a:ea typeface="+mn-ea"/>
                <a:cs typeface="+mn-cs"/>
              </a:defRPr>
            </a:lvl5pPr>
            <a:lvl6pPr marL="1008000" indent="-252000" algn="l" defTabSz="1219078" rtl="0" eaLnBrk="1" latinLnBrk="0" hangingPunct="1">
              <a:spcBef>
                <a:spcPts val="400"/>
              </a:spcBef>
              <a:buClr>
                <a:schemeClr val="tx2"/>
              </a:buClr>
              <a:buFont typeface="Symbol" panose="05050102010706020507" pitchFamily="18" charset="2"/>
              <a:buChar char="-"/>
              <a:defRPr sz="2200" kern="1200">
                <a:solidFill>
                  <a:schemeClr val="bg2"/>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r>
              <a:rPr lang="en-US" sz="6000" dirty="0">
                <a:solidFill>
                  <a:schemeClr val="bg1"/>
                </a:solidFill>
                <a:latin typeface="Univers" panose="020B0503020202020204" pitchFamily="34" charset="0"/>
              </a:rPr>
              <a:t>BLUEFIELD GIVES </a:t>
            </a:r>
          </a:p>
          <a:p>
            <a:r>
              <a:rPr lang="en-US" sz="6000" dirty="0">
                <a:solidFill>
                  <a:schemeClr val="bg1"/>
                </a:solidFill>
                <a:latin typeface="Univers" panose="020B0503020202020204" pitchFamily="34" charset="0"/>
              </a:rPr>
              <a:t>YOU OPTIONS</a:t>
            </a:r>
          </a:p>
        </p:txBody>
      </p:sp>
      <p:sp>
        <p:nvSpPr>
          <p:cNvPr id="11" name="Datumsplatzhalter 2">
            <a:extLst>
              <a:ext uri="{FF2B5EF4-FFF2-40B4-BE49-F238E27FC236}">
                <a16:creationId xmlns:a16="http://schemas.microsoft.com/office/drawing/2014/main" id="{F2854DB2-FC5C-4736-9E3E-2F06D54C9FEF}"/>
              </a:ext>
            </a:extLst>
          </p:cNvPr>
          <p:cNvSpPr txBox="1">
            <a:spLocks/>
          </p:cNvSpPr>
          <p:nvPr/>
        </p:nvSpPr>
        <p:spPr>
          <a:xfrm>
            <a:off x="406399" y="6501507"/>
            <a:ext cx="815725" cy="213414"/>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US" sz="900" dirty="0">
                <a:solidFill>
                  <a:schemeClr val="bg1"/>
                </a:solidFill>
              </a:rPr>
              <a:t>21/08/2019</a:t>
            </a:r>
          </a:p>
        </p:txBody>
      </p:sp>
      <p:sp>
        <p:nvSpPr>
          <p:cNvPr id="12" name="Foliennummernplatzhalter 3">
            <a:extLst>
              <a:ext uri="{FF2B5EF4-FFF2-40B4-BE49-F238E27FC236}">
                <a16:creationId xmlns:a16="http://schemas.microsoft.com/office/drawing/2014/main" id="{6CCE8094-061A-4203-BFE3-34174862E238}"/>
              </a:ext>
            </a:extLst>
          </p:cNvPr>
          <p:cNvSpPr txBox="1">
            <a:spLocks/>
          </p:cNvSpPr>
          <p:nvPr/>
        </p:nvSpPr>
        <p:spPr>
          <a:xfrm>
            <a:off x="11111017" y="6501507"/>
            <a:ext cx="672996"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fld id="{221F1D72-F2AC-4B6E-A46C-E63D2CF40C7B}" type="slidenum">
              <a:rPr lang="en-US" sz="900" smtClean="0">
                <a:solidFill>
                  <a:schemeClr val="bg1"/>
                </a:solidFill>
              </a:rPr>
              <a:pPr/>
              <a:t>29</a:t>
            </a:fld>
            <a:endParaRPr lang="en-US" sz="900" dirty="0">
              <a:solidFill>
                <a:schemeClr val="bg1"/>
              </a:solidFill>
            </a:endParaRPr>
          </a:p>
        </p:txBody>
      </p:sp>
      <p:sp>
        <p:nvSpPr>
          <p:cNvPr id="13" name="Fußzeilenplatzhalter 4">
            <a:extLst>
              <a:ext uri="{FF2B5EF4-FFF2-40B4-BE49-F238E27FC236}">
                <a16:creationId xmlns:a16="http://schemas.microsoft.com/office/drawing/2014/main" id="{BA0EFB14-E876-4840-A497-AC325109F20C}"/>
              </a:ext>
            </a:extLst>
          </p:cNvPr>
          <p:cNvSpPr txBox="1">
            <a:spLocks/>
          </p:cNvSpPr>
          <p:nvPr/>
        </p:nvSpPr>
        <p:spPr>
          <a:xfrm>
            <a:off x="1054646" y="6501507"/>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US" sz="900" dirty="0">
                <a:solidFill>
                  <a:schemeClr val="bg1"/>
                </a:solidFill>
              </a:rPr>
              <a:t>NZSUG Auckland Event + SAP Forum</a:t>
            </a:r>
          </a:p>
        </p:txBody>
      </p:sp>
    </p:spTree>
    <p:extLst>
      <p:ext uri="{BB962C8B-B14F-4D97-AF65-F5344CB8AC3E}">
        <p14:creationId xmlns:p14="http://schemas.microsoft.com/office/powerpoint/2010/main" val="1027679742"/>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5">
            <a:extLst>
              <a:ext uri="{FF2B5EF4-FFF2-40B4-BE49-F238E27FC236}">
                <a16:creationId xmlns:a16="http://schemas.microsoft.com/office/drawing/2014/main" id="{8AECE1FD-8DBF-46A1-9983-8E0360A0B03E}"/>
              </a:ext>
            </a:extLst>
          </p:cNvPr>
          <p:cNvSpPr>
            <a:spLocks noEditPoints="1"/>
          </p:cNvSpPr>
          <p:nvPr/>
        </p:nvSpPr>
        <p:spPr bwMode="auto">
          <a:xfrm>
            <a:off x="11378399" y="248372"/>
            <a:ext cx="564809" cy="547340"/>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p>
        </p:txBody>
      </p:sp>
      <p:sp>
        <p:nvSpPr>
          <p:cNvPr id="5" name="Titel 4">
            <a:extLst>
              <a:ext uri="{FF2B5EF4-FFF2-40B4-BE49-F238E27FC236}">
                <a16:creationId xmlns:a16="http://schemas.microsoft.com/office/drawing/2014/main" id="{8C0AD356-A2C9-4618-AEFE-34FF82B15735}"/>
              </a:ext>
            </a:extLst>
          </p:cNvPr>
          <p:cNvSpPr>
            <a:spLocks noGrp="1"/>
          </p:cNvSpPr>
          <p:nvPr>
            <p:ph type="title"/>
          </p:nvPr>
        </p:nvSpPr>
        <p:spPr/>
        <p:txBody>
          <a:bodyPr/>
          <a:lstStyle/>
          <a:p>
            <a:r>
              <a:rPr lang="en-US" dirty="0"/>
              <a:t>SNP </a:t>
            </a:r>
            <a:r>
              <a:rPr lang="en-US"/>
              <a:t>I </a:t>
            </a:r>
            <a:r>
              <a:rPr lang="en-US" dirty="0"/>
              <a:t>The Transformation Company</a:t>
            </a:r>
            <a:endParaRPr lang="de-DE" dirty="0"/>
          </a:p>
        </p:txBody>
      </p:sp>
      <p:sp>
        <p:nvSpPr>
          <p:cNvPr id="98" name="Rechteck 97">
            <a:extLst>
              <a:ext uri="{FF2B5EF4-FFF2-40B4-BE49-F238E27FC236}">
                <a16:creationId xmlns:a16="http://schemas.microsoft.com/office/drawing/2014/main" id="{60A8ADAF-4FFB-407B-8330-924D91E5094F}"/>
              </a:ext>
            </a:extLst>
          </p:cNvPr>
          <p:cNvSpPr/>
          <p:nvPr/>
        </p:nvSpPr>
        <p:spPr>
          <a:xfrm>
            <a:off x="7705833" y="1984844"/>
            <a:ext cx="4078180" cy="2844656"/>
          </a:xfrm>
          <a:prstGeom prst="rect">
            <a:avLst/>
          </a:prstGeom>
          <a:noFill/>
        </p:spPr>
        <p:txBody>
          <a:bodyPr vert="horz" lIns="0" tIns="0" rIns="0" bIns="0" rtlCol="0">
            <a:noAutofit/>
          </a:bodyPr>
          <a:lstStyle/>
          <a:p>
            <a:pPr lvl="0">
              <a:lnSpc>
                <a:spcPts val="2100"/>
              </a:lnSpc>
              <a:defRPr/>
            </a:pPr>
            <a:r>
              <a:rPr lang="en-US" sz="2000" b="1" dirty="0">
                <a:solidFill>
                  <a:schemeClr val="bg2">
                    <a:lumMod val="25000"/>
                  </a:schemeClr>
                </a:solidFill>
              </a:rPr>
              <a:t>The key benefit that we promise our customers is time. The ability to respond quickly to changes in the competitive landscape is a key competency in today’s global economy.</a:t>
            </a:r>
          </a:p>
        </p:txBody>
      </p:sp>
      <p:grpSp>
        <p:nvGrpSpPr>
          <p:cNvPr id="99" name="Gruppieren 98">
            <a:extLst>
              <a:ext uri="{FF2B5EF4-FFF2-40B4-BE49-F238E27FC236}">
                <a16:creationId xmlns:a16="http://schemas.microsoft.com/office/drawing/2014/main" id="{938E2AF6-2CF9-4D40-AB72-602F47199143}"/>
              </a:ext>
            </a:extLst>
          </p:cNvPr>
          <p:cNvGrpSpPr/>
          <p:nvPr/>
        </p:nvGrpSpPr>
        <p:grpSpPr>
          <a:xfrm>
            <a:off x="7705833" y="4166586"/>
            <a:ext cx="2877391" cy="431217"/>
            <a:chOff x="8194578" y="4503447"/>
            <a:chExt cx="2379393" cy="431217"/>
          </a:xfrm>
        </p:grpSpPr>
        <p:sp>
          <p:nvSpPr>
            <p:cNvPr id="100" name="Rechteck 99">
              <a:extLst>
                <a:ext uri="{FF2B5EF4-FFF2-40B4-BE49-F238E27FC236}">
                  <a16:creationId xmlns:a16="http://schemas.microsoft.com/office/drawing/2014/main" id="{C7B326AE-A36C-434A-84CF-F6760CAA713D}"/>
                </a:ext>
              </a:extLst>
            </p:cNvPr>
            <p:cNvSpPr/>
            <p:nvPr/>
          </p:nvSpPr>
          <p:spPr>
            <a:xfrm>
              <a:off x="8194578" y="4503447"/>
              <a:ext cx="2379393" cy="215444"/>
            </a:xfrm>
            <a:prstGeom prst="rect">
              <a:avLst/>
            </a:prstGeom>
          </p:spPr>
          <p:txBody>
            <a:bodyPr wrap="none" lIns="0" tIns="0" rIns="0" bIns="0">
              <a:spAutoFit/>
            </a:bodyPr>
            <a:lstStyle/>
            <a:p>
              <a:r>
                <a:rPr lang="de-DE" sz="1400" dirty="0">
                  <a:solidFill>
                    <a:schemeClr val="bg2">
                      <a:lumMod val="25000"/>
                    </a:schemeClr>
                  </a:solidFill>
                  <a:latin typeface="+mj-lt"/>
                </a:rPr>
                <a:t>Dr. Andreas Schneider-Neureither</a:t>
              </a:r>
            </a:p>
          </p:txBody>
        </p:sp>
        <p:sp>
          <p:nvSpPr>
            <p:cNvPr id="101" name="Textfeld 100">
              <a:extLst>
                <a:ext uri="{FF2B5EF4-FFF2-40B4-BE49-F238E27FC236}">
                  <a16:creationId xmlns:a16="http://schemas.microsoft.com/office/drawing/2014/main" id="{FDBD57EB-9604-4C53-8AEC-79EC28F16B72}"/>
                </a:ext>
              </a:extLst>
            </p:cNvPr>
            <p:cNvSpPr txBox="1"/>
            <p:nvPr/>
          </p:nvSpPr>
          <p:spPr>
            <a:xfrm>
              <a:off x="8194578" y="4749998"/>
              <a:ext cx="262463" cy="184666"/>
            </a:xfrm>
            <a:prstGeom prst="rect">
              <a:avLst/>
            </a:prstGeom>
          </p:spPr>
          <p:txBody>
            <a:bodyPr wrap="none" lIns="0" tIns="0" rIns="0" bIns="0">
              <a:spAutoFit/>
            </a:bodyPr>
            <a:lstStyle>
              <a:defPPr>
                <a:defRPr lang="de-DE"/>
              </a:defPPr>
              <a:lvl1pPr>
                <a:defRPr sz="1400">
                  <a:solidFill>
                    <a:schemeClr val="bg1"/>
                  </a:solidFill>
                </a:defRPr>
              </a:lvl1pPr>
            </a:lstStyle>
            <a:p>
              <a:r>
                <a:rPr lang="de-DE" sz="1200" b="1" dirty="0">
                  <a:solidFill>
                    <a:schemeClr val="bg2">
                      <a:lumMod val="25000"/>
                    </a:schemeClr>
                  </a:solidFill>
                  <a:latin typeface="+mj-lt"/>
                </a:rPr>
                <a:t>CEO</a:t>
              </a:r>
            </a:p>
          </p:txBody>
        </p:sp>
      </p:grpSp>
      <p:sp>
        <p:nvSpPr>
          <p:cNvPr id="36" name="Freeform 9">
            <a:extLst>
              <a:ext uri="{FF2B5EF4-FFF2-40B4-BE49-F238E27FC236}">
                <a16:creationId xmlns:a16="http://schemas.microsoft.com/office/drawing/2014/main" id="{61B0CC08-B9B7-47F6-9C10-7E619EB09BD0}"/>
              </a:ext>
            </a:extLst>
          </p:cNvPr>
          <p:cNvSpPr>
            <a:spLocks/>
          </p:cNvSpPr>
          <p:nvPr/>
        </p:nvSpPr>
        <p:spPr bwMode="auto">
          <a:xfrm>
            <a:off x="3032129" y="3325163"/>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blipFill dpi="0" rotWithShape="1">
            <a:blip r:embed="rId3"/>
            <a:srcRect/>
            <a:stretch>
              <a:fillRect l="-40424" t="-6437" r="-57591" b="-1899"/>
            </a:stretch>
          </a:blipFill>
          <a:ln w="50800">
            <a:noFill/>
          </a:ln>
        </p:spPr>
        <p:txBody>
          <a:bodyPr vert="horz" wrap="square" lIns="91440" tIns="45720" rIns="91440" bIns="45720" numCol="1" anchor="t" anchorCtr="0" compatLnSpc="1">
            <a:prstTxWarp prst="textNoShape">
              <a:avLst/>
            </a:prstTxWarp>
          </a:bodyPr>
          <a:lstStyle/>
          <a:p>
            <a:endParaRPr lang="de-DE"/>
          </a:p>
        </p:txBody>
      </p:sp>
      <p:sp>
        <p:nvSpPr>
          <p:cNvPr id="35" name="Freeform 9">
            <a:extLst>
              <a:ext uri="{FF2B5EF4-FFF2-40B4-BE49-F238E27FC236}">
                <a16:creationId xmlns:a16="http://schemas.microsoft.com/office/drawing/2014/main" id="{5FC7F3A8-7FBD-4C39-B0FD-132A6B891453}"/>
              </a:ext>
            </a:extLst>
          </p:cNvPr>
          <p:cNvSpPr>
            <a:spLocks/>
          </p:cNvSpPr>
          <p:nvPr/>
        </p:nvSpPr>
        <p:spPr bwMode="auto">
          <a:xfrm>
            <a:off x="2188523" y="1844824"/>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blipFill dpi="0" rotWithShape="1">
            <a:blip r:embed="rId4">
              <a:extLst>
                <a:ext uri="{28A0092B-C50C-407E-A947-70E740481C1C}">
                  <a14:useLocalDpi xmlns:a14="http://schemas.microsoft.com/office/drawing/2010/main" val="0"/>
                </a:ext>
              </a:extLst>
            </a:blip>
            <a:srcRect/>
            <a:stretch>
              <a:fillRect l="-122661" r="-122661"/>
            </a:stretch>
          </a:blipFill>
          <a:ln w="50800">
            <a:noFill/>
          </a:ln>
        </p:spPr>
        <p:txBody>
          <a:bodyPr vert="horz" wrap="square" lIns="91440" tIns="45720" rIns="91440" bIns="45720" numCol="1" anchor="t" anchorCtr="0" compatLnSpc="1">
            <a:prstTxWarp prst="textNoShape">
              <a:avLst/>
            </a:prstTxWarp>
          </a:bodyPr>
          <a:lstStyle/>
          <a:p>
            <a:endParaRPr lang="de-DE"/>
          </a:p>
        </p:txBody>
      </p:sp>
      <p:sp>
        <p:nvSpPr>
          <p:cNvPr id="38" name="Freeform 9">
            <a:extLst>
              <a:ext uri="{FF2B5EF4-FFF2-40B4-BE49-F238E27FC236}">
                <a16:creationId xmlns:a16="http://schemas.microsoft.com/office/drawing/2014/main" id="{4EF054AA-2990-4434-8CCB-3C23B687A4BA}"/>
              </a:ext>
            </a:extLst>
          </p:cNvPr>
          <p:cNvSpPr>
            <a:spLocks/>
          </p:cNvSpPr>
          <p:nvPr/>
        </p:nvSpPr>
        <p:spPr bwMode="auto">
          <a:xfrm>
            <a:off x="5601869" y="1844824"/>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blipFill dpi="0" rotWithShape="1">
            <a:blip r:embed="rId5"/>
            <a:srcRect/>
            <a:stretch>
              <a:fillRect l="-37478" t="-821" r="-37478" b="-3897"/>
            </a:stretch>
          </a:blipFill>
          <a:ln w="50800">
            <a:noFill/>
          </a:ln>
        </p:spPr>
        <p:txBody>
          <a:bodyPr vert="horz" wrap="square" lIns="91440" tIns="45720" rIns="91440" bIns="45720" numCol="1" anchor="t" anchorCtr="0" compatLnSpc="1">
            <a:prstTxWarp prst="textNoShape">
              <a:avLst/>
            </a:prstTxWarp>
          </a:bodyPr>
          <a:lstStyle/>
          <a:p>
            <a:endParaRPr lang="de-DE"/>
          </a:p>
        </p:txBody>
      </p:sp>
      <p:sp>
        <p:nvSpPr>
          <p:cNvPr id="44" name="Freeform 9">
            <a:extLst>
              <a:ext uri="{FF2B5EF4-FFF2-40B4-BE49-F238E27FC236}">
                <a16:creationId xmlns:a16="http://schemas.microsoft.com/office/drawing/2014/main" id="{2476F619-E57C-4F3D-A097-4EE424014A1E}"/>
              </a:ext>
            </a:extLst>
          </p:cNvPr>
          <p:cNvSpPr>
            <a:spLocks/>
          </p:cNvSpPr>
          <p:nvPr/>
        </p:nvSpPr>
        <p:spPr bwMode="auto">
          <a:xfrm>
            <a:off x="3895196" y="1844824"/>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C5C5C5"/>
          </a:solidFill>
          <a:ln w="50800">
            <a:noFill/>
          </a:ln>
        </p:spPr>
        <p:txBody>
          <a:bodyPr vert="horz" wrap="square" lIns="91440" tIns="45720" rIns="91440" bIns="45720" numCol="1" anchor="ctr" anchorCtr="0" compatLnSpc="1">
            <a:prstTxWarp prst="textNoShape">
              <a:avLst/>
            </a:prstTxWarp>
          </a:bodyPr>
          <a:lstStyle/>
          <a:p>
            <a:pPr algn="ctr"/>
            <a:r>
              <a:rPr lang="en-US" sz="1100" kern="0">
                <a:solidFill>
                  <a:schemeClr val="tx1">
                    <a:lumMod val="50000"/>
                  </a:schemeClr>
                </a:solidFill>
              </a:rPr>
              <a:t>Founded </a:t>
            </a:r>
            <a:br>
              <a:rPr lang="en-US" sz="1100" kern="0" dirty="0">
                <a:solidFill>
                  <a:schemeClr val="tx1">
                    <a:lumMod val="50000"/>
                  </a:schemeClr>
                </a:solidFill>
              </a:rPr>
            </a:br>
            <a:r>
              <a:rPr lang="en-US" sz="1400" b="1" kern="0" dirty="0">
                <a:solidFill>
                  <a:schemeClr val="tx1">
                    <a:lumMod val="50000"/>
                  </a:schemeClr>
                </a:solidFill>
              </a:rPr>
              <a:t>1994</a:t>
            </a:r>
            <a:endParaRPr lang="de-DE" sz="1600" b="1" kern="0" dirty="0">
              <a:solidFill>
                <a:schemeClr val="tx1">
                  <a:lumMod val="50000"/>
                </a:schemeClr>
              </a:solidFill>
            </a:endParaRPr>
          </a:p>
        </p:txBody>
      </p:sp>
      <p:sp>
        <p:nvSpPr>
          <p:cNvPr id="45" name="Freeform 9">
            <a:extLst>
              <a:ext uri="{FF2B5EF4-FFF2-40B4-BE49-F238E27FC236}">
                <a16:creationId xmlns:a16="http://schemas.microsoft.com/office/drawing/2014/main" id="{2B756C4B-B04F-4076-AF8C-2BA6D08BCF23}"/>
              </a:ext>
            </a:extLst>
          </p:cNvPr>
          <p:cNvSpPr>
            <a:spLocks/>
          </p:cNvSpPr>
          <p:nvPr/>
        </p:nvSpPr>
        <p:spPr bwMode="auto">
          <a:xfrm>
            <a:off x="481850" y="1844824"/>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C5C5C5"/>
          </a:solidFill>
          <a:ln w="50800">
            <a:noFill/>
          </a:ln>
        </p:spPr>
        <p:txBody>
          <a:bodyPr vert="horz" wrap="square" lIns="91440" tIns="45720" rIns="91440" bIns="45720" numCol="1" anchor="ctr" anchorCtr="0" compatLnSpc="1">
            <a:prstTxWarp prst="textNoShape">
              <a:avLst/>
            </a:prstTxWarp>
          </a:bodyPr>
          <a:lstStyle/>
          <a:p>
            <a:pPr algn="ctr"/>
            <a:r>
              <a:rPr lang="en-US" sz="1100" kern="0">
                <a:solidFill>
                  <a:schemeClr val="tx1">
                    <a:lumMod val="50000"/>
                  </a:schemeClr>
                </a:solidFill>
              </a:rPr>
              <a:t>Headquarters</a:t>
            </a:r>
            <a:br>
              <a:rPr lang="en-US" sz="1000" kern="0" dirty="0">
                <a:solidFill>
                  <a:schemeClr val="tx1">
                    <a:lumMod val="50000"/>
                  </a:schemeClr>
                </a:solidFill>
              </a:rPr>
            </a:br>
            <a:r>
              <a:rPr lang="en-US" sz="1400" b="1" kern="0" dirty="0">
                <a:solidFill>
                  <a:schemeClr val="tx1">
                    <a:lumMod val="50000"/>
                  </a:schemeClr>
                </a:solidFill>
              </a:rPr>
              <a:t>Heidelberg (DE)</a:t>
            </a:r>
            <a:endParaRPr lang="en-US" sz="1600" b="1" kern="0" dirty="0">
              <a:solidFill>
                <a:schemeClr val="tx1">
                  <a:lumMod val="50000"/>
                </a:schemeClr>
              </a:solidFill>
            </a:endParaRPr>
          </a:p>
        </p:txBody>
      </p:sp>
      <p:sp>
        <p:nvSpPr>
          <p:cNvPr id="47" name="Freeform 9">
            <a:extLst>
              <a:ext uri="{FF2B5EF4-FFF2-40B4-BE49-F238E27FC236}">
                <a16:creationId xmlns:a16="http://schemas.microsoft.com/office/drawing/2014/main" id="{4664D5B2-9E2D-446D-ABDE-A69F1BD1B5AE}"/>
              </a:ext>
            </a:extLst>
          </p:cNvPr>
          <p:cNvSpPr>
            <a:spLocks/>
          </p:cNvSpPr>
          <p:nvPr/>
        </p:nvSpPr>
        <p:spPr bwMode="auto">
          <a:xfrm>
            <a:off x="1320870" y="3323031"/>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C5C5C5"/>
          </a:solidFill>
          <a:ln w="50800">
            <a:noFill/>
          </a:ln>
        </p:spPr>
        <p:txBody>
          <a:bodyPr vert="horz" wrap="square" lIns="91440" tIns="45720" rIns="91440" bIns="45720" numCol="1" anchor="ctr" anchorCtr="0" compatLnSpc="1">
            <a:prstTxWarp prst="textNoShape">
              <a:avLst/>
            </a:prstTxWarp>
          </a:bodyPr>
          <a:lstStyle/>
          <a:p>
            <a:pPr algn="ctr"/>
            <a:r>
              <a:rPr lang="en-US" sz="1100" kern="0">
                <a:solidFill>
                  <a:schemeClr val="tx1">
                    <a:lumMod val="50000"/>
                  </a:schemeClr>
                </a:solidFill>
              </a:rPr>
              <a:t>Employees </a:t>
            </a:r>
            <a:br>
              <a:rPr lang="en-US" sz="1100" kern="0" dirty="0">
                <a:solidFill>
                  <a:schemeClr val="tx1">
                    <a:lumMod val="50000"/>
                  </a:schemeClr>
                </a:solidFill>
              </a:rPr>
            </a:br>
            <a:r>
              <a:rPr lang="en-US" sz="1400" b="1" kern="0" dirty="0">
                <a:solidFill>
                  <a:schemeClr val="tx1">
                    <a:lumMod val="50000"/>
                  </a:schemeClr>
                </a:solidFill>
              </a:rPr>
              <a:t>&gt; 1.350</a:t>
            </a:r>
          </a:p>
        </p:txBody>
      </p:sp>
      <p:sp>
        <p:nvSpPr>
          <p:cNvPr id="19" name="Freeform 9">
            <a:extLst>
              <a:ext uri="{FF2B5EF4-FFF2-40B4-BE49-F238E27FC236}">
                <a16:creationId xmlns:a16="http://schemas.microsoft.com/office/drawing/2014/main" id="{3FB2D49B-3388-4718-B589-6576A592D934}"/>
              </a:ext>
            </a:extLst>
          </p:cNvPr>
          <p:cNvSpPr>
            <a:spLocks/>
          </p:cNvSpPr>
          <p:nvPr/>
        </p:nvSpPr>
        <p:spPr bwMode="auto">
          <a:xfrm>
            <a:off x="4759415" y="3333494"/>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C5C5C5"/>
          </a:solidFill>
          <a:ln w="50800">
            <a:noFill/>
          </a:ln>
        </p:spPr>
        <p:txBody>
          <a:bodyPr vert="horz" wrap="square" lIns="91440" tIns="45720" rIns="91440" bIns="45720" numCol="1" anchor="ctr" anchorCtr="0" compatLnSpc="1">
            <a:prstTxWarp prst="textNoShape">
              <a:avLst/>
            </a:prstTxWarp>
          </a:bodyPr>
          <a:lstStyle/>
          <a:p>
            <a:pPr algn="ctr"/>
            <a:r>
              <a:rPr lang="en-US" sz="1100" kern="0">
                <a:solidFill>
                  <a:schemeClr val="tx1">
                    <a:lumMod val="50000"/>
                  </a:schemeClr>
                </a:solidFill>
              </a:rPr>
              <a:t>Projects </a:t>
            </a:r>
            <a:br>
              <a:rPr lang="en-US" sz="1100" kern="0" dirty="0">
                <a:solidFill>
                  <a:schemeClr val="tx1">
                    <a:lumMod val="50000"/>
                  </a:schemeClr>
                </a:solidFill>
              </a:rPr>
            </a:br>
            <a:r>
              <a:rPr lang="en-US" sz="1400" b="1" kern="0" dirty="0">
                <a:solidFill>
                  <a:schemeClr val="tx1">
                    <a:lumMod val="50000"/>
                  </a:schemeClr>
                </a:solidFill>
              </a:rPr>
              <a:t>&gt; 10.000</a:t>
            </a:r>
          </a:p>
        </p:txBody>
      </p:sp>
      <p:sp>
        <p:nvSpPr>
          <p:cNvPr id="4" name="Datumsplatzhalter 3">
            <a:extLst>
              <a:ext uri="{FF2B5EF4-FFF2-40B4-BE49-F238E27FC236}">
                <a16:creationId xmlns:a16="http://schemas.microsoft.com/office/drawing/2014/main" id="{DA61324D-4150-4831-A2FB-5ADBE7EF6F8D}"/>
              </a:ext>
            </a:extLst>
          </p:cNvPr>
          <p:cNvSpPr>
            <a:spLocks noGrp="1"/>
          </p:cNvSpPr>
          <p:nvPr>
            <p:ph type="dt" sz="half" idx="10"/>
          </p:nvPr>
        </p:nvSpPr>
        <p:spPr/>
        <p:txBody>
          <a:bodyPr/>
          <a:lstStyle/>
          <a:p>
            <a:r>
              <a:rPr lang="en-US">
                <a:solidFill>
                  <a:srgbClr val="6F6F6F"/>
                </a:solidFill>
              </a:rPr>
              <a:t>21/08/2019</a:t>
            </a:r>
            <a:endParaRPr lang="de-DE" dirty="0">
              <a:solidFill>
                <a:srgbClr val="6F6F6F"/>
              </a:solidFill>
            </a:endParaRPr>
          </a:p>
        </p:txBody>
      </p:sp>
      <p:sp>
        <p:nvSpPr>
          <p:cNvPr id="6" name="Foliennummernplatzhalter 5">
            <a:extLst>
              <a:ext uri="{FF2B5EF4-FFF2-40B4-BE49-F238E27FC236}">
                <a16:creationId xmlns:a16="http://schemas.microsoft.com/office/drawing/2014/main" id="{4AC4D58A-4118-9841-BC30-594FC14BAFA7}"/>
              </a:ext>
            </a:extLst>
          </p:cNvPr>
          <p:cNvSpPr>
            <a:spLocks noGrp="1"/>
          </p:cNvSpPr>
          <p:nvPr>
            <p:ph type="sldNum" sz="quarter" idx="11"/>
          </p:nvPr>
        </p:nvSpPr>
        <p:spPr/>
        <p:txBody>
          <a:bodyPr/>
          <a:lstStyle/>
          <a:p>
            <a:fld id="{221F1D72-F2AC-4B6E-A46C-E63D2CF40C7B}" type="slidenum">
              <a:rPr lang="de-DE" smtClean="0">
                <a:solidFill>
                  <a:srgbClr val="6F6F6F"/>
                </a:solidFill>
              </a:rPr>
              <a:pPr/>
              <a:t>3</a:t>
            </a:fld>
            <a:endParaRPr lang="de-DE" dirty="0">
              <a:solidFill>
                <a:srgbClr val="6F6F6F"/>
              </a:solidFill>
            </a:endParaRPr>
          </a:p>
        </p:txBody>
      </p:sp>
      <p:sp>
        <p:nvSpPr>
          <p:cNvPr id="18" name="Fußzeilenplatzhalter 4">
            <a:extLst>
              <a:ext uri="{FF2B5EF4-FFF2-40B4-BE49-F238E27FC236}">
                <a16:creationId xmlns:a16="http://schemas.microsoft.com/office/drawing/2014/main" id="{B16CC10A-0B16-4DC3-B93D-C6A70BA3AECF}"/>
              </a:ext>
            </a:extLst>
          </p:cNvPr>
          <p:cNvSpPr>
            <a:spLocks noGrp="1"/>
          </p:cNvSpPr>
          <p:nvPr>
            <p:ph type="ftr" sz="quarter" idx="12"/>
          </p:nvPr>
        </p:nvSpPr>
        <p:spPr>
          <a:xfrm>
            <a:off x="1054646" y="6501507"/>
            <a:ext cx="4896000" cy="180000"/>
          </a:xfrm>
        </p:spPr>
        <p:txBody>
          <a:bodyPr/>
          <a:lstStyle/>
          <a:p>
            <a:r>
              <a:rPr lang="en-US">
                <a:solidFill>
                  <a:srgbClr val="6F6F6F"/>
                </a:solidFill>
              </a:rPr>
              <a:t>NZSUG Auckland Event + SAP Forum</a:t>
            </a:r>
            <a:endParaRPr lang="en-US" dirty="0">
              <a:solidFill>
                <a:srgbClr val="6F6F6F"/>
              </a:solidFill>
            </a:endParaRPr>
          </a:p>
        </p:txBody>
      </p:sp>
    </p:spTree>
    <p:extLst>
      <p:ext uri="{BB962C8B-B14F-4D97-AF65-F5344CB8AC3E}">
        <p14:creationId xmlns:p14="http://schemas.microsoft.com/office/powerpoint/2010/main" val="2150145127"/>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el 6">
            <a:extLst>
              <a:ext uri="{FF2B5EF4-FFF2-40B4-BE49-F238E27FC236}">
                <a16:creationId xmlns:a16="http://schemas.microsoft.com/office/drawing/2014/main" id="{8B238BB4-86A3-BB49-897D-69943CBD5A2D}"/>
              </a:ext>
            </a:extLst>
          </p:cNvPr>
          <p:cNvSpPr>
            <a:spLocks noGrp="1" noChangeArrowheads="1"/>
          </p:cNvSpPr>
          <p:nvPr>
            <p:ph type="title"/>
          </p:nvPr>
        </p:nvSpPr>
        <p:spPr/>
        <p:txBody>
          <a:bodyPr/>
          <a:lstStyle/>
          <a:p>
            <a:pPr eaLnBrk="1" hangingPunct="1"/>
            <a:r>
              <a:rPr lang="de-DE" altLang="en-US"/>
              <a:t>Disclaimer</a:t>
            </a:r>
            <a:br>
              <a:rPr lang="de-DE" altLang="en-US"/>
            </a:br>
            <a:endParaRPr lang="de-DE" altLang="en-US"/>
          </a:p>
        </p:txBody>
      </p:sp>
      <p:sp>
        <p:nvSpPr>
          <p:cNvPr id="126979" name="Textplatzhalter 3">
            <a:extLst>
              <a:ext uri="{FF2B5EF4-FFF2-40B4-BE49-F238E27FC236}">
                <a16:creationId xmlns:a16="http://schemas.microsoft.com/office/drawing/2014/main" id="{2313D14C-97D3-404E-96AA-10A878272E96}"/>
              </a:ext>
            </a:extLst>
          </p:cNvPr>
          <p:cNvSpPr txBox="1">
            <a:spLocks noChangeArrowheads="1"/>
          </p:cNvSpPr>
          <p:nvPr/>
        </p:nvSpPr>
        <p:spPr bwMode="auto">
          <a:xfrm>
            <a:off x="406400" y="1449388"/>
            <a:ext cx="5545138"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buFont typeface="Arial" panose="020B0604020202020204" pitchFamily="34" charset="0"/>
              <a:defRPr b="1">
                <a:solidFill>
                  <a:srgbClr val="005A9A"/>
                </a:solidFill>
                <a:latin typeface="Univers" panose="020B0503020202020204" pitchFamily="34" charset="0"/>
              </a:defRPr>
            </a:lvl1pPr>
            <a:lvl2pPr>
              <a:buFont typeface="Arial" panose="020B0604020202020204" pitchFamily="34" charset="0"/>
              <a:defRPr>
                <a:solidFill>
                  <a:schemeClr val="bg2"/>
                </a:solidFill>
                <a:latin typeface="Univers" panose="020B0503020202020204" pitchFamily="34" charset="0"/>
              </a:defRPr>
            </a:lvl2pPr>
            <a:lvl3pPr marL="250825" indent="-250825">
              <a:spcBef>
                <a:spcPts val="600"/>
              </a:spcBef>
              <a:buClr>
                <a:srgbClr val="005A9A"/>
              </a:buClr>
              <a:buFont typeface="Wingdings 2" pitchFamily="2" charset="2"/>
              <a:buChar char=""/>
              <a:defRPr>
                <a:solidFill>
                  <a:schemeClr val="bg2"/>
                </a:solidFill>
                <a:latin typeface="Univers" panose="020B0503020202020204" pitchFamily="34" charset="0"/>
              </a:defRPr>
            </a:lvl3pPr>
            <a:lvl4pPr marL="503238" indent="-250825">
              <a:spcBef>
                <a:spcPts val="600"/>
              </a:spcBef>
              <a:buClr>
                <a:srgbClr val="005A9A"/>
              </a:buClr>
              <a:buFont typeface="Symbol" pitchFamily="2" charset="2"/>
              <a:buChar char="-"/>
              <a:defRPr>
                <a:solidFill>
                  <a:schemeClr val="bg2"/>
                </a:solidFill>
                <a:latin typeface="Univers" panose="020B0503020202020204" pitchFamily="34" charset="0"/>
              </a:defRPr>
            </a:lvl4pPr>
            <a:lvl5pPr marL="755650" indent="-250825">
              <a:spcBef>
                <a:spcPts val="600"/>
              </a:spcBef>
              <a:buClr>
                <a:srgbClr val="005A9A"/>
              </a:buClr>
              <a:buFont typeface="Wingdings 2" pitchFamily="2" charset="2"/>
              <a:buChar char="¡"/>
              <a:defRPr>
                <a:solidFill>
                  <a:schemeClr val="bg2"/>
                </a:solidFill>
                <a:latin typeface="Univers" panose="020B0503020202020204" pitchFamily="34" charset="0"/>
              </a:defRPr>
            </a:lvl5pPr>
            <a:lvl6pPr marL="1212850" indent="-250825" defTabSz="1217613" eaLnBrk="0" fontAlgn="base" hangingPunct="0">
              <a:spcBef>
                <a:spcPts val="600"/>
              </a:spcBef>
              <a:spcAft>
                <a:spcPct val="0"/>
              </a:spcAft>
              <a:buClr>
                <a:srgbClr val="005A9A"/>
              </a:buClr>
              <a:buFont typeface="Wingdings 2" pitchFamily="2" charset="2"/>
              <a:buChar char="¡"/>
              <a:defRPr>
                <a:solidFill>
                  <a:schemeClr val="bg2"/>
                </a:solidFill>
                <a:latin typeface="Univers" panose="020B0503020202020204" pitchFamily="34" charset="0"/>
              </a:defRPr>
            </a:lvl6pPr>
            <a:lvl7pPr marL="1670050" indent="-250825" defTabSz="1217613" eaLnBrk="0" fontAlgn="base" hangingPunct="0">
              <a:spcBef>
                <a:spcPts val="600"/>
              </a:spcBef>
              <a:spcAft>
                <a:spcPct val="0"/>
              </a:spcAft>
              <a:buClr>
                <a:srgbClr val="005A9A"/>
              </a:buClr>
              <a:buFont typeface="Wingdings 2" pitchFamily="2" charset="2"/>
              <a:buChar char="¡"/>
              <a:defRPr>
                <a:solidFill>
                  <a:schemeClr val="bg2"/>
                </a:solidFill>
                <a:latin typeface="Univers" panose="020B0503020202020204" pitchFamily="34" charset="0"/>
              </a:defRPr>
            </a:lvl7pPr>
            <a:lvl8pPr marL="2127250" indent="-250825" defTabSz="1217613" eaLnBrk="0" fontAlgn="base" hangingPunct="0">
              <a:spcBef>
                <a:spcPts val="600"/>
              </a:spcBef>
              <a:spcAft>
                <a:spcPct val="0"/>
              </a:spcAft>
              <a:buClr>
                <a:srgbClr val="005A9A"/>
              </a:buClr>
              <a:buFont typeface="Wingdings 2" pitchFamily="2" charset="2"/>
              <a:buChar char="¡"/>
              <a:defRPr>
                <a:solidFill>
                  <a:schemeClr val="bg2"/>
                </a:solidFill>
                <a:latin typeface="Univers" panose="020B0503020202020204" pitchFamily="34" charset="0"/>
              </a:defRPr>
            </a:lvl8pPr>
            <a:lvl9pPr marL="2584450" indent="-250825" defTabSz="1217613" eaLnBrk="0" fontAlgn="base" hangingPunct="0">
              <a:spcBef>
                <a:spcPts val="600"/>
              </a:spcBef>
              <a:spcAft>
                <a:spcPct val="0"/>
              </a:spcAft>
              <a:buClr>
                <a:srgbClr val="005A9A"/>
              </a:buClr>
              <a:buFont typeface="Wingdings 2" pitchFamily="2" charset="2"/>
              <a:buChar char="¡"/>
              <a:defRPr>
                <a:solidFill>
                  <a:schemeClr val="bg2"/>
                </a:solidFill>
                <a:latin typeface="Univers" panose="020B0503020202020204" pitchFamily="34" charset="0"/>
              </a:defRPr>
            </a:lvl9pPr>
          </a:lstStyle>
          <a:p>
            <a:pPr marL="0" lvl="1" indent="0" eaLnBrk="1" hangingPunct="1">
              <a:lnSpc>
                <a:spcPct val="95000"/>
              </a:lnSpc>
            </a:pPr>
            <a:r>
              <a:rPr lang="en-US" altLang="en-US" sz="1000" dirty="0"/>
              <a:t>© 2018 SNP SE or an SNP affiliate company. All rights reserved. No part of this publication may </a:t>
            </a:r>
            <a:br>
              <a:rPr lang="en-US" altLang="en-US" sz="1000" dirty="0"/>
            </a:br>
            <a:r>
              <a:rPr lang="en-US" altLang="en-US" sz="1000" dirty="0"/>
              <a:t>be reproduced or transmitted in any form or for any purpose without the express permission of </a:t>
            </a:r>
            <a:br>
              <a:rPr lang="en-US" altLang="en-US" sz="1000" dirty="0"/>
            </a:br>
            <a:r>
              <a:rPr lang="en-US" altLang="en-US" sz="1000" dirty="0"/>
              <a:t>SNP SE or an SNP affiliate company. </a:t>
            </a:r>
          </a:p>
          <a:p>
            <a:pPr marL="0" lvl="1" indent="0" eaLnBrk="1" hangingPunct="1">
              <a:lnSpc>
                <a:spcPct val="95000"/>
              </a:lnSpc>
            </a:pPr>
            <a:r>
              <a:rPr lang="en-US" altLang="en-US" sz="1000" dirty="0"/>
              <a:t>The information contained herein may be changed at any time without notice. Some software products marketed by SNP SE and its distributors contain proprietary software components of other software vendors.</a:t>
            </a:r>
          </a:p>
          <a:p>
            <a:pPr marL="0" lvl="1" indent="0" eaLnBrk="1" hangingPunct="1">
              <a:lnSpc>
                <a:spcPct val="95000"/>
              </a:lnSpc>
            </a:pPr>
            <a:r>
              <a:rPr lang="en-US" altLang="en-US" sz="1000" dirty="0"/>
              <a:t> </a:t>
            </a:r>
          </a:p>
          <a:p>
            <a:pPr marL="0" lvl="1" indent="0" eaLnBrk="1" hangingPunct="1">
              <a:lnSpc>
                <a:spcPct val="95000"/>
              </a:lnSpc>
            </a:pPr>
            <a:r>
              <a:rPr lang="en-US" altLang="en-US" sz="1000" dirty="0"/>
              <a:t>This document is a preliminary version and not subject to your license agreement or any other agreement with SNP. This document contains only intended strategies, developments, and functionalities of the SNP product and is not intended to be binding upon SNP to any particular course of business, product strategy, and/or development.</a:t>
            </a:r>
          </a:p>
          <a:p>
            <a:pPr marL="0" lvl="1" indent="0" eaLnBrk="1" hangingPunct="1">
              <a:lnSpc>
                <a:spcPct val="95000"/>
              </a:lnSpc>
            </a:pPr>
            <a:r>
              <a:rPr lang="en-US" altLang="en-US" sz="1000" dirty="0"/>
              <a:t> </a:t>
            </a:r>
          </a:p>
          <a:p>
            <a:pPr marL="0" lvl="1" indent="0" eaLnBrk="1" hangingPunct="1">
              <a:lnSpc>
                <a:spcPct val="95000"/>
              </a:lnSpc>
            </a:pPr>
            <a:r>
              <a:rPr lang="en-US" altLang="en-US" sz="1000" dirty="0"/>
              <a:t>SNP assumes no responsibility for errors or omissions in this document. SNP does not warrant the accuracy or completeness of the information, text, graphics, links, or other items contained within this material. This document is provided without a warranty of any kind, either express or implied, including but not limited to the implied warranties of merchantability, fitness for a particular purpose, or non-infringement.</a:t>
            </a:r>
          </a:p>
          <a:p>
            <a:pPr marL="0" lvl="1" indent="0" eaLnBrk="1" hangingPunct="1">
              <a:lnSpc>
                <a:spcPct val="95000"/>
              </a:lnSpc>
            </a:pPr>
            <a:r>
              <a:rPr lang="en-US" altLang="en-US" sz="1000" dirty="0"/>
              <a:t> </a:t>
            </a:r>
          </a:p>
          <a:p>
            <a:pPr marL="0" lvl="1" indent="0" eaLnBrk="1" hangingPunct="1">
              <a:lnSpc>
                <a:spcPct val="95000"/>
              </a:lnSpc>
            </a:pPr>
            <a:r>
              <a:rPr lang="en-US" altLang="en-US" sz="1000" dirty="0"/>
              <a:t>SNP shall have no liability for damages of any kind including without limitation direct, special, indirect, or consequential damages that may result from the use of these materials. This limitation shall not apply in cases of intent or gross negligence.</a:t>
            </a:r>
          </a:p>
          <a:p>
            <a:pPr marL="0" lvl="1" indent="0" eaLnBrk="1" hangingPunct="1">
              <a:lnSpc>
                <a:spcPct val="95000"/>
              </a:lnSpc>
            </a:pPr>
            <a:r>
              <a:rPr lang="en-US" altLang="en-US" sz="1000" dirty="0"/>
              <a:t> </a:t>
            </a:r>
          </a:p>
          <a:p>
            <a:pPr marL="0" lvl="1" indent="0" eaLnBrk="1" hangingPunct="1">
              <a:lnSpc>
                <a:spcPct val="95000"/>
              </a:lnSpc>
            </a:pPr>
            <a:r>
              <a:rPr lang="en-US" altLang="en-US" sz="1000" dirty="0"/>
              <a:t>SAP and other SAP products and services mentioned herein as well as their respective logos are trademarks or registered trademarks of SAP SE (or an SAP affiliate company) in Germany and in several other countries. </a:t>
            </a:r>
          </a:p>
          <a:p>
            <a:pPr marL="0" lvl="1" indent="0" eaLnBrk="1" hangingPunct="1">
              <a:lnSpc>
                <a:spcPct val="95000"/>
              </a:lnSpc>
            </a:pPr>
            <a:r>
              <a:rPr lang="en-US" altLang="en-US" sz="1000" dirty="0"/>
              <a:t> </a:t>
            </a:r>
          </a:p>
          <a:p>
            <a:pPr marL="0" lvl="1" indent="0" eaLnBrk="1" hangingPunct="1">
              <a:lnSpc>
                <a:spcPct val="95000"/>
              </a:lnSpc>
            </a:pPr>
            <a:r>
              <a:rPr lang="en-US" altLang="en-US" sz="1000" dirty="0"/>
              <a:t>All other product and service names mentioned are the trademarks of their respective companies.</a:t>
            </a:r>
          </a:p>
          <a:p>
            <a:pPr marL="0" lvl="1" indent="0" eaLnBrk="1" hangingPunct="1">
              <a:lnSpc>
                <a:spcPct val="95000"/>
              </a:lnSpc>
            </a:pPr>
            <a:endParaRPr lang="en-US" altLang="en-US" sz="1000" dirty="0"/>
          </a:p>
          <a:p>
            <a:pPr marL="0" lvl="1" indent="0" eaLnBrk="1" hangingPunct="1">
              <a:lnSpc>
                <a:spcPct val="95000"/>
              </a:lnSpc>
            </a:pPr>
            <a:r>
              <a:rPr lang="en-US" altLang="en-US" sz="1000" dirty="0"/>
              <a:t>Heidelberg, Germany 2019</a:t>
            </a:r>
          </a:p>
        </p:txBody>
      </p:sp>
      <p:sp>
        <p:nvSpPr>
          <p:cNvPr id="4" name="Foliennummernplatzhalter 3">
            <a:extLst>
              <a:ext uri="{FF2B5EF4-FFF2-40B4-BE49-F238E27FC236}">
                <a16:creationId xmlns:a16="http://schemas.microsoft.com/office/drawing/2014/main" id="{F0D42E77-4AEB-4C5D-A66F-AF841A83B987}"/>
              </a:ext>
            </a:extLst>
          </p:cNvPr>
          <p:cNvSpPr>
            <a:spLocks noGrp="1"/>
          </p:cNvSpPr>
          <p:nvPr>
            <p:ph type="sldNum" sz="quarter" idx="11"/>
          </p:nvPr>
        </p:nvSpPr>
        <p:spPr/>
        <p:txBody>
          <a:bodyPr/>
          <a:lstStyle/>
          <a:p>
            <a:pPr>
              <a:defRPr/>
            </a:pPr>
            <a:fld id="{96BA7266-8CE3-B64D-A1D2-D1616C5D4F5B}" type="slidenum">
              <a:rPr lang="de-DE"/>
              <a:pPr>
                <a:defRPr/>
              </a:pPr>
              <a:t>30</a:t>
            </a:fld>
            <a:endParaRPr lang="de-DE" dirty="0"/>
          </a:p>
        </p:txBody>
      </p:sp>
      <p:sp>
        <p:nvSpPr>
          <p:cNvPr id="8" name="Datumsplatzhalter 5">
            <a:extLst>
              <a:ext uri="{FF2B5EF4-FFF2-40B4-BE49-F238E27FC236}">
                <a16:creationId xmlns:a16="http://schemas.microsoft.com/office/drawing/2014/main" id="{E711D628-E071-4BBD-AC01-0DE5E64FAEE4}"/>
              </a:ext>
            </a:extLst>
          </p:cNvPr>
          <p:cNvSpPr>
            <a:spLocks noGrp="1"/>
          </p:cNvSpPr>
          <p:nvPr>
            <p:ph type="dt" sz="half" idx="10"/>
          </p:nvPr>
        </p:nvSpPr>
        <p:spPr>
          <a:xfrm>
            <a:off x="406400" y="6501507"/>
            <a:ext cx="648000" cy="180000"/>
          </a:xfrm>
        </p:spPr>
        <p:txBody>
          <a:bodyPr/>
          <a:lstStyle/>
          <a:p>
            <a:r>
              <a:rPr lang="en-US" dirty="0">
                <a:solidFill>
                  <a:srgbClr val="6F6F6F"/>
                </a:solidFill>
              </a:rPr>
              <a:t>21/08/2019</a:t>
            </a:r>
            <a:endParaRPr lang="de-DE" dirty="0">
              <a:solidFill>
                <a:srgbClr val="6F6F6F"/>
              </a:solidFill>
            </a:endParaRPr>
          </a:p>
        </p:txBody>
      </p:sp>
      <p:pic>
        <p:nvPicPr>
          <p:cNvPr id="9" name="Picture 8">
            <a:extLst>
              <a:ext uri="{FF2B5EF4-FFF2-40B4-BE49-F238E27FC236}">
                <a16:creationId xmlns:a16="http://schemas.microsoft.com/office/drawing/2014/main" id="{6FEED7C1-E339-48B5-AAC5-8D6BE1FDE254}"/>
              </a:ext>
            </a:extLst>
          </p:cNvPr>
          <p:cNvPicPr>
            <a:picLocks noChangeAspect="1"/>
          </p:cNvPicPr>
          <p:nvPr/>
        </p:nvPicPr>
        <p:blipFill>
          <a:blip r:embed="rId2"/>
          <a:stretch>
            <a:fillRect/>
          </a:stretch>
        </p:blipFill>
        <p:spPr>
          <a:xfrm>
            <a:off x="9994951" y="384669"/>
            <a:ext cx="1311958" cy="411043"/>
          </a:xfrm>
          <a:prstGeom prst="rect">
            <a:avLst/>
          </a:prstGeom>
        </p:spPr>
      </p:pic>
      <p:sp>
        <p:nvSpPr>
          <p:cNvPr id="10" name="Footer Placeholder 5">
            <a:extLst>
              <a:ext uri="{FF2B5EF4-FFF2-40B4-BE49-F238E27FC236}">
                <a16:creationId xmlns:a16="http://schemas.microsoft.com/office/drawing/2014/main" id="{11F430CC-B0A6-431E-A012-B5DCBAF2D11B}"/>
              </a:ext>
            </a:extLst>
          </p:cNvPr>
          <p:cNvSpPr txBox="1">
            <a:spLocks/>
          </p:cNvSpPr>
          <p:nvPr/>
        </p:nvSpPr>
        <p:spPr>
          <a:xfrm>
            <a:off x="1054646" y="6475131"/>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GB" sz="900" dirty="0">
                <a:solidFill>
                  <a:srgbClr val="6F6F6F"/>
                </a:solidFill>
              </a:rPr>
              <a:t>NZSUG Auckland Event + SAP Forum</a:t>
            </a:r>
            <a:endParaRPr lang="de-DE" sz="900" dirty="0">
              <a:solidFill>
                <a:srgbClr val="6F6F6F"/>
              </a:solidFill>
            </a:endParaRPr>
          </a:p>
        </p:txBody>
      </p:sp>
    </p:spTree>
    <p:extLst>
      <p:ext uri="{BB962C8B-B14F-4D97-AF65-F5344CB8AC3E}">
        <p14:creationId xmlns:p14="http://schemas.microsoft.com/office/powerpoint/2010/main" val="582727377"/>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5">
            <a:extLst>
              <a:ext uri="{FF2B5EF4-FFF2-40B4-BE49-F238E27FC236}">
                <a16:creationId xmlns:a16="http://schemas.microsoft.com/office/drawing/2014/main" id="{8AECE1FD-8DBF-46A1-9983-8E0360A0B03E}"/>
              </a:ext>
            </a:extLst>
          </p:cNvPr>
          <p:cNvSpPr>
            <a:spLocks noEditPoints="1"/>
          </p:cNvSpPr>
          <p:nvPr/>
        </p:nvSpPr>
        <p:spPr bwMode="auto">
          <a:xfrm>
            <a:off x="11378399" y="248372"/>
            <a:ext cx="564809" cy="547340"/>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de-DE"/>
          </a:p>
        </p:txBody>
      </p:sp>
      <p:sp>
        <p:nvSpPr>
          <p:cNvPr id="5" name="Titel 4">
            <a:extLst>
              <a:ext uri="{FF2B5EF4-FFF2-40B4-BE49-F238E27FC236}">
                <a16:creationId xmlns:a16="http://schemas.microsoft.com/office/drawing/2014/main" id="{8C0AD356-A2C9-4618-AEFE-34FF82B15735}"/>
              </a:ext>
            </a:extLst>
          </p:cNvPr>
          <p:cNvSpPr>
            <a:spLocks noGrp="1"/>
          </p:cNvSpPr>
          <p:nvPr>
            <p:ph type="title"/>
          </p:nvPr>
        </p:nvSpPr>
        <p:spPr/>
        <p:txBody>
          <a:bodyPr/>
          <a:lstStyle/>
          <a:p>
            <a:r>
              <a:rPr lang="en-US" dirty="0"/>
              <a:t>SNP I APAC and Middle East</a:t>
            </a:r>
            <a:endParaRPr lang="de-DE" dirty="0"/>
          </a:p>
        </p:txBody>
      </p:sp>
      <p:sp>
        <p:nvSpPr>
          <p:cNvPr id="98" name="Rechteck 97">
            <a:extLst>
              <a:ext uri="{FF2B5EF4-FFF2-40B4-BE49-F238E27FC236}">
                <a16:creationId xmlns:a16="http://schemas.microsoft.com/office/drawing/2014/main" id="{60A8ADAF-4FFB-407B-8330-924D91E5094F}"/>
              </a:ext>
            </a:extLst>
          </p:cNvPr>
          <p:cNvSpPr/>
          <p:nvPr/>
        </p:nvSpPr>
        <p:spPr>
          <a:xfrm>
            <a:off x="7705833" y="1984844"/>
            <a:ext cx="4078180" cy="2956324"/>
          </a:xfrm>
          <a:prstGeom prst="rect">
            <a:avLst/>
          </a:prstGeom>
          <a:noFill/>
        </p:spPr>
        <p:txBody>
          <a:bodyPr vert="horz" lIns="0" tIns="0" rIns="0" bIns="0" rtlCol="0">
            <a:noAutofit/>
          </a:bodyPr>
          <a:lstStyle/>
          <a:p>
            <a:pPr>
              <a:lnSpc>
                <a:spcPts val="2100"/>
              </a:lnSpc>
              <a:spcBef>
                <a:spcPts val="400"/>
              </a:spcBef>
              <a:buClr>
                <a:srgbClr val="005A9A"/>
              </a:buClr>
            </a:pPr>
            <a:r>
              <a:rPr lang="en-US" sz="2000" b="1" dirty="0">
                <a:solidFill>
                  <a:schemeClr val="bg2">
                    <a:lumMod val="25000"/>
                  </a:schemeClr>
                </a:solidFill>
              </a:rPr>
              <a:t>SNP's core competencies are the development of innovative software and consulting products to optimize SAP system landscapes and business processes</a:t>
            </a:r>
            <a:r>
              <a:rPr lang="de-DE" sz="2000" b="1" dirty="0">
                <a:solidFill>
                  <a:schemeClr val="bg2">
                    <a:lumMod val="25000"/>
                  </a:schemeClr>
                </a:solidFill>
              </a:rPr>
              <a:t>.</a:t>
            </a:r>
          </a:p>
          <a:p>
            <a:pPr>
              <a:lnSpc>
                <a:spcPts val="2100"/>
              </a:lnSpc>
              <a:spcBef>
                <a:spcPts val="400"/>
              </a:spcBef>
              <a:buClr>
                <a:srgbClr val="005A9A"/>
              </a:buClr>
            </a:pPr>
            <a:endParaRPr lang="en-US" sz="2000" b="1" dirty="0">
              <a:solidFill>
                <a:schemeClr val="bg2">
                  <a:lumMod val="25000"/>
                </a:schemeClr>
              </a:solidFill>
            </a:endParaRPr>
          </a:p>
          <a:p>
            <a:pPr>
              <a:lnSpc>
                <a:spcPts val="2100"/>
              </a:lnSpc>
              <a:spcBef>
                <a:spcPts val="400"/>
              </a:spcBef>
              <a:buClr>
                <a:srgbClr val="005A9A"/>
              </a:buClr>
            </a:pPr>
            <a:r>
              <a:rPr lang="en-US" sz="2000" b="1" dirty="0">
                <a:solidFill>
                  <a:schemeClr val="bg2">
                    <a:lumMod val="25000"/>
                  </a:schemeClr>
                </a:solidFill>
              </a:rPr>
              <a:t>Our value proposition: "Added value from SAP."</a:t>
            </a:r>
            <a:endParaRPr lang="de-DE" sz="2000" b="1" dirty="0">
              <a:solidFill>
                <a:schemeClr val="bg2">
                  <a:lumMod val="25000"/>
                </a:schemeClr>
              </a:solidFill>
            </a:endParaRPr>
          </a:p>
          <a:p>
            <a:pPr lvl="0">
              <a:lnSpc>
                <a:spcPts val="2100"/>
              </a:lnSpc>
              <a:defRPr/>
            </a:pPr>
            <a:endParaRPr lang="en-US" sz="2000" b="1" dirty="0">
              <a:solidFill>
                <a:schemeClr val="bg2">
                  <a:lumMod val="25000"/>
                </a:schemeClr>
              </a:solidFill>
            </a:endParaRPr>
          </a:p>
        </p:txBody>
      </p:sp>
      <p:sp>
        <p:nvSpPr>
          <p:cNvPr id="36" name="Freeform 9">
            <a:extLst>
              <a:ext uri="{FF2B5EF4-FFF2-40B4-BE49-F238E27FC236}">
                <a16:creationId xmlns:a16="http://schemas.microsoft.com/office/drawing/2014/main" id="{61B0CC08-B9B7-47F6-9C10-7E619EB09BD0}"/>
              </a:ext>
            </a:extLst>
          </p:cNvPr>
          <p:cNvSpPr>
            <a:spLocks/>
          </p:cNvSpPr>
          <p:nvPr/>
        </p:nvSpPr>
        <p:spPr bwMode="auto">
          <a:xfrm>
            <a:off x="3032129" y="3325163"/>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blipFill dpi="0" rotWithShape="1">
            <a:blip r:embed="rId3"/>
            <a:srcRect/>
            <a:stretch>
              <a:fillRect l="-40424" t="-6437" r="-57591" b="-1899"/>
            </a:stretch>
          </a:blipFill>
          <a:ln w="50800">
            <a:noFill/>
          </a:ln>
        </p:spPr>
        <p:txBody>
          <a:bodyPr vert="horz" wrap="square" lIns="91440" tIns="45720" rIns="91440" bIns="45720" numCol="1" anchor="t" anchorCtr="0" compatLnSpc="1">
            <a:prstTxWarp prst="textNoShape">
              <a:avLst/>
            </a:prstTxWarp>
          </a:bodyPr>
          <a:lstStyle/>
          <a:p>
            <a:endParaRPr lang="de-DE"/>
          </a:p>
        </p:txBody>
      </p:sp>
      <p:sp>
        <p:nvSpPr>
          <p:cNvPr id="35" name="Freeform 9">
            <a:extLst>
              <a:ext uri="{FF2B5EF4-FFF2-40B4-BE49-F238E27FC236}">
                <a16:creationId xmlns:a16="http://schemas.microsoft.com/office/drawing/2014/main" id="{5FC7F3A8-7FBD-4C39-B0FD-132A6B891453}"/>
              </a:ext>
            </a:extLst>
          </p:cNvPr>
          <p:cNvSpPr>
            <a:spLocks/>
          </p:cNvSpPr>
          <p:nvPr/>
        </p:nvSpPr>
        <p:spPr bwMode="auto">
          <a:xfrm>
            <a:off x="2188523" y="1844824"/>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blipFill dpi="0" rotWithShape="1">
            <a:blip r:embed="rId4">
              <a:extLst>
                <a:ext uri="{28A0092B-C50C-407E-A947-70E740481C1C}">
                  <a14:useLocalDpi xmlns:a14="http://schemas.microsoft.com/office/drawing/2010/main" val="0"/>
                </a:ext>
              </a:extLst>
            </a:blip>
            <a:srcRect/>
            <a:stretch>
              <a:fillRect l="-122661" r="-122661"/>
            </a:stretch>
          </a:blipFill>
          <a:ln w="50800">
            <a:noFill/>
          </a:ln>
        </p:spPr>
        <p:txBody>
          <a:bodyPr vert="horz" wrap="square" lIns="91440" tIns="45720" rIns="91440" bIns="45720" numCol="1" anchor="t" anchorCtr="0" compatLnSpc="1">
            <a:prstTxWarp prst="textNoShape">
              <a:avLst/>
            </a:prstTxWarp>
          </a:bodyPr>
          <a:lstStyle/>
          <a:p>
            <a:endParaRPr lang="de-DE" dirty="0"/>
          </a:p>
        </p:txBody>
      </p:sp>
      <p:sp>
        <p:nvSpPr>
          <p:cNvPr id="38" name="Freeform 9">
            <a:extLst>
              <a:ext uri="{FF2B5EF4-FFF2-40B4-BE49-F238E27FC236}">
                <a16:creationId xmlns:a16="http://schemas.microsoft.com/office/drawing/2014/main" id="{4EF054AA-2990-4434-8CCB-3C23B687A4BA}"/>
              </a:ext>
            </a:extLst>
          </p:cNvPr>
          <p:cNvSpPr>
            <a:spLocks/>
          </p:cNvSpPr>
          <p:nvPr/>
        </p:nvSpPr>
        <p:spPr bwMode="auto">
          <a:xfrm>
            <a:off x="5601869" y="1844824"/>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blipFill dpi="0" rotWithShape="1">
            <a:blip r:embed="rId5"/>
            <a:srcRect/>
            <a:stretch>
              <a:fillRect l="-37478" t="-821" r="-37478" b="-3897"/>
            </a:stretch>
          </a:blipFill>
          <a:ln w="50800">
            <a:noFill/>
          </a:ln>
        </p:spPr>
        <p:txBody>
          <a:bodyPr vert="horz" wrap="square" lIns="91440" tIns="45720" rIns="91440" bIns="45720" numCol="1" anchor="t" anchorCtr="0" compatLnSpc="1">
            <a:prstTxWarp prst="textNoShape">
              <a:avLst/>
            </a:prstTxWarp>
          </a:bodyPr>
          <a:lstStyle/>
          <a:p>
            <a:endParaRPr lang="de-DE"/>
          </a:p>
        </p:txBody>
      </p:sp>
      <p:sp>
        <p:nvSpPr>
          <p:cNvPr id="44" name="Freeform 9">
            <a:extLst>
              <a:ext uri="{FF2B5EF4-FFF2-40B4-BE49-F238E27FC236}">
                <a16:creationId xmlns:a16="http://schemas.microsoft.com/office/drawing/2014/main" id="{2476F619-E57C-4F3D-A097-4EE424014A1E}"/>
              </a:ext>
            </a:extLst>
          </p:cNvPr>
          <p:cNvSpPr>
            <a:spLocks/>
          </p:cNvSpPr>
          <p:nvPr/>
        </p:nvSpPr>
        <p:spPr bwMode="auto">
          <a:xfrm>
            <a:off x="3895196" y="1844824"/>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C5C5C5"/>
          </a:solidFill>
          <a:ln w="50800">
            <a:noFill/>
          </a:ln>
        </p:spPr>
        <p:txBody>
          <a:bodyPr vert="horz" wrap="square" lIns="91440" tIns="45720" rIns="91440" bIns="45720" numCol="1" anchor="ctr" anchorCtr="0" compatLnSpc="1">
            <a:prstTxWarp prst="textNoShape">
              <a:avLst/>
            </a:prstTxWarp>
          </a:bodyPr>
          <a:lstStyle/>
          <a:p>
            <a:pPr algn="ctr"/>
            <a:r>
              <a:rPr lang="en-US" sz="1400" b="1" kern="0" dirty="0">
                <a:solidFill>
                  <a:schemeClr val="tx1">
                    <a:lumMod val="50000"/>
                  </a:schemeClr>
                </a:solidFill>
              </a:rPr>
              <a:t>Business Landscape Transformation</a:t>
            </a:r>
            <a:endParaRPr lang="de-DE" sz="1400" b="1" kern="0" dirty="0">
              <a:solidFill>
                <a:schemeClr val="tx1">
                  <a:lumMod val="50000"/>
                </a:schemeClr>
              </a:solidFill>
            </a:endParaRPr>
          </a:p>
        </p:txBody>
      </p:sp>
      <p:sp>
        <p:nvSpPr>
          <p:cNvPr id="45" name="Freeform 9">
            <a:extLst>
              <a:ext uri="{FF2B5EF4-FFF2-40B4-BE49-F238E27FC236}">
                <a16:creationId xmlns:a16="http://schemas.microsoft.com/office/drawing/2014/main" id="{2B756C4B-B04F-4076-AF8C-2BA6D08BCF23}"/>
              </a:ext>
            </a:extLst>
          </p:cNvPr>
          <p:cNvSpPr>
            <a:spLocks/>
          </p:cNvSpPr>
          <p:nvPr/>
        </p:nvSpPr>
        <p:spPr bwMode="auto">
          <a:xfrm>
            <a:off x="481850" y="1844824"/>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C5C5C5"/>
          </a:solidFill>
          <a:ln w="50800">
            <a:noFill/>
          </a:ln>
        </p:spPr>
        <p:txBody>
          <a:bodyPr vert="horz" wrap="square" lIns="91440" tIns="45720" rIns="91440" bIns="45720" numCol="1" anchor="ctr" anchorCtr="0" compatLnSpc="1">
            <a:prstTxWarp prst="textNoShape">
              <a:avLst/>
            </a:prstTxWarp>
          </a:bodyPr>
          <a:lstStyle/>
          <a:p>
            <a:pPr algn="ctr">
              <a:spcBef>
                <a:spcPts val="400"/>
              </a:spcBef>
              <a:buClr>
                <a:srgbClr val="005A9A"/>
              </a:buClr>
            </a:pPr>
            <a:r>
              <a:rPr lang="en-US" sz="1100" kern="0" dirty="0">
                <a:solidFill>
                  <a:schemeClr val="tx1">
                    <a:lumMod val="50000"/>
                  </a:schemeClr>
                </a:solidFill>
              </a:rPr>
              <a:t>Offices</a:t>
            </a:r>
          </a:p>
          <a:p>
            <a:pPr algn="ctr">
              <a:spcBef>
                <a:spcPts val="400"/>
              </a:spcBef>
              <a:buClr>
                <a:srgbClr val="005A9A"/>
              </a:buClr>
            </a:pPr>
            <a:r>
              <a:rPr lang="de-DE" sz="1400" b="1" kern="0" dirty="0">
                <a:solidFill>
                  <a:schemeClr val="tx1">
                    <a:lumMod val="50000"/>
                  </a:schemeClr>
                </a:solidFill>
              </a:rPr>
              <a:t>Malaysia</a:t>
            </a:r>
            <a:endParaRPr lang="pl-PL" sz="1400" b="1" kern="0" dirty="0">
              <a:solidFill>
                <a:schemeClr val="tx1">
                  <a:lumMod val="50000"/>
                </a:schemeClr>
              </a:solidFill>
            </a:endParaRPr>
          </a:p>
          <a:p>
            <a:pPr algn="ctr">
              <a:spcBef>
                <a:spcPts val="400"/>
              </a:spcBef>
              <a:buClr>
                <a:srgbClr val="005A9A"/>
              </a:buClr>
            </a:pPr>
            <a:r>
              <a:rPr lang="de-DE" sz="1400" b="1" kern="0" dirty="0">
                <a:solidFill>
                  <a:schemeClr val="tx1">
                    <a:lumMod val="50000"/>
                  </a:schemeClr>
                </a:solidFill>
              </a:rPr>
              <a:t>Singapore</a:t>
            </a:r>
            <a:endParaRPr lang="pl-PL" sz="1400" b="1" kern="0" dirty="0">
              <a:solidFill>
                <a:schemeClr val="tx1">
                  <a:lumMod val="50000"/>
                </a:schemeClr>
              </a:solidFill>
            </a:endParaRPr>
          </a:p>
          <a:p>
            <a:pPr algn="ctr">
              <a:spcBef>
                <a:spcPts val="400"/>
              </a:spcBef>
              <a:buClr>
                <a:srgbClr val="005A9A"/>
              </a:buClr>
            </a:pPr>
            <a:r>
              <a:rPr lang="de-DE" sz="1400" b="1" kern="0" dirty="0">
                <a:solidFill>
                  <a:schemeClr val="tx1">
                    <a:lumMod val="50000"/>
                  </a:schemeClr>
                </a:solidFill>
              </a:rPr>
              <a:t>China</a:t>
            </a:r>
          </a:p>
          <a:p>
            <a:pPr algn="ctr">
              <a:spcBef>
                <a:spcPts val="400"/>
              </a:spcBef>
              <a:buClr>
                <a:srgbClr val="005A9A"/>
              </a:buClr>
            </a:pPr>
            <a:r>
              <a:rPr lang="de-DE" sz="1400" b="1" kern="0" dirty="0">
                <a:solidFill>
                  <a:schemeClr val="tx1">
                    <a:lumMod val="50000"/>
                  </a:schemeClr>
                </a:solidFill>
              </a:rPr>
              <a:t>Australia</a:t>
            </a:r>
            <a:endParaRPr lang="pl-PL" sz="1400" b="1" kern="0" dirty="0">
              <a:solidFill>
                <a:schemeClr val="tx1">
                  <a:lumMod val="50000"/>
                </a:schemeClr>
              </a:solidFill>
            </a:endParaRPr>
          </a:p>
        </p:txBody>
      </p:sp>
      <p:sp>
        <p:nvSpPr>
          <p:cNvPr id="47" name="Freeform 9">
            <a:extLst>
              <a:ext uri="{FF2B5EF4-FFF2-40B4-BE49-F238E27FC236}">
                <a16:creationId xmlns:a16="http://schemas.microsoft.com/office/drawing/2014/main" id="{4664D5B2-9E2D-446D-ABDE-A69F1BD1B5AE}"/>
              </a:ext>
            </a:extLst>
          </p:cNvPr>
          <p:cNvSpPr>
            <a:spLocks/>
          </p:cNvSpPr>
          <p:nvPr/>
        </p:nvSpPr>
        <p:spPr bwMode="auto">
          <a:xfrm>
            <a:off x="1320870" y="3323031"/>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C5C5C5"/>
          </a:solidFill>
          <a:ln w="50800">
            <a:noFill/>
          </a:ln>
        </p:spPr>
        <p:txBody>
          <a:bodyPr vert="horz" wrap="square" lIns="91440" tIns="45720" rIns="91440" bIns="45720" numCol="1" anchor="ctr" anchorCtr="0" compatLnSpc="1">
            <a:prstTxWarp prst="textNoShape">
              <a:avLst/>
            </a:prstTxWarp>
          </a:bodyPr>
          <a:lstStyle/>
          <a:p>
            <a:pPr algn="ctr"/>
            <a:r>
              <a:rPr lang="en-US" sz="1100" kern="0" dirty="0">
                <a:solidFill>
                  <a:schemeClr val="tx1">
                    <a:lumMod val="50000"/>
                  </a:schemeClr>
                </a:solidFill>
              </a:rPr>
              <a:t>Employees </a:t>
            </a:r>
            <a:br>
              <a:rPr lang="en-US" sz="1100" kern="0" dirty="0">
                <a:solidFill>
                  <a:schemeClr val="tx1">
                    <a:lumMod val="50000"/>
                  </a:schemeClr>
                </a:solidFill>
              </a:rPr>
            </a:br>
            <a:r>
              <a:rPr lang="en-US" sz="1400" b="1" kern="0" dirty="0">
                <a:solidFill>
                  <a:schemeClr val="tx1">
                    <a:lumMod val="50000"/>
                  </a:schemeClr>
                </a:solidFill>
              </a:rPr>
              <a:t>&gt; 250</a:t>
            </a:r>
          </a:p>
        </p:txBody>
      </p:sp>
      <p:sp>
        <p:nvSpPr>
          <p:cNvPr id="19" name="Freeform 9">
            <a:extLst>
              <a:ext uri="{FF2B5EF4-FFF2-40B4-BE49-F238E27FC236}">
                <a16:creationId xmlns:a16="http://schemas.microsoft.com/office/drawing/2014/main" id="{3FB2D49B-3388-4718-B589-6576A592D934}"/>
              </a:ext>
            </a:extLst>
          </p:cNvPr>
          <p:cNvSpPr>
            <a:spLocks/>
          </p:cNvSpPr>
          <p:nvPr/>
        </p:nvSpPr>
        <p:spPr bwMode="auto">
          <a:xfrm>
            <a:off x="4759415" y="3333494"/>
            <a:ext cx="1622556" cy="1806303"/>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C5C5C5"/>
          </a:solidFill>
          <a:ln w="50800">
            <a:noFill/>
          </a:ln>
        </p:spPr>
        <p:txBody>
          <a:bodyPr vert="horz" wrap="square" lIns="91440" tIns="45720" rIns="91440" bIns="45720" numCol="1" anchor="ctr" anchorCtr="0" compatLnSpc="1">
            <a:prstTxWarp prst="textNoShape">
              <a:avLst/>
            </a:prstTxWarp>
          </a:bodyPr>
          <a:lstStyle/>
          <a:p>
            <a:pPr algn="ctr"/>
            <a:r>
              <a:rPr lang="en-US" sz="1100" kern="0" dirty="0">
                <a:solidFill>
                  <a:schemeClr val="tx1">
                    <a:lumMod val="50000"/>
                  </a:schemeClr>
                </a:solidFill>
              </a:rPr>
              <a:t>Portfolio</a:t>
            </a:r>
          </a:p>
          <a:p>
            <a:pPr algn="ctr"/>
            <a:r>
              <a:rPr lang="en-US" sz="1400" b="1" kern="0" dirty="0">
                <a:solidFill>
                  <a:schemeClr val="tx1">
                    <a:lumMod val="50000"/>
                  </a:schemeClr>
                </a:solidFill>
              </a:rPr>
              <a:t>SAP ANS</a:t>
            </a:r>
          </a:p>
          <a:p>
            <a:pPr algn="ctr"/>
            <a:r>
              <a:rPr lang="en-US" sz="1400" b="1" kern="0" dirty="0">
                <a:solidFill>
                  <a:schemeClr val="tx1">
                    <a:lumMod val="50000"/>
                  </a:schemeClr>
                </a:solidFill>
              </a:rPr>
              <a:t>SAP Roll-Outs</a:t>
            </a:r>
          </a:p>
          <a:p>
            <a:pPr algn="ctr"/>
            <a:r>
              <a:rPr lang="en-US" sz="1400" b="1" kern="0" dirty="0">
                <a:solidFill>
                  <a:schemeClr val="tx1">
                    <a:lumMod val="50000"/>
                  </a:schemeClr>
                </a:solidFill>
              </a:rPr>
              <a:t>SAP Consulting</a:t>
            </a:r>
          </a:p>
          <a:p>
            <a:pPr algn="ctr"/>
            <a:r>
              <a:rPr lang="en-US" sz="1400" b="1" kern="0" dirty="0">
                <a:solidFill>
                  <a:schemeClr val="tx1">
                    <a:lumMod val="50000"/>
                  </a:schemeClr>
                </a:solidFill>
              </a:rPr>
              <a:t>SAP Developments</a:t>
            </a:r>
          </a:p>
          <a:p>
            <a:pPr algn="ctr"/>
            <a:endParaRPr lang="en-US" sz="1200" b="1" kern="0" dirty="0">
              <a:solidFill>
                <a:schemeClr val="tx1">
                  <a:lumMod val="50000"/>
                </a:schemeClr>
              </a:solidFill>
            </a:endParaRPr>
          </a:p>
        </p:txBody>
      </p:sp>
      <p:sp>
        <p:nvSpPr>
          <p:cNvPr id="4" name="Datumsplatzhalter 3">
            <a:extLst>
              <a:ext uri="{FF2B5EF4-FFF2-40B4-BE49-F238E27FC236}">
                <a16:creationId xmlns:a16="http://schemas.microsoft.com/office/drawing/2014/main" id="{DA61324D-4150-4831-A2FB-5ADBE7EF6F8D}"/>
              </a:ext>
            </a:extLst>
          </p:cNvPr>
          <p:cNvSpPr>
            <a:spLocks noGrp="1"/>
          </p:cNvSpPr>
          <p:nvPr>
            <p:ph type="dt" sz="half" idx="10"/>
          </p:nvPr>
        </p:nvSpPr>
        <p:spPr/>
        <p:txBody>
          <a:bodyPr/>
          <a:lstStyle/>
          <a:p>
            <a:r>
              <a:rPr lang="en-US">
                <a:solidFill>
                  <a:srgbClr val="6F6F6F"/>
                </a:solidFill>
              </a:rPr>
              <a:t>21/08/2019</a:t>
            </a:r>
            <a:endParaRPr lang="de-DE" dirty="0">
              <a:solidFill>
                <a:srgbClr val="6F6F6F"/>
              </a:solidFill>
            </a:endParaRPr>
          </a:p>
        </p:txBody>
      </p:sp>
      <p:sp>
        <p:nvSpPr>
          <p:cNvPr id="6" name="Foliennummernplatzhalter 5">
            <a:extLst>
              <a:ext uri="{FF2B5EF4-FFF2-40B4-BE49-F238E27FC236}">
                <a16:creationId xmlns:a16="http://schemas.microsoft.com/office/drawing/2014/main" id="{4AC4D58A-4118-9841-BC30-594FC14BAFA7}"/>
              </a:ext>
            </a:extLst>
          </p:cNvPr>
          <p:cNvSpPr>
            <a:spLocks noGrp="1"/>
          </p:cNvSpPr>
          <p:nvPr>
            <p:ph type="sldNum" sz="quarter" idx="11"/>
          </p:nvPr>
        </p:nvSpPr>
        <p:spPr/>
        <p:txBody>
          <a:bodyPr/>
          <a:lstStyle/>
          <a:p>
            <a:fld id="{221F1D72-F2AC-4B6E-A46C-E63D2CF40C7B}" type="slidenum">
              <a:rPr lang="de-DE" smtClean="0">
                <a:solidFill>
                  <a:srgbClr val="6F6F6F"/>
                </a:solidFill>
              </a:rPr>
              <a:pPr/>
              <a:t>4</a:t>
            </a:fld>
            <a:endParaRPr lang="de-DE" dirty="0">
              <a:solidFill>
                <a:srgbClr val="6F6F6F"/>
              </a:solidFill>
            </a:endParaRPr>
          </a:p>
        </p:txBody>
      </p:sp>
      <p:sp>
        <p:nvSpPr>
          <p:cNvPr id="15" name="Fußzeilenplatzhalter 4">
            <a:extLst>
              <a:ext uri="{FF2B5EF4-FFF2-40B4-BE49-F238E27FC236}">
                <a16:creationId xmlns:a16="http://schemas.microsoft.com/office/drawing/2014/main" id="{A0C63EDB-3554-4C9E-AC02-994943C1EAB4}"/>
              </a:ext>
            </a:extLst>
          </p:cNvPr>
          <p:cNvSpPr>
            <a:spLocks noGrp="1"/>
          </p:cNvSpPr>
          <p:nvPr>
            <p:ph type="ftr" sz="quarter" idx="12"/>
          </p:nvPr>
        </p:nvSpPr>
        <p:spPr>
          <a:xfrm>
            <a:off x="1054646" y="6501507"/>
            <a:ext cx="4896000" cy="180000"/>
          </a:xfrm>
        </p:spPr>
        <p:txBody>
          <a:bodyPr/>
          <a:lstStyle/>
          <a:p>
            <a:r>
              <a:rPr lang="en-US">
                <a:solidFill>
                  <a:srgbClr val="6F6F6F"/>
                </a:solidFill>
              </a:rPr>
              <a:t>NZSUG Auckland Event + SAP Forum</a:t>
            </a:r>
            <a:endParaRPr lang="en-US" dirty="0">
              <a:solidFill>
                <a:srgbClr val="6F6F6F"/>
              </a:solidFill>
            </a:endParaRPr>
          </a:p>
        </p:txBody>
      </p:sp>
    </p:spTree>
    <p:extLst>
      <p:ext uri="{BB962C8B-B14F-4D97-AF65-F5344CB8AC3E}">
        <p14:creationId xmlns:p14="http://schemas.microsoft.com/office/powerpoint/2010/main" val="2317948564"/>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07569" y="342171"/>
            <a:ext cx="10704617" cy="936000"/>
          </a:xfrm>
        </p:spPr>
        <p:txBody>
          <a:bodyPr/>
          <a:lstStyle/>
          <a:p>
            <a:r>
              <a:rPr lang="en-US" dirty="0"/>
              <a:t>SNP I </a:t>
            </a:r>
            <a:r>
              <a:rPr lang="en-US" dirty="0">
                <a:solidFill>
                  <a:schemeClr val="tx1">
                    <a:lumMod val="50000"/>
                  </a:schemeClr>
                </a:solidFill>
              </a:rPr>
              <a:t>Global Presence</a:t>
            </a:r>
            <a:endParaRPr lang="en-US" dirty="0">
              <a:solidFill>
                <a:schemeClr val="tx1">
                  <a:lumMod val="50000"/>
                </a:schemeClr>
              </a:solidFill>
              <a:latin typeface="+mn-lt"/>
            </a:endParaRPr>
          </a:p>
        </p:txBody>
      </p:sp>
      <p:grpSp>
        <p:nvGrpSpPr>
          <p:cNvPr id="11" name="Gruppieren 10"/>
          <p:cNvGrpSpPr/>
          <p:nvPr/>
        </p:nvGrpSpPr>
        <p:grpSpPr>
          <a:xfrm>
            <a:off x="4269717" y="1584588"/>
            <a:ext cx="1289974" cy="534329"/>
            <a:chOff x="4948373" y="-1733215"/>
            <a:chExt cx="1289974" cy="534329"/>
          </a:xfrm>
        </p:grpSpPr>
        <p:sp>
          <p:nvSpPr>
            <p:cNvPr id="533" name="Textfeld 532">
              <a:extLst>
                <a:ext uri="{FF2B5EF4-FFF2-40B4-BE49-F238E27FC236}">
                  <a16:creationId xmlns:a16="http://schemas.microsoft.com/office/drawing/2014/main" id="{3CE6457D-48BD-48E8-B0AD-30BE1B53855D}"/>
                </a:ext>
              </a:extLst>
            </p:cNvPr>
            <p:cNvSpPr txBox="1"/>
            <p:nvPr/>
          </p:nvSpPr>
          <p:spPr>
            <a:xfrm>
              <a:off x="4948373" y="-1733215"/>
              <a:ext cx="1289974" cy="278797"/>
            </a:xfrm>
            <a:prstGeom prst="rect">
              <a:avLst/>
            </a:prstGeom>
            <a:solidFill>
              <a:schemeClr val="bg1"/>
            </a:solidFill>
          </p:spPr>
          <p:txBody>
            <a:bodyPr wrap="none" lIns="36000" tIns="36000" rIns="36000" bIns="36000" rtlCol="0" anchor="ctr" anchorCtr="0">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282D">
                      <a:lumMod val="75000"/>
                      <a:lumOff val="25000"/>
                    </a:srgbClr>
                  </a:solidFill>
                  <a:effectLst/>
                  <a:uLnTx/>
                  <a:uFillTx/>
                  <a:ea typeface="+mn-ea"/>
                  <a:cs typeface="+mn-cs"/>
                </a:rPr>
                <a:t>Americas</a:t>
              </a:r>
            </a:p>
          </p:txBody>
        </p:sp>
        <p:sp>
          <p:nvSpPr>
            <p:cNvPr id="560" name="Textfeld 559">
              <a:extLst>
                <a:ext uri="{FF2B5EF4-FFF2-40B4-BE49-F238E27FC236}">
                  <a16:creationId xmlns:a16="http://schemas.microsoft.com/office/drawing/2014/main" id="{9C463F04-CC21-4B9D-8C3D-4567928682D7}"/>
                </a:ext>
              </a:extLst>
            </p:cNvPr>
            <p:cNvSpPr txBox="1"/>
            <p:nvPr/>
          </p:nvSpPr>
          <p:spPr>
            <a:xfrm>
              <a:off x="4948373" y="-1477683"/>
              <a:ext cx="1289974" cy="278797"/>
            </a:xfrm>
            <a:prstGeom prst="rect">
              <a:avLst/>
            </a:prstGeom>
            <a:solidFill>
              <a:schemeClr val="bg1"/>
            </a:solidFill>
          </p:spPr>
          <p:txBody>
            <a:bodyPr wrap="none" lIns="36000" tIns="36000" rIns="36000" bIns="36000" rtlCol="0" anchor="ctr" anchorCtr="0">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r>
                <a:rPr lang="en-US" sz="1800" dirty="0">
                  <a:solidFill>
                    <a:srgbClr val="23282D">
                      <a:lumMod val="75000"/>
                      <a:lumOff val="25000"/>
                    </a:srgbClr>
                  </a:solidFill>
                </a:rPr>
                <a:t>3</a:t>
              </a:r>
              <a:r>
                <a:rPr kumimoji="0" lang="en-US" sz="1800" b="0" i="0" u="none" strike="noStrike" kern="1200" cap="none" spc="0" normalizeH="0" baseline="0" noProof="0" dirty="0">
                  <a:ln>
                    <a:noFill/>
                  </a:ln>
                  <a:solidFill>
                    <a:srgbClr val="23282D">
                      <a:lumMod val="75000"/>
                      <a:lumOff val="25000"/>
                    </a:srgbClr>
                  </a:solidFill>
                  <a:effectLst/>
                  <a:uLnTx/>
                  <a:uFillTx/>
                  <a:ea typeface="+mn-ea"/>
                  <a:cs typeface="+mn-cs"/>
                </a:rPr>
                <a:t>00</a:t>
              </a:r>
            </a:p>
          </p:txBody>
        </p:sp>
      </p:grpSp>
      <p:grpSp>
        <p:nvGrpSpPr>
          <p:cNvPr id="3" name="Gruppieren 2"/>
          <p:cNvGrpSpPr/>
          <p:nvPr/>
        </p:nvGrpSpPr>
        <p:grpSpPr>
          <a:xfrm>
            <a:off x="6740840" y="1584588"/>
            <a:ext cx="847348" cy="534329"/>
            <a:chOff x="7336091" y="-1733215"/>
            <a:chExt cx="847348" cy="534329"/>
          </a:xfrm>
        </p:grpSpPr>
        <p:sp>
          <p:nvSpPr>
            <p:cNvPr id="534" name="Textfeld 533">
              <a:extLst>
                <a:ext uri="{FF2B5EF4-FFF2-40B4-BE49-F238E27FC236}">
                  <a16:creationId xmlns:a16="http://schemas.microsoft.com/office/drawing/2014/main" id="{4C1CB336-95A3-48DD-A49E-3D92CC65A0D1}"/>
                </a:ext>
              </a:extLst>
            </p:cNvPr>
            <p:cNvSpPr txBox="1"/>
            <p:nvPr/>
          </p:nvSpPr>
          <p:spPr>
            <a:xfrm>
              <a:off x="7336091" y="-1733215"/>
              <a:ext cx="847348" cy="278797"/>
            </a:xfrm>
            <a:prstGeom prst="rect">
              <a:avLst/>
            </a:prstGeom>
            <a:solidFill>
              <a:schemeClr val="bg1"/>
            </a:solidFill>
          </p:spPr>
          <p:txBody>
            <a:bodyPr wrap="none" lIns="36000" tIns="36000" rIns="36000" bIns="36000" rtlCol="0" anchor="ctr" anchorCtr="0">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282D">
                      <a:lumMod val="75000"/>
                      <a:lumOff val="25000"/>
                    </a:srgbClr>
                  </a:solidFill>
                  <a:effectLst/>
                  <a:uLnTx/>
                  <a:uFillTx/>
                  <a:ea typeface="+mn-ea"/>
                  <a:cs typeface="+mn-cs"/>
                </a:rPr>
                <a:t>EMEA</a:t>
              </a:r>
            </a:p>
          </p:txBody>
        </p:sp>
        <p:sp>
          <p:nvSpPr>
            <p:cNvPr id="561" name="Textfeld 560">
              <a:extLst>
                <a:ext uri="{FF2B5EF4-FFF2-40B4-BE49-F238E27FC236}">
                  <a16:creationId xmlns:a16="http://schemas.microsoft.com/office/drawing/2014/main" id="{1D78EC95-DB74-4406-AB50-DB086E236701}"/>
                </a:ext>
              </a:extLst>
            </p:cNvPr>
            <p:cNvSpPr txBox="1"/>
            <p:nvPr/>
          </p:nvSpPr>
          <p:spPr>
            <a:xfrm>
              <a:off x="7336091" y="-1477683"/>
              <a:ext cx="847348" cy="278797"/>
            </a:xfrm>
            <a:prstGeom prst="rect">
              <a:avLst/>
            </a:prstGeom>
            <a:solidFill>
              <a:schemeClr val="bg1"/>
            </a:solidFill>
          </p:spPr>
          <p:txBody>
            <a:bodyPr wrap="none" lIns="36000" tIns="36000" rIns="36000" bIns="36000" rtlCol="0" anchor="ctr" anchorCtr="0">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r>
                <a:rPr lang="en-US" sz="1800" dirty="0">
                  <a:solidFill>
                    <a:srgbClr val="23282D">
                      <a:lumMod val="75000"/>
                      <a:lumOff val="25000"/>
                    </a:srgbClr>
                  </a:solidFill>
                </a:rPr>
                <a:t>900</a:t>
              </a:r>
              <a:endParaRPr kumimoji="0" lang="en-US" sz="1800" b="0" i="0" u="none" strike="noStrike" kern="1200" cap="none" spc="0" normalizeH="0" baseline="0" noProof="0" dirty="0">
                <a:ln>
                  <a:noFill/>
                </a:ln>
                <a:solidFill>
                  <a:srgbClr val="23282D">
                    <a:lumMod val="75000"/>
                    <a:lumOff val="25000"/>
                  </a:srgbClr>
                </a:solidFill>
                <a:effectLst/>
                <a:uLnTx/>
                <a:uFillTx/>
                <a:ea typeface="+mn-ea"/>
                <a:cs typeface="+mn-cs"/>
              </a:endParaRPr>
            </a:p>
          </p:txBody>
        </p:sp>
      </p:grpSp>
      <p:grpSp>
        <p:nvGrpSpPr>
          <p:cNvPr id="9" name="Gruppieren 8"/>
          <p:cNvGrpSpPr/>
          <p:nvPr/>
        </p:nvGrpSpPr>
        <p:grpSpPr>
          <a:xfrm>
            <a:off x="8769337" y="1584588"/>
            <a:ext cx="823678" cy="534329"/>
            <a:chOff x="9447993" y="-1733215"/>
            <a:chExt cx="823678" cy="534329"/>
          </a:xfrm>
        </p:grpSpPr>
        <p:sp>
          <p:nvSpPr>
            <p:cNvPr id="535" name="Textfeld 534">
              <a:extLst>
                <a:ext uri="{FF2B5EF4-FFF2-40B4-BE49-F238E27FC236}">
                  <a16:creationId xmlns:a16="http://schemas.microsoft.com/office/drawing/2014/main" id="{CBAF586C-C3E4-4121-9126-BAA552DAC285}"/>
                </a:ext>
              </a:extLst>
            </p:cNvPr>
            <p:cNvSpPr txBox="1"/>
            <p:nvPr/>
          </p:nvSpPr>
          <p:spPr>
            <a:xfrm>
              <a:off x="9447993" y="-1733215"/>
              <a:ext cx="823678" cy="278797"/>
            </a:xfrm>
            <a:prstGeom prst="rect">
              <a:avLst/>
            </a:prstGeom>
            <a:solidFill>
              <a:schemeClr val="bg1"/>
            </a:solidFill>
          </p:spPr>
          <p:txBody>
            <a:bodyPr wrap="none" lIns="36000" tIns="36000" rIns="36000" bIns="36000" rtlCol="0" anchor="ctr" anchorCtr="0">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3282D">
                      <a:lumMod val="75000"/>
                      <a:lumOff val="25000"/>
                    </a:srgbClr>
                  </a:solidFill>
                  <a:effectLst/>
                  <a:uLnTx/>
                  <a:uFillTx/>
                  <a:ea typeface="+mn-ea"/>
                  <a:cs typeface="+mn-cs"/>
                </a:rPr>
                <a:t>APAC</a:t>
              </a:r>
            </a:p>
          </p:txBody>
        </p:sp>
        <p:sp>
          <p:nvSpPr>
            <p:cNvPr id="562" name="Textfeld 561">
              <a:extLst>
                <a:ext uri="{FF2B5EF4-FFF2-40B4-BE49-F238E27FC236}">
                  <a16:creationId xmlns:a16="http://schemas.microsoft.com/office/drawing/2014/main" id="{45BEBF8C-C768-4D4A-B4FB-F456BCC2B927}"/>
                </a:ext>
              </a:extLst>
            </p:cNvPr>
            <p:cNvSpPr txBox="1"/>
            <p:nvPr/>
          </p:nvSpPr>
          <p:spPr>
            <a:xfrm>
              <a:off x="9447993" y="-1477683"/>
              <a:ext cx="823678" cy="278797"/>
            </a:xfrm>
            <a:prstGeom prst="rect">
              <a:avLst/>
            </a:prstGeom>
            <a:solidFill>
              <a:schemeClr val="bg1"/>
            </a:solidFill>
          </p:spPr>
          <p:txBody>
            <a:bodyPr wrap="none" lIns="36000" tIns="36000" rIns="36000" bIns="36000" rtlCol="0" anchor="ctr" anchorCtr="0">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r>
                <a:rPr lang="en-US" sz="1800" dirty="0">
                  <a:solidFill>
                    <a:srgbClr val="23282D">
                      <a:lumMod val="75000"/>
                      <a:lumOff val="25000"/>
                    </a:srgbClr>
                  </a:solidFill>
                </a:rPr>
                <a:t>1</a:t>
              </a:r>
              <a:r>
                <a:rPr kumimoji="0" lang="en-US" sz="1800" b="0" i="0" u="none" strike="noStrike" kern="1200" cap="none" spc="0" normalizeH="0" baseline="0" noProof="0" dirty="0">
                  <a:ln>
                    <a:noFill/>
                  </a:ln>
                  <a:solidFill>
                    <a:srgbClr val="23282D">
                      <a:lumMod val="75000"/>
                      <a:lumOff val="25000"/>
                    </a:srgbClr>
                  </a:solidFill>
                  <a:effectLst/>
                  <a:uLnTx/>
                  <a:uFillTx/>
                  <a:ea typeface="+mn-ea"/>
                  <a:cs typeface="+mn-cs"/>
                </a:rPr>
                <a:t>00</a:t>
              </a:r>
            </a:p>
          </p:txBody>
        </p:sp>
      </p:grpSp>
      <p:grpSp>
        <p:nvGrpSpPr>
          <p:cNvPr id="13" name="Gruppieren 12"/>
          <p:cNvGrpSpPr/>
          <p:nvPr/>
        </p:nvGrpSpPr>
        <p:grpSpPr>
          <a:xfrm>
            <a:off x="4295939" y="6101168"/>
            <a:ext cx="6715042" cy="323695"/>
            <a:chOff x="4732473" y="6101168"/>
            <a:chExt cx="6715042" cy="323695"/>
          </a:xfrm>
        </p:grpSpPr>
        <p:sp>
          <p:nvSpPr>
            <p:cNvPr id="536" name="Ellipse 535">
              <a:extLst>
                <a:ext uri="{FF2B5EF4-FFF2-40B4-BE49-F238E27FC236}">
                  <a16:creationId xmlns:a16="http://schemas.microsoft.com/office/drawing/2014/main" id="{6CA2B51D-10D2-41A9-8280-450E2294147F}"/>
                </a:ext>
              </a:extLst>
            </p:cNvPr>
            <p:cNvSpPr/>
            <p:nvPr/>
          </p:nvSpPr>
          <p:spPr>
            <a:xfrm>
              <a:off x="8150201" y="6170341"/>
              <a:ext cx="180000" cy="180000"/>
            </a:xfrm>
            <a:prstGeom prst="ellipse">
              <a:avLst/>
            </a:prstGeom>
            <a:solidFill>
              <a:srgbClr val="DC7E77"/>
            </a:solidFill>
            <a:ln w="19050"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738087"/>
                </a:solidFill>
                <a:effectLst/>
                <a:uLnTx/>
                <a:uFillTx/>
                <a:ea typeface="+mn-ea"/>
                <a:cs typeface="+mn-cs"/>
              </a:endParaRPr>
            </a:p>
          </p:txBody>
        </p:sp>
        <p:sp>
          <p:nvSpPr>
            <p:cNvPr id="537" name="Textfeld 536">
              <a:extLst>
                <a:ext uri="{FF2B5EF4-FFF2-40B4-BE49-F238E27FC236}">
                  <a16:creationId xmlns:a16="http://schemas.microsoft.com/office/drawing/2014/main" id="{64C8E9E2-D1D7-4F04-A6F3-95B94E4096DB}"/>
                </a:ext>
              </a:extLst>
            </p:cNvPr>
            <p:cNvSpPr txBox="1"/>
            <p:nvPr/>
          </p:nvSpPr>
          <p:spPr>
            <a:xfrm>
              <a:off x="4912473" y="6106517"/>
              <a:ext cx="1368000" cy="318346"/>
            </a:xfrm>
            <a:prstGeom prst="rect">
              <a:avLst/>
            </a:prstGeom>
            <a:noFill/>
          </p:spPr>
          <p:txBody>
            <a:bodyPr wrap="none" lIns="72000" tIns="0" rIns="0" bIns="0" rtlCol="0" anchor="ctr" anchorCtr="0">
              <a:no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5A9A"/>
                  </a:solidFill>
                  <a:effectLst/>
                  <a:uLnTx/>
                  <a:uFillTx/>
                  <a:ea typeface="+mn-ea"/>
                  <a:cs typeface="+mn-cs"/>
                </a:rPr>
                <a:t>Branch office</a:t>
              </a:r>
            </a:p>
          </p:txBody>
        </p:sp>
        <p:sp>
          <p:nvSpPr>
            <p:cNvPr id="538" name="Textfeld 537">
              <a:extLst>
                <a:ext uri="{FF2B5EF4-FFF2-40B4-BE49-F238E27FC236}">
                  <a16:creationId xmlns:a16="http://schemas.microsoft.com/office/drawing/2014/main" id="{3ECB6756-B83E-4741-A357-69C5FDD8AD5C}"/>
                </a:ext>
              </a:extLst>
            </p:cNvPr>
            <p:cNvSpPr txBox="1"/>
            <p:nvPr/>
          </p:nvSpPr>
          <p:spPr>
            <a:xfrm>
              <a:off x="8330201" y="6101168"/>
              <a:ext cx="1368000" cy="318346"/>
            </a:xfrm>
            <a:prstGeom prst="rect">
              <a:avLst/>
            </a:prstGeom>
            <a:noFill/>
          </p:spPr>
          <p:txBody>
            <a:bodyPr wrap="none" lIns="72000" tIns="0" rIns="0" bIns="0" rtlCol="0" anchor="ctr" anchorCtr="0">
              <a:no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14B40"/>
                  </a:solidFill>
                  <a:effectLst/>
                  <a:uLnTx/>
                  <a:uFillTx/>
                  <a:ea typeface="+mn-ea"/>
                  <a:cs typeface="+mn-cs"/>
                </a:rPr>
                <a:t>Training center</a:t>
              </a:r>
            </a:p>
          </p:txBody>
        </p:sp>
        <p:sp>
          <p:nvSpPr>
            <p:cNvPr id="576" name="Ellipse 575">
              <a:extLst>
                <a:ext uri="{FF2B5EF4-FFF2-40B4-BE49-F238E27FC236}">
                  <a16:creationId xmlns:a16="http://schemas.microsoft.com/office/drawing/2014/main" id="{AB1BF6B3-4B6D-4726-8C90-E0C78537A267}"/>
                </a:ext>
              </a:extLst>
            </p:cNvPr>
            <p:cNvSpPr/>
            <p:nvPr/>
          </p:nvSpPr>
          <p:spPr>
            <a:xfrm>
              <a:off x="6441337" y="6175690"/>
              <a:ext cx="180000" cy="180000"/>
            </a:xfrm>
            <a:prstGeom prst="ellipse">
              <a:avLst/>
            </a:prstGeom>
            <a:solidFill>
              <a:srgbClr val="EAAC4D"/>
            </a:solidFill>
            <a:ln w="19050"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738087"/>
                </a:solidFill>
                <a:effectLst/>
                <a:uLnTx/>
                <a:uFillTx/>
                <a:ea typeface="+mn-ea"/>
                <a:cs typeface="+mn-cs"/>
              </a:endParaRPr>
            </a:p>
          </p:txBody>
        </p:sp>
        <p:sp>
          <p:nvSpPr>
            <p:cNvPr id="577" name="Textfeld 576">
              <a:extLst>
                <a:ext uri="{FF2B5EF4-FFF2-40B4-BE49-F238E27FC236}">
                  <a16:creationId xmlns:a16="http://schemas.microsoft.com/office/drawing/2014/main" id="{94ACF98D-24E2-4CD4-B07B-6682091466C0}"/>
                </a:ext>
              </a:extLst>
            </p:cNvPr>
            <p:cNvSpPr txBox="1"/>
            <p:nvPr/>
          </p:nvSpPr>
          <p:spPr>
            <a:xfrm>
              <a:off x="6621337" y="6106517"/>
              <a:ext cx="1368000" cy="318346"/>
            </a:xfrm>
            <a:prstGeom prst="rect">
              <a:avLst/>
            </a:prstGeom>
            <a:noFill/>
          </p:spPr>
          <p:txBody>
            <a:bodyPr wrap="none" lIns="72000" tIns="0" rIns="0" bIns="0" rtlCol="0" anchor="ctr" anchorCtr="0">
              <a:no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B532"/>
                  </a:solidFill>
                  <a:effectLst/>
                  <a:uLnTx/>
                  <a:uFillTx/>
                  <a:ea typeface="+mn-ea"/>
                  <a:cs typeface="+mn-cs"/>
                </a:rPr>
                <a:t>Delivery center</a:t>
              </a:r>
            </a:p>
          </p:txBody>
        </p:sp>
        <p:sp>
          <p:nvSpPr>
            <p:cNvPr id="578" name="Ellipse 577">
              <a:extLst>
                <a:ext uri="{FF2B5EF4-FFF2-40B4-BE49-F238E27FC236}">
                  <a16:creationId xmlns:a16="http://schemas.microsoft.com/office/drawing/2014/main" id="{81EB15D9-2802-4DE0-8C9C-A0BCC6A9CCF5}"/>
                </a:ext>
              </a:extLst>
            </p:cNvPr>
            <p:cNvSpPr/>
            <p:nvPr/>
          </p:nvSpPr>
          <p:spPr>
            <a:xfrm>
              <a:off x="4732473" y="6175690"/>
              <a:ext cx="180000" cy="180000"/>
            </a:xfrm>
            <a:prstGeom prst="ellipse">
              <a:avLst/>
            </a:prstGeom>
            <a:solidFill>
              <a:srgbClr val="4685B1"/>
            </a:solidFill>
            <a:ln w="19050"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738087"/>
                </a:solidFill>
                <a:effectLst/>
                <a:uLnTx/>
                <a:uFillTx/>
                <a:ea typeface="+mn-ea"/>
                <a:cs typeface="+mn-cs"/>
              </a:endParaRPr>
            </a:p>
          </p:txBody>
        </p:sp>
        <p:sp>
          <p:nvSpPr>
            <p:cNvPr id="579" name="Fünfeck 35">
              <a:extLst>
                <a:ext uri="{FF2B5EF4-FFF2-40B4-BE49-F238E27FC236}">
                  <a16:creationId xmlns:a16="http://schemas.microsoft.com/office/drawing/2014/main" id="{7352E3DD-41BA-4017-84B6-67D3709FE9EB}"/>
                </a:ext>
              </a:extLst>
            </p:cNvPr>
            <p:cNvSpPr/>
            <p:nvPr/>
          </p:nvSpPr>
          <p:spPr>
            <a:xfrm>
              <a:off x="9895043" y="6175690"/>
              <a:ext cx="180000" cy="180000"/>
            </a:xfrm>
            <a:prstGeom prst="ellipse">
              <a:avLst/>
            </a:prstGeom>
            <a:solidFill>
              <a:srgbClr val="BDC783"/>
            </a:solidFill>
            <a:ln w="19050"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US" sz="400" b="1" i="0" u="none" strike="noStrike" kern="1200" cap="none" spc="0" normalizeH="0" baseline="0" noProof="0" dirty="0">
                <a:ln>
                  <a:noFill/>
                </a:ln>
                <a:solidFill>
                  <a:srgbClr val="738087"/>
                </a:solidFill>
                <a:effectLst/>
                <a:uLnTx/>
                <a:uFillTx/>
                <a:ea typeface="+mn-ea"/>
                <a:cs typeface="+mn-cs"/>
              </a:endParaRPr>
            </a:p>
          </p:txBody>
        </p:sp>
        <p:sp>
          <p:nvSpPr>
            <p:cNvPr id="580" name="Textfeld 579">
              <a:extLst>
                <a:ext uri="{FF2B5EF4-FFF2-40B4-BE49-F238E27FC236}">
                  <a16:creationId xmlns:a16="http://schemas.microsoft.com/office/drawing/2014/main" id="{31AA3F7A-198F-47B8-8ACE-6B8EAAC40A28}"/>
                </a:ext>
              </a:extLst>
            </p:cNvPr>
            <p:cNvSpPr txBox="1"/>
            <p:nvPr/>
          </p:nvSpPr>
          <p:spPr>
            <a:xfrm>
              <a:off x="10079515" y="6106517"/>
              <a:ext cx="1368000" cy="318346"/>
            </a:xfrm>
            <a:prstGeom prst="rect">
              <a:avLst/>
            </a:prstGeom>
            <a:noFill/>
          </p:spPr>
          <p:txBody>
            <a:bodyPr wrap="none" lIns="72000" tIns="0" rIns="0" bIns="0" rtlCol="0" anchor="ctr" anchorCtr="0">
              <a:no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1AF4E"/>
                  </a:solidFill>
                  <a:effectLst/>
                  <a:uLnTx/>
                  <a:uFillTx/>
                  <a:ea typeface="+mn-ea"/>
                  <a:cs typeface="+mn-cs"/>
                </a:rPr>
                <a:t>R&amp;D</a:t>
              </a:r>
            </a:p>
          </p:txBody>
        </p:sp>
      </p:grpSp>
      <p:sp>
        <p:nvSpPr>
          <p:cNvPr id="581" name="Freihandform 18">
            <a:extLst>
              <a:ext uri="{FF2B5EF4-FFF2-40B4-BE49-F238E27FC236}">
                <a16:creationId xmlns:a16="http://schemas.microsoft.com/office/drawing/2014/main" id="{71B8AADA-E79B-4956-B12F-84952815EA99}"/>
              </a:ext>
            </a:extLst>
          </p:cNvPr>
          <p:cNvSpPr/>
          <p:nvPr/>
        </p:nvSpPr>
        <p:spPr>
          <a:xfrm>
            <a:off x="548640" y="2146852"/>
            <a:ext cx="2194560" cy="1812898"/>
          </a:xfrm>
          <a:custGeom>
            <a:avLst/>
            <a:gdLst>
              <a:gd name="connsiteX0" fmla="*/ 0 w 2194560"/>
              <a:gd name="connsiteY0" fmla="*/ 1812898 h 1812898"/>
              <a:gd name="connsiteX1" fmla="*/ 0 w 2194560"/>
              <a:gd name="connsiteY1" fmla="*/ 890546 h 1812898"/>
              <a:gd name="connsiteX2" fmla="*/ 477078 w 2194560"/>
              <a:gd name="connsiteY2" fmla="*/ 413468 h 1812898"/>
              <a:gd name="connsiteX3" fmla="*/ 1041621 w 2194560"/>
              <a:gd name="connsiteY3" fmla="*/ 413468 h 1812898"/>
              <a:gd name="connsiteX4" fmla="*/ 1455089 w 2194560"/>
              <a:gd name="connsiteY4" fmla="*/ 0 h 1812898"/>
              <a:gd name="connsiteX5" fmla="*/ 2194560 w 2194560"/>
              <a:gd name="connsiteY5" fmla="*/ 0 h 181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560" h="1812898">
                <a:moveTo>
                  <a:pt x="0" y="1812898"/>
                </a:moveTo>
                <a:lnTo>
                  <a:pt x="0" y="890546"/>
                </a:lnTo>
                <a:lnTo>
                  <a:pt x="477078" y="413468"/>
                </a:lnTo>
                <a:lnTo>
                  <a:pt x="1041621" y="413468"/>
                </a:lnTo>
                <a:lnTo>
                  <a:pt x="1455089" y="0"/>
                </a:lnTo>
                <a:lnTo>
                  <a:pt x="2194560" y="0"/>
                </a:lnTo>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ea typeface="+mn-ea"/>
              <a:cs typeface="+mn-cs"/>
            </a:endParaRPr>
          </a:p>
        </p:txBody>
      </p:sp>
      <p:grpSp>
        <p:nvGrpSpPr>
          <p:cNvPr id="14" name="Gruppieren 13"/>
          <p:cNvGrpSpPr/>
          <p:nvPr/>
        </p:nvGrpSpPr>
        <p:grpSpPr>
          <a:xfrm>
            <a:off x="3912908" y="2058799"/>
            <a:ext cx="6554488" cy="3863210"/>
            <a:chOff x="3912908" y="2188090"/>
            <a:chExt cx="6554488" cy="3863210"/>
          </a:xfrm>
        </p:grpSpPr>
        <p:sp>
          <p:nvSpPr>
            <p:cNvPr id="591" name="Freeform 5">
              <a:extLst>
                <a:ext uri="{FF2B5EF4-FFF2-40B4-BE49-F238E27FC236}">
                  <a16:creationId xmlns:a16="http://schemas.microsoft.com/office/drawing/2014/main" id="{84E1B342-2EA6-47C6-9719-C4E5A7882D45}"/>
                </a:ext>
              </a:extLst>
            </p:cNvPr>
            <p:cNvSpPr>
              <a:spLocks noEditPoints="1"/>
            </p:cNvSpPr>
            <p:nvPr/>
          </p:nvSpPr>
          <p:spPr bwMode="auto">
            <a:xfrm>
              <a:off x="3912908" y="2188090"/>
              <a:ext cx="6554488" cy="3863210"/>
            </a:xfrm>
            <a:custGeom>
              <a:avLst/>
              <a:gdLst>
                <a:gd name="T0" fmla="*/ 4386 w 12456"/>
                <a:gd name="T1" fmla="*/ 857 h 7312"/>
                <a:gd name="T2" fmla="*/ 4434 w 12456"/>
                <a:gd name="T3" fmla="*/ 1469 h 7312"/>
                <a:gd name="T4" fmla="*/ 4548 w 12456"/>
                <a:gd name="T5" fmla="*/ 2330 h 7312"/>
                <a:gd name="T6" fmla="*/ 4726 w 12456"/>
                <a:gd name="T7" fmla="*/ 5658 h 7312"/>
                <a:gd name="T8" fmla="*/ 4889 w 12456"/>
                <a:gd name="T9" fmla="*/ 1197 h 7312"/>
                <a:gd name="T10" fmla="*/ 5181 w 12456"/>
                <a:gd name="T11" fmla="*/ 1420 h 7312"/>
                <a:gd name="T12" fmla="*/ 5458 w 12456"/>
                <a:gd name="T13" fmla="*/ 792 h 7312"/>
                <a:gd name="T14" fmla="*/ 682 w 12456"/>
                <a:gd name="T15" fmla="*/ 2218 h 7312"/>
                <a:gd name="T16" fmla="*/ 1202 w 12456"/>
                <a:gd name="T17" fmla="*/ 2268 h 7312"/>
                <a:gd name="T18" fmla="*/ 1704 w 12456"/>
                <a:gd name="T19" fmla="*/ 2785 h 7312"/>
                <a:gd name="T20" fmla="*/ 2111 w 12456"/>
                <a:gd name="T21" fmla="*/ 3237 h 7312"/>
                <a:gd name="T22" fmla="*/ 2272 w 12456"/>
                <a:gd name="T23" fmla="*/ 2381 h 7312"/>
                <a:gd name="T24" fmla="*/ 2386 w 12456"/>
                <a:gd name="T25" fmla="*/ 4142 h 7312"/>
                <a:gd name="T26" fmla="*/ 2677 w 12456"/>
                <a:gd name="T27" fmla="*/ 2606 h 7312"/>
                <a:gd name="T28" fmla="*/ 2727 w 12456"/>
                <a:gd name="T29" fmla="*/ 3915 h 7312"/>
                <a:gd name="T30" fmla="*/ 3019 w 12456"/>
                <a:gd name="T31" fmla="*/ 1084 h 7312"/>
                <a:gd name="T32" fmla="*/ 3070 w 12456"/>
                <a:gd name="T33" fmla="*/ 1701 h 7312"/>
                <a:gd name="T34" fmla="*/ 3184 w 12456"/>
                <a:gd name="T35" fmla="*/ 3576 h 7312"/>
                <a:gd name="T36" fmla="*/ 3477 w 12456"/>
                <a:gd name="T37" fmla="*/ 115 h 7312"/>
                <a:gd name="T38" fmla="*/ 3524 w 12456"/>
                <a:gd name="T39" fmla="*/ 969 h 7312"/>
                <a:gd name="T40" fmla="*/ 3703 w 12456"/>
                <a:gd name="T41" fmla="*/ 2785 h 7312"/>
                <a:gd name="T42" fmla="*/ 3753 w 12456"/>
                <a:gd name="T43" fmla="*/ 2720 h 7312"/>
                <a:gd name="T44" fmla="*/ 3867 w 12456"/>
                <a:gd name="T45" fmla="*/ 2105 h 7312"/>
                <a:gd name="T46" fmla="*/ 4043 w 12456"/>
                <a:gd name="T47" fmla="*/ 339 h 7312"/>
                <a:gd name="T48" fmla="*/ 3979 w 12456"/>
                <a:gd name="T49" fmla="*/ 6855 h 7312"/>
                <a:gd name="T50" fmla="*/ 5522 w 12456"/>
                <a:gd name="T51" fmla="*/ 2330 h 7312"/>
                <a:gd name="T52" fmla="*/ 5912 w 12456"/>
                <a:gd name="T53" fmla="*/ 4528 h 7312"/>
                <a:gd name="T54" fmla="*/ 6252 w 12456"/>
                <a:gd name="T55" fmla="*/ 3349 h 7312"/>
                <a:gd name="T56" fmla="*/ 6544 w 12456"/>
                <a:gd name="T57" fmla="*/ 2832 h 7312"/>
                <a:gd name="T58" fmla="*/ 6594 w 12456"/>
                <a:gd name="T59" fmla="*/ 3575 h 7312"/>
                <a:gd name="T60" fmla="*/ 6771 w 12456"/>
                <a:gd name="T61" fmla="*/ 3462 h 7312"/>
                <a:gd name="T62" fmla="*/ 6822 w 12456"/>
                <a:gd name="T63" fmla="*/ 3057 h 7312"/>
                <a:gd name="T64" fmla="*/ 6935 w 12456"/>
                <a:gd name="T65" fmla="*/ 2783 h 7312"/>
                <a:gd name="T66" fmla="*/ 7114 w 12456"/>
                <a:gd name="T67" fmla="*/ 2605 h 7312"/>
                <a:gd name="T68" fmla="*/ 7161 w 12456"/>
                <a:gd name="T69" fmla="*/ 2897 h 7312"/>
                <a:gd name="T70" fmla="*/ 7340 w 12456"/>
                <a:gd name="T71" fmla="*/ 3349 h 7312"/>
                <a:gd name="T72" fmla="*/ 7390 w 12456"/>
                <a:gd name="T73" fmla="*/ 3851 h 7312"/>
                <a:gd name="T74" fmla="*/ 7504 w 12456"/>
                <a:gd name="T75" fmla="*/ 4931 h 7312"/>
                <a:gd name="T76" fmla="*/ 7794 w 12456"/>
                <a:gd name="T77" fmla="*/ 2042 h 7312"/>
                <a:gd name="T78" fmla="*/ 7844 w 12456"/>
                <a:gd name="T79" fmla="*/ 3121 h 7312"/>
                <a:gd name="T80" fmla="*/ 8022 w 12456"/>
                <a:gd name="T81" fmla="*/ 4367 h 7312"/>
                <a:gd name="T82" fmla="*/ 8184 w 12456"/>
                <a:gd name="T83" fmla="*/ 2946 h 7312"/>
                <a:gd name="T84" fmla="*/ 9208 w 12456"/>
                <a:gd name="T85" fmla="*/ 4367 h 7312"/>
                <a:gd name="T86" fmla="*/ 8477 w 12456"/>
                <a:gd name="T87" fmla="*/ 3058 h 7312"/>
                <a:gd name="T88" fmla="*/ 8639 w 12456"/>
                <a:gd name="T89" fmla="*/ 2218 h 7312"/>
                <a:gd name="T90" fmla="*/ 8932 w 12456"/>
                <a:gd name="T91" fmla="*/ 1994 h 7312"/>
                <a:gd name="T92" fmla="*/ 8980 w 12456"/>
                <a:gd name="T93" fmla="*/ 3512 h 7312"/>
                <a:gd name="T94" fmla="*/ 9208 w 12456"/>
                <a:gd name="T95" fmla="*/ 1994 h 7312"/>
                <a:gd name="T96" fmla="*/ 9387 w 12456"/>
                <a:gd name="T97" fmla="*/ 3172 h 7312"/>
                <a:gd name="T98" fmla="*/ 9434 w 12456"/>
                <a:gd name="T99" fmla="*/ 4028 h 7312"/>
                <a:gd name="T100" fmla="*/ 9613 w 12456"/>
                <a:gd name="T101" fmla="*/ 4480 h 7312"/>
                <a:gd name="T102" fmla="*/ 9662 w 12456"/>
                <a:gd name="T103" fmla="*/ 5205 h 7312"/>
                <a:gd name="T104" fmla="*/ 9888 w 12456"/>
                <a:gd name="T105" fmla="*/ 1994 h 7312"/>
                <a:gd name="T106" fmla="*/ 10067 w 12456"/>
                <a:gd name="T107" fmla="*/ 2945 h 7312"/>
                <a:gd name="T108" fmla="*/ 10116 w 12456"/>
                <a:gd name="T109" fmla="*/ 3803 h 7312"/>
                <a:gd name="T110" fmla="*/ 10295 w 12456"/>
                <a:gd name="T111" fmla="*/ 4932 h 7312"/>
                <a:gd name="T112" fmla="*/ 10346 w 12456"/>
                <a:gd name="T113" fmla="*/ 5770 h 7312"/>
                <a:gd name="T114" fmla="*/ 10574 w 12456"/>
                <a:gd name="T115" fmla="*/ 2445 h 7312"/>
                <a:gd name="T116" fmla="*/ 10753 w 12456"/>
                <a:gd name="T117" fmla="*/ 5095 h 7312"/>
                <a:gd name="T118" fmla="*/ 10800 w 12456"/>
                <a:gd name="T119" fmla="*/ 6287 h 7312"/>
                <a:gd name="T120" fmla="*/ 11092 w 12456"/>
                <a:gd name="T121" fmla="*/ 2670 h 7312"/>
                <a:gd name="T122" fmla="*/ 11368 w 12456"/>
                <a:gd name="T123" fmla="*/ 1020 h 7312"/>
                <a:gd name="T124" fmla="*/ 11823 w 12456"/>
                <a:gd name="T125" fmla="*/ 1994 h 7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56" h="7312">
                  <a:moveTo>
                    <a:pt x="8415" y="4480"/>
                  </a:moveTo>
                  <a:lnTo>
                    <a:pt x="8479" y="4480"/>
                  </a:lnTo>
                  <a:lnTo>
                    <a:pt x="8479" y="4416"/>
                  </a:lnTo>
                  <a:lnTo>
                    <a:pt x="8415" y="4416"/>
                  </a:lnTo>
                  <a:lnTo>
                    <a:pt x="8415" y="4480"/>
                  </a:lnTo>
                  <a:close/>
                  <a:moveTo>
                    <a:pt x="4208" y="65"/>
                  </a:moveTo>
                  <a:lnTo>
                    <a:pt x="4272" y="65"/>
                  </a:lnTo>
                  <a:lnTo>
                    <a:pt x="4272" y="0"/>
                  </a:lnTo>
                  <a:lnTo>
                    <a:pt x="4208" y="0"/>
                  </a:lnTo>
                  <a:lnTo>
                    <a:pt x="4208" y="65"/>
                  </a:lnTo>
                  <a:close/>
                  <a:moveTo>
                    <a:pt x="4208" y="178"/>
                  </a:moveTo>
                  <a:lnTo>
                    <a:pt x="4272" y="178"/>
                  </a:lnTo>
                  <a:lnTo>
                    <a:pt x="4272" y="113"/>
                  </a:lnTo>
                  <a:lnTo>
                    <a:pt x="4208" y="113"/>
                  </a:lnTo>
                  <a:lnTo>
                    <a:pt x="4208" y="178"/>
                  </a:lnTo>
                  <a:close/>
                  <a:moveTo>
                    <a:pt x="4208" y="292"/>
                  </a:moveTo>
                  <a:lnTo>
                    <a:pt x="4272" y="292"/>
                  </a:lnTo>
                  <a:lnTo>
                    <a:pt x="4272" y="228"/>
                  </a:lnTo>
                  <a:lnTo>
                    <a:pt x="4208" y="228"/>
                  </a:lnTo>
                  <a:lnTo>
                    <a:pt x="4208" y="292"/>
                  </a:lnTo>
                  <a:close/>
                  <a:moveTo>
                    <a:pt x="4208" y="405"/>
                  </a:moveTo>
                  <a:lnTo>
                    <a:pt x="4272" y="405"/>
                  </a:lnTo>
                  <a:lnTo>
                    <a:pt x="4272" y="341"/>
                  </a:lnTo>
                  <a:lnTo>
                    <a:pt x="4208" y="341"/>
                  </a:lnTo>
                  <a:lnTo>
                    <a:pt x="4208" y="405"/>
                  </a:lnTo>
                  <a:close/>
                  <a:moveTo>
                    <a:pt x="4208" y="516"/>
                  </a:moveTo>
                  <a:lnTo>
                    <a:pt x="4272" y="516"/>
                  </a:lnTo>
                  <a:lnTo>
                    <a:pt x="4272" y="452"/>
                  </a:lnTo>
                  <a:lnTo>
                    <a:pt x="4208" y="452"/>
                  </a:lnTo>
                  <a:lnTo>
                    <a:pt x="4208" y="516"/>
                  </a:lnTo>
                  <a:close/>
                  <a:moveTo>
                    <a:pt x="4208" y="630"/>
                  </a:moveTo>
                  <a:lnTo>
                    <a:pt x="4272" y="630"/>
                  </a:lnTo>
                  <a:lnTo>
                    <a:pt x="4272" y="565"/>
                  </a:lnTo>
                  <a:lnTo>
                    <a:pt x="4208" y="565"/>
                  </a:lnTo>
                  <a:lnTo>
                    <a:pt x="4208" y="630"/>
                  </a:lnTo>
                  <a:close/>
                  <a:moveTo>
                    <a:pt x="4208" y="744"/>
                  </a:moveTo>
                  <a:lnTo>
                    <a:pt x="4272" y="744"/>
                  </a:lnTo>
                  <a:lnTo>
                    <a:pt x="4272" y="679"/>
                  </a:lnTo>
                  <a:lnTo>
                    <a:pt x="4208" y="679"/>
                  </a:lnTo>
                  <a:lnTo>
                    <a:pt x="4208" y="744"/>
                  </a:lnTo>
                  <a:close/>
                  <a:moveTo>
                    <a:pt x="4208" y="857"/>
                  </a:moveTo>
                  <a:lnTo>
                    <a:pt x="4272" y="857"/>
                  </a:lnTo>
                  <a:lnTo>
                    <a:pt x="4272" y="792"/>
                  </a:lnTo>
                  <a:lnTo>
                    <a:pt x="4208" y="792"/>
                  </a:lnTo>
                  <a:lnTo>
                    <a:pt x="4208" y="857"/>
                  </a:lnTo>
                  <a:close/>
                  <a:moveTo>
                    <a:pt x="4208" y="969"/>
                  </a:moveTo>
                  <a:lnTo>
                    <a:pt x="4272" y="969"/>
                  </a:lnTo>
                  <a:lnTo>
                    <a:pt x="4272" y="904"/>
                  </a:lnTo>
                  <a:lnTo>
                    <a:pt x="4208" y="904"/>
                  </a:lnTo>
                  <a:lnTo>
                    <a:pt x="4208" y="969"/>
                  </a:lnTo>
                  <a:close/>
                  <a:moveTo>
                    <a:pt x="4208" y="1082"/>
                  </a:moveTo>
                  <a:lnTo>
                    <a:pt x="4272" y="1082"/>
                  </a:lnTo>
                  <a:lnTo>
                    <a:pt x="4272" y="1018"/>
                  </a:lnTo>
                  <a:lnTo>
                    <a:pt x="4208" y="1018"/>
                  </a:lnTo>
                  <a:lnTo>
                    <a:pt x="4208" y="1082"/>
                  </a:lnTo>
                  <a:close/>
                  <a:moveTo>
                    <a:pt x="4208" y="1197"/>
                  </a:moveTo>
                  <a:lnTo>
                    <a:pt x="4272" y="1197"/>
                  </a:lnTo>
                  <a:lnTo>
                    <a:pt x="4272" y="1132"/>
                  </a:lnTo>
                  <a:lnTo>
                    <a:pt x="4208" y="1132"/>
                  </a:lnTo>
                  <a:lnTo>
                    <a:pt x="4208" y="1197"/>
                  </a:lnTo>
                  <a:close/>
                  <a:moveTo>
                    <a:pt x="4208" y="1309"/>
                  </a:moveTo>
                  <a:lnTo>
                    <a:pt x="4272" y="1309"/>
                  </a:lnTo>
                  <a:lnTo>
                    <a:pt x="4272" y="1245"/>
                  </a:lnTo>
                  <a:lnTo>
                    <a:pt x="4208" y="1245"/>
                  </a:lnTo>
                  <a:lnTo>
                    <a:pt x="4208" y="1309"/>
                  </a:lnTo>
                  <a:close/>
                  <a:moveTo>
                    <a:pt x="4208" y="3010"/>
                  </a:moveTo>
                  <a:lnTo>
                    <a:pt x="4272" y="3010"/>
                  </a:lnTo>
                  <a:lnTo>
                    <a:pt x="4272" y="2946"/>
                  </a:lnTo>
                  <a:lnTo>
                    <a:pt x="4208" y="2946"/>
                  </a:lnTo>
                  <a:lnTo>
                    <a:pt x="4208" y="3010"/>
                  </a:lnTo>
                  <a:close/>
                  <a:moveTo>
                    <a:pt x="4208" y="3121"/>
                  </a:moveTo>
                  <a:lnTo>
                    <a:pt x="4272" y="3121"/>
                  </a:lnTo>
                  <a:lnTo>
                    <a:pt x="4272" y="3057"/>
                  </a:lnTo>
                  <a:lnTo>
                    <a:pt x="4208" y="3057"/>
                  </a:lnTo>
                  <a:lnTo>
                    <a:pt x="4208" y="3121"/>
                  </a:lnTo>
                  <a:close/>
                  <a:moveTo>
                    <a:pt x="4208" y="3234"/>
                  </a:moveTo>
                  <a:lnTo>
                    <a:pt x="4272" y="3234"/>
                  </a:lnTo>
                  <a:lnTo>
                    <a:pt x="4272" y="3170"/>
                  </a:lnTo>
                  <a:lnTo>
                    <a:pt x="4208" y="3170"/>
                  </a:lnTo>
                  <a:lnTo>
                    <a:pt x="4208" y="3234"/>
                  </a:lnTo>
                  <a:close/>
                  <a:moveTo>
                    <a:pt x="4208" y="3349"/>
                  </a:moveTo>
                  <a:lnTo>
                    <a:pt x="4272" y="3349"/>
                  </a:lnTo>
                  <a:lnTo>
                    <a:pt x="4272" y="3284"/>
                  </a:lnTo>
                  <a:lnTo>
                    <a:pt x="4208" y="3284"/>
                  </a:lnTo>
                  <a:lnTo>
                    <a:pt x="4208" y="3349"/>
                  </a:lnTo>
                  <a:close/>
                  <a:moveTo>
                    <a:pt x="4208" y="3462"/>
                  </a:moveTo>
                  <a:lnTo>
                    <a:pt x="4272" y="3462"/>
                  </a:lnTo>
                  <a:lnTo>
                    <a:pt x="4272" y="3397"/>
                  </a:lnTo>
                  <a:lnTo>
                    <a:pt x="4208" y="3397"/>
                  </a:lnTo>
                  <a:lnTo>
                    <a:pt x="4208" y="3462"/>
                  </a:lnTo>
                  <a:close/>
                  <a:moveTo>
                    <a:pt x="4208" y="4931"/>
                  </a:moveTo>
                  <a:lnTo>
                    <a:pt x="4272" y="4931"/>
                  </a:lnTo>
                  <a:lnTo>
                    <a:pt x="4272" y="4866"/>
                  </a:lnTo>
                  <a:lnTo>
                    <a:pt x="4208" y="4866"/>
                  </a:lnTo>
                  <a:lnTo>
                    <a:pt x="4208" y="4931"/>
                  </a:lnTo>
                  <a:close/>
                  <a:moveTo>
                    <a:pt x="4208" y="5044"/>
                  </a:moveTo>
                  <a:lnTo>
                    <a:pt x="4272" y="5044"/>
                  </a:lnTo>
                  <a:lnTo>
                    <a:pt x="4272" y="4980"/>
                  </a:lnTo>
                  <a:lnTo>
                    <a:pt x="4208" y="4980"/>
                  </a:lnTo>
                  <a:lnTo>
                    <a:pt x="4208" y="5044"/>
                  </a:lnTo>
                  <a:close/>
                  <a:moveTo>
                    <a:pt x="4208" y="5158"/>
                  </a:moveTo>
                  <a:lnTo>
                    <a:pt x="4272" y="5158"/>
                  </a:lnTo>
                  <a:lnTo>
                    <a:pt x="4272" y="5094"/>
                  </a:lnTo>
                  <a:lnTo>
                    <a:pt x="4208" y="5094"/>
                  </a:lnTo>
                  <a:lnTo>
                    <a:pt x="4208" y="5158"/>
                  </a:lnTo>
                  <a:close/>
                  <a:moveTo>
                    <a:pt x="4208" y="5271"/>
                  </a:moveTo>
                  <a:lnTo>
                    <a:pt x="4272" y="5271"/>
                  </a:lnTo>
                  <a:lnTo>
                    <a:pt x="4272" y="5207"/>
                  </a:lnTo>
                  <a:lnTo>
                    <a:pt x="4208" y="5207"/>
                  </a:lnTo>
                  <a:lnTo>
                    <a:pt x="4208" y="5271"/>
                  </a:lnTo>
                  <a:close/>
                  <a:moveTo>
                    <a:pt x="4208" y="5382"/>
                  </a:moveTo>
                  <a:lnTo>
                    <a:pt x="4272" y="5382"/>
                  </a:lnTo>
                  <a:lnTo>
                    <a:pt x="4272" y="5318"/>
                  </a:lnTo>
                  <a:lnTo>
                    <a:pt x="4208" y="5318"/>
                  </a:lnTo>
                  <a:lnTo>
                    <a:pt x="4208" y="5382"/>
                  </a:lnTo>
                  <a:close/>
                  <a:moveTo>
                    <a:pt x="4208" y="5495"/>
                  </a:moveTo>
                  <a:lnTo>
                    <a:pt x="4272" y="5495"/>
                  </a:lnTo>
                  <a:lnTo>
                    <a:pt x="4272" y="5431"/>
                  </a:lnTo>
                  <a:lnTo>
                    <a:pt x="4208" y="5431"/>
                  </a:lnTo>
                  <a:lnTo>
                    <a:pt x="4208" y="5495"/>
                  </a:lnTo>
                  <a:close/>
                  <a:moveTo>
                    <a:pt x="4208" y="5609"/>
                  </a:moveTo>
                  <a:lnTo>
                    <a:pt x="4272" y="5609"/>
                  </a:lnTo>
                  <a:lnTo>
                    <a:pt x="4272" y="5545"/>
                  </a:lnTo>
                  <a:lnTo>
                    <a:pt x="4208" y="5545"/>
                  </a:lnTo>
                  <a:lnTo>
                    <a:pt x="4208" y="5609"/>
                  </a:lnTo>
                  <a:close/>
                  <a:moveTo>
                    <a:pt x="4208" y="5723"/>
                  </a:moveTo>
                  <a:lnTo>
                    <a:pt x="4272" y="5723"/>
                  </a:lnTo>
                  <a:lnTo>
                    <a:pt x="4272" y="5658"/>
                  </a:lnTo>
                  <a:lnTo>
                    <a:pt x="4208" y="5658"/>
                  </a:lnTo>
                  <a:lnTo>
                    <a:pt x="4208" y="5723"/>
                  </a:lnTo>
                  <a:close/>
                  <a:moveTo>
                    <a:pt x="4208" y="5833"/>
                  </a:moveTo>
                  <a:lnTo>
                    <a:pt x="4272" y="5833"/>
                  </a:lnTo>
                  <a:lnTo>
                    <a:pt x="4272" y="5769"/>
                  </a:lnTo>
                  <a:lnTo>
                    <a:pt x="4208" y="5769"/>
                  </a:lnTo>
                  <a:lnTo>
                    <a:pt x="4208" y="5833"/>
                  </a:lnTo>
                  <a:close/>
                  <a:moveTo>
                    <a:pt x="4208" y="5947"/>
                  </a:moveTo>
                  <a:lnTo>
                    <a:pt x="4272" y="5947"/>
                  </a:lnTo>
                  <a:lnTo>
                    <a:pt x="4272" y="5883"/>
                  </a:lnTo>
                  <a:lnTo>
                    <a:pt x="4208" y="5883"/>
                  </a:lnTo>
                  <a:lnTo>
                    <a:pt x="4208" y="5947"/>
                  </a:lnTo>
                  <a:close/>
                  <a:moveTo>
                    <a:pt x="4208" y="6061"/>
                  </a:moveTo>
                  <a:lnTo>
                    <a:pt x="4272" y="6061"/>
                  </a:lnTo>
                  <a:lnTo>
                    <a:pt x="4272" y="5997"/>
                  </a:lnTo>
                  <a:lnTo>
                    <a:pt x="4208" y="5997"/>
                  </a:lnTo>
                  <a:lnTo>
                    <a:pt x="4208" y="6061"/>
                  </a:lnTo>
                  <a:close/>
                  <a:moveTo>
                    <a:pt x="4208" y="6174"/>
                  </a:moveTo>
                  <a:lnTo>
                    <a:pt x="4272" y="6174"/>
                  </a:lnTo>
                  <a:lnTo>
                    <a:pt x="4272" y="6110"/>
                  </a:lnTo>
                  <a:lnTo>
                    <a:pt x="4208" y="6110"/>
                  </a:lnTo>
                  <a:lnTo>
                    <a:pt x="4208" y="6174"/>
                  </a:lnTo>
                  <a:close/>
                  <a:moveTo>
                    <a:pt x="4208" y="6286"/>
                  </a:moveTo>
                  <a:lnTo>
                    <a:pt x="4272" y="6286"/>
                  </a:lnTo>
                  <a:lnTo>
                    <a:pt x="4272" y="6222"/>
                  </a:lnTo>
                  <a:lnTo>
                    <a:pt x="4208" y="6222"/>
                  </a:lnTo>
                  <a:lnTo>
                    <a:pt x="4208" y="6286"/>
                  </a:lnTo>
                  <a:close/>
                  <a:moveTo>
                    <a:pt x="4208" y="6400"/>
                  </a:moveTo>
                  <a:lnTo>
                    <a:pt x="4272" y="6400"/>
                  </a:lnTo>
                  <a:lnTo>
                    <a:pt x="4272" y="6335"/>
                  </a:lnTo>
                  <a:lnTo>
                    <a:pt x="4208" y="6335"/>
                  </a:lnTo>
                  <a:lnTo>
                    <a:pt x="4208" y="6400"/>
                  </a:lnTo>
                  <a:close/>
                  <a:moveTo>
                    <a:pt x="4208" y="6513"/>
                  </a:moveTo>
                  <a:lnTo>
                    <a:pt x="4272" y="6513"/>
                  </a:lnTo>
                  <a:lnTo>
                    <a:pt x="4272" y="6449"/>
                  </a:lnTo>
                  <a:lnTo>
                    <a:pt x="4208" y="6449"/>
                  </a:lnTo>
                  <a:lnTo>
                    <a:pt x="4208" y="6513"/>
                  </a:lnTo>
                  <a:close/>
                  <a:moveTo>
                    <a:pt x="4208" y="7196"/>
                  </a:moveTo>
                  <a:lnTo>
                    <a:pt x="4272" y="7196"/>
                  </a:lnTo>
                  <a:lnTo>
                    <a:pt x="4272" y="7131"/>
                  </a:lnTo>
                  <a:lnTo>
                    <a:pt x="4208" y="7131"/>
                  </a:lnTo>
                  <a:lnTo>
                    <a:pt x="4208" y="7196"/>
                  </a:lnTo>
                  <a:close/>
                  <a:moveTo>
                    <a:pt x="4322" y="65"/>
                  </a:moveTo>
                  <a:lnTo>
                    <a:pt x="4386" y="65"/>
                  </a:lnTo>
                  <a:lnTo>
                    <a:pt x="4386" y="0"/>
                  </a:lnTo>
                  <a:lnTo>
                    <a:pt x="4322" y="0"/>
                  </a:lnTo>
                  <a:lnTo>
                    <a:pt x="4322" y="65"/>
                  </a:lnTo>
                  <a:close/>
                  <a:moveTo>
                    <a:pt x="4322" y="178"/>
                  </a:moveTo>
                  <a:lnTo>
                    <a:pt x="4386" y="178"/>
                  </a:lnTo>
                  <a:lnTo>
                    <a:pt x="4386" y="113"/>
                  </a:lnTo>
                  <a:lnTo>
                    <a:pt x="4322" y="113"/>
                  </a:lnTo>
                  <a:lnTo>
                    <a:pt x="4322" y="178"/>
                  </a:lnTo>
                  <a:close/>
                  <a:moveTo>
                    <a:pt x="4322" y="292"/>
                  </a:moveTo>
                  <a:lnTo>
                    <a:pt x="4386" y="292"/>
                  </a:lnTo>
                  <a:lnTo>
                    <a:pt x="4386" y="228"/>
                  </a:lnTo>
                  <a:lnTo>
                    <a:pt x="4322" y="228"/>
                  </a:lnTo>
                  <a:lnTo>
                    <a:pt x="4322" y="292"/>
                  </a:lnTo>
                  <a:close/>
                  <a:moveTo>
                    <a:pt x="4322" y="405"/>
                  </a:moveTo>
                  <a:lnTo>
                    <a:pt x="4386" y="405"/>
                  </a:lnTo>
                  <a:lnTo>
                    <a:pt x="4386" y="341"/>
                  </a:lnTo>
                  <a:lnTo>
                    <a:pt x="4322" y="341"/>
                  </a:lnTo>
                  <a:lnTo>
                    <a:pt x="4322" y="405"/>
                  </a:lnTo>
                  <a:close/>
                  <a:moveTo>
                    <a:pt x="4322" y="516"/>
                  </a:moveTo>
                  <a:lnTo>
                    <a:pt x="4386" y="516"/>
                  </a:lnTo>
                  <a:lnTo>
                    <a:pt x="4386" y="452"/>
                  </a:lnTo>
                  <a:lnTo>
                    <a:pt x="4322" y="452"/>
                  </a:lnTo>
                  <a:lnTo>
                    <a:pt x="4322" y="516"/>
                  </a:lnTo>
                  <a:close/>
                  <a:moveTo>
                    <a:pt x="4322" y="630"/>
                  </a:moveTo>
                  <a:lnTo>
                    <a:pt x="4386" y="630"/>
                  </a:lnTo>
                  <a:lnTo>
                    <a:pt x="4386" y="565"/>
                  </a:lnTo>
                  <a:lnTo>
                    <a:pt x="4322" y="565"/>
                  </a:lnTo>
                  <a:lnTo>
                    <a:pt x="4322" y="630"/>
                  </a:lnTo>
                  <a:close/>
                  <a:moveTo>
                    <a:pt x="4322" y="744"/>
                  </a:moveTo>
                  <a:lnTo>
                    <a:pt x="4386" y="744"/>
                  </a:lnTo>
                  <a:lnTo>
                    <a:pt x="4386" y="679"/>
                  </a:lnTo>
                  <a:lnTo>
                    <a:pt x="4322" y="679"/>
                  </a:lnTo>
                  <a:lnTo>
                    <a:pt x="4322" y="744"/>
                  </a:lnTo>
                  <a:close/>
                  <a:moveTo>
                    <a:pt x="4322" y="857"/>
                  </a:moveTo>
                  <a:lnTo>
                    <a:pt x="4386" y="857"/>
                  </a:lnTo>
                  <a:lnTo>
                    <a:pt x="4386" y="792"/>
                  </a:lnTo>
                  <a:lnTo>
                    <a:pt x="4322" y="792"/>
                  </a:lnTo>
                  <a:lnTo>
                    <a:pt x="4322" y="857"/>
                  </a:lnTo>
                  <a:close/>
                  <a:moveTo>
                    <a:pt x="4322" y="969"/>
                  </a:moveTo>
                  <a:lnTo>
                    <a:pt x="4386" y="969"/>
                  </a:lnTo>
                  <a:lnTo>
                    <a:pt x="4386" y="904"/>
                  </a:lnTo>
                  <a:lnTo>
                    <a:pt x="4322" y="904"/>
                  </a:lnTo>
                  <a:lnTo>
                    <a:pt x="4322" y="969"/>
                  </a:lnTo>
                  <a:close/>
                  <a:moveTo>
                    <a:pt x="4322" y="1082"/>
                  </a:moveTo>
                  <a:lnTo>
                    <a:pt x="4386" y="1082"/>
                  </a:lnTo>
                  <a:lnTo>
                    <a:pt x="4386" y="1018"/>
                  </a:lnTo>
                  <a:lnTo>
                    <a:pt x="4322" y="1018"/>
                  </a:lnTo>
                  <a:lnTo>
                    <a:pt x="4322" y="1082"/>
                  </a:lnTo>
                  <a:close/>
                  <a:moveTo>
                    <a:pt x="4322" y="1197"/>
                  </a:moveTo>
                  <a:lnTo>
                    <a:pt x="4386" y="1197"/>
                  </a:lnTo>
                  <a:lnTo>
                    <a:pt x="4386" y="1132"/>
                  </a:lnTo>
                  <a:lnTo>
                    <a:pt x="4322" y="1132"/>
                  </a:lnTo>
                  <a:lnTo>
                    <a:pt x="4322" y="1197"/>
                  </a:lnTo>
                  <a:close/>
                  <a:moveTo>
                    <a:pt x="4322" y="1309"/>
                  </a:moveTo>
                  <a:lnTo>
                    <a:pt x="4386" y="1309"/>
                  </a:lnTo>
                  <a:lnTo>
                    <a:pt x="4386" y="1245"/>
                  </a:lnTo>
                  <a:lnTo>
                    <a:pt x="4322" y="1245"/>
                  </a:lnTo>
                  <a:lnTo>
                    <a:pt x="4322" y="1309"/>
                  </a:lnTo>
                  <a:close/>
                  <a:moveTo>
                    <a:pt x="4322" y="1420"/>
                  </a:moveTo>
                  <a:lnTo>
                    <a:pt x="4386" y="1420"/>
                  </a:lnTo>
                  <a:lnTo>
                    <a:pt x="4386" y="1357"/>
                  </a:lnTo>
                  <a:lnTo>
                    <a:pt x="4322" y="1357"/>
                  </a:lnTo>
                  <a:lnTo>
                    <a:pt x="4322" y="1420"/>
                  </a:lnTo>
                  <a:close/>
                  <a:moveTo>
                    <a:pt x="4322" y="1534"/>
                  </a:moveTo>
                  <a:lnTo>
                    <a:pt x="4386" y="1534"/>
                  </a:lnTo>
                  <a:lnTo>
                    <a:pt x="4386" y="1469"/>
                  </a:lnTo>
                  <a:lnTo>
                    <a:pt x="4322" y="1469"/>
                  </a:lnTo>
                  <a:lnTo>
                    <a:pt x="4322" y="1534"/>
                  </a:lnTo>
                  <a:close/>
                  <a:moveTo>
                    <a:pt x="4322" y="1648"/>
                  </a:moveTo>
                  <a:lnTo>
                    <a:pt x="4386" y="1648"/>
                  </a:lnTo>
                  <a:lnTo>
                    <a:pt x="4386" y="1584"/>
                  </a:lnTo>
                  <a:lnTo>
                    <a:pt x="4322" y="1584"/>
                  </a:lnTo>
                  <a:lnTo>
                    <a:pt x="4322" y="1648"/>
                  </a:lnTo>
                  <a:close/>
                  <a:moveTo>
                    <a:pt x="4322" y="1761"/>
                  </a:moveTo>
                  <a:lnTo>
                    <a:pt x="4386" y="1761"/>
                  </a:lnTo>
                  <a:lnTo>
                    <a:pt x="4386" y="1697"/>
                  </a:lnTo>
                  <a:lnTo>
                    <a:pt x="4322" y="1697"/>
                  </a:lnTo>
                  <a:lnTo>
                    <a:pt x="4322" y="1761"/>
                  </a:lnTo>
                  <a:close/>
                  <a:moveTo>
                    <a:pt x="4322" y="1878"/>
                  </a:moveTo>
                  <a:lnTo>
                    <a:pt x="4386" y="1878"/>
                  </a:lnTo>
                  <a:lnTo>
                    <a:pt x="4386" y="1814"/>
                  </a:lnTo>
                  <a:lnTo>
                    <a:pt x="4322" y="1814"/>
                  </a:lnTo>
                  <a:lnTo>
                    <a:pt x="4322" y="1878"/>
                  </a:lnTo>
                  <a:close/>
                  <a:moveTo>
                    <a:pt x="4322" y="1992"/>
                  </a:moveTo>
                  <a:lnTo>
                    <a:pt x="4386" y="1992"/>
                  </a:lnTo>
                  <a:lnTo>
                    <a:pt x="4386" y="1928"/>
                  </a:lnTo>
                  <a:lnTo>
                    <a:pt x="4322" y="1928"/>
                  </a:lnTo>
                  <a:lnTo>
                    <a:pt x="4322" y="1992"/>
                  </a:lnTo>
                  <a:close/>
                  <a:moveTo>
                    <a:pt x="4322" y="3121"/>
                  </a:moveTo>
                  <a:lnTo>
                    <a:pt x="4386" y="3121"/>
                  </a:lnTo>
                  <a:lnTo>
                    <a:pt x="4386" y="3057"/>
                  </a:lnTo>
                  <a:lnTo>
                    <a:pt x="4322" y="3057"/>
                  </a:lnTo>
                  <a:lnTo>
                    <a:pt x="4322" y="3121"/>
                  </a:lnTo>
                  <a:close/>
                  <a:moveTo>
                    <a:pt x="4322" y="3234"/>
                  </a:moveTo>
                  <a:lnTo>
                    <a:pt x="4386" y="3234"/>
                  </a:lnTo>
                  <a:lnTo>
                    <a:pt x="4386" y="3170"/>
                  </a:lnTo>
                  <a:lnTo>
                    <a:pt x="4322" y="3170"/>
                  </a:lnTo>
                  <a:lnTo>
                    <a:pt x="4322" y="3234"/>
                  </a:lnTo>
                  <a:close/>
                  <a:moveTo>
                    <a:pt x="4322" y="3349"/>
                  </a:moveTo>
                  <a:lnTo>
                    <a:pt x="4386" y="3349"/>
                  </a:lnTo>
                  <a:lnTo>
                    <a:pt x="4386" y="3284"/>
                  </a:lnTo>
                  <a:lnTo>
                    <a:pt x="4322" y="3284"/>
                  </a:lnTo>
                  <a:lnTo>
                    <a:pt x="4322" y="3349"/>
                  </a:lnTo>
                  <a:close/>
                  <a:moveTo>
                    <a:pt x="4322" y="3462"/>
                  </a:moveTo>
                  <a:lnTo>
                    <a:pt x="4386" y="3462"/>
                  </a:lnTo>
                  <a:lnTo>
                    <a:pt x="4386" y="3397"/>
                  </a:lnTo>
                  <a:lnTo>
                    <a:pt x="4322" y="3397"/>
                  </a:lnTo>
                  <a:lnTo>
                    <a:pt x="4322" y="3462"/>
                  </a:lnTo>
                  <a:close/>
                  <a:moveTo>
                    <a:pt x="4322" y="5044"/>
                  </a:moveTo>
                  <a:lnTo>
                    <a:pt x="4386" y="5044"/>
                  </a:lnTo>
                  <a:lnTo>
                    <a:pt x="4386" y="4980"/>
                  </a:lnTo>
                  <a:lnTo>
                    <a:pt x="4322" y="4980"/>
                  </a:lnTo>
                  <a:lnTo>
                    <a:pt x="4322" y="5044"/>
                  </a:lnTo>
                  <a:close/>
                  <a:moveTo>
                    <a:pt x="4322" y="5158"/>
                  </a:moveTo>
                  <a:lnTo>
                    <a:pt x="4386" y="5158"/>
                  </a:lnTo>
                  <a:lnTo>
                    <a:pt x="4386" y="5094"/>
                  </a:lnTo>
                  <a:lnTo>
                    <a:pt x="4322" y="5094"/>
                  </a:lnTo>
                  <a:lnTo>
                    <a:pt x="4322" y="5158"/>
                  </a:lnTo>
                  <a:close/>
                  <a:moveTo>
                    <a:pt x="4322" y="5271"/>
                  </a:moveTo>
                  <a:lnTo>
                    <a:pt x="4386" y="5271"/>
                  </a:lnTo>
                  <a:lnTo>
                    <a:pt x="4386" y="5207"/>
                  </a:lnTo>
                  <a:lnTo>
                    <a:pt x="4322" y="5207"/>
                  </a:lnTo>
                  <a:lnTo>
                    <a:pt x="4322" y="5271"/>
                  </a:lnTo>
                  <a:close/>
                  <a:moveTo>
                    <a:pt x="4322" y="5382"/>
                  </a:moveTo>
                  <a:lnTo>
                    <a:pt x="4386" y="5382"/>
                  </a:lnTo>
                  <a:lnTo>
                    <a:pt x="4386" y="5318"/>
                  </a:lnTo>
                  <a:lnTo>
                    <a:pt x="4322" y="5318"/>
                  </a:lnTo>
                  <a:lnTo>
                    <a:pt x="4322" y="5382"/>
                  </a:lnTo>
                  <a:close/>
                  <a:moveTo>
                    <a:pt x="4322" y="5495"/>
                  </a:moveTo>
                  <a:lnTo>
                    <a:pt x="4386" y="5495"/>
                  </a:lnTo>
                  <a:lnTo>
                    <a:pt x="4386" y="5431"/>
                  </a:lnTo>
                  <a:lnTo>
                    <a:pt x="4322" y="5431"/>
                  </a:lnTo>
                  <a:lnTo>
                    <a:pt x="4322" y="5495"/>
                  </a:lnTo>
                  <a:close/>
                  <a:moveTo>
                    <a:pt x="4322" y="5609"/>
                  </a:moveTo>
                  <a:lnTo>
                    <a:pt x="4386" y="5609"/>
                  </a:lnTo>
                  <a:lnTo>
                    <a:pt x="4386" y="5545"/>
                  </a:lnTo>
                  <a:lnTo>
                    <a:pt x="4322" y="5545"/>
                  </a:lnTo>
                  <a:lnTo>
                    <a:pt x="4322" y="5609"/>
                  </a:lnTo>
                  <a:close/>
                  <a:moveTo>
                    <a:pt x="4322" y="5723"/>
                  </a:moveTo>
                  <a:lnTo>
                    <a:pt x="4386" y="5723"/>
                  </a:lnTo>
                  <a:lnTo>
                    <a:pt x="4386" y="5658"/>
                  </a:lnTo>
                  <a:lnTo>
                    <a:pt x="4322" y="5658"/>
                  </a:lnTo>
                  <a:lnTo>
                    <a:pt x="4322" y="5723"/>
                  </a:lnTo>
                  <a:close/>
                  <a:moveTo>
                    <a:pt x="4322" y="5833"/>
                  </a:moveTo>
                  <a:lnTo>
                    <a:pt x="4386" y="5833"/>
                  </a:lnTo>
                  <a:lnTo>
                    <a:pt x="4386" y="5769"/>
                  </a:lnTo>
                  <a:lnTo>
                    <a:pt x="4322" y="5769"/>
                  </a:lnTo>
                  <a:lnTo>
                    <a:pt x="4322" y="5833"/>
                  </a:lnTo>
                  <a:close/>
                  <a:moveTo>
                    <a:pt x="4322" y="5947"/>
                  </a:moveTo>
                  <a:lnTo>
                    <a:pt x="4386" y="5947"/>
                  </a:lnTo>
                  <a:lnTo>
                    <a:pt x="4386" y="5883"/>
                  </a:lnTo>
                  <a:lnTo>
                    <a:pt x="4322" y="5883"/>
                  </a:lnTo>
                  <a:lnTo>
                    <a:pt x="4322" y="5947"/>
                  </a:lnTo>
                  <a:close/>
                  <a:moveTo>
                    <a:pt x="4322" y="6061"/>
                  </a:moveTo>
                  <a:lnTo>
                    <a:pt x="4386" y="6061"/>
                  </a:lnTo>
                  <a:lnTo>
                    <a:pt x="4386" y="5997"/>
                  </a:lnTo>
                  <a:lnTo>
                    <a:pt x="4322" y="5997"/>
                  </a:lnTo>
                  <a:lnTo>
                    <a:pt x="4322" y="6061"/>
                  </a:lnTo>
                  <a:close/>
                  <a:moveTo>
                    <a:pt x="4322" y="6174"/>
                  </a:moveTo>
                  <a:lnTo>
                    <a:pt x="4386" y="6174"/>
                  </a:lnTo>
                  <a:lnTo>
                    <a:pt x="4386" y="6110"/>
                  </a:lnTo>
                  <a:lnTo>
                    <a:pt x="4322" y="6110"/>
                  </a:lnTo>
                  <a:lnTo>
                    <a:pt x="4322" y="6174"/>
                  </a:lnTo>
                  <a:close/>
                  <a:moveTo>
                    <a:pt x="4322" y="6286"/>
                  </a:moveTo>
                  <a:lnTo>
                    <a:pt x="4386" y="6286"/>
                  </a:lnTo>
                  <a:lnTo>
                    <a:pt x="4386" y="6222"/>
                  </a:lnTo>
                  <a:lnTo>
                    <a:pt x="4322" y="6222"/>
                  </a:lnTo>
                  <a:lnTo>
                    <a:pt x="4322" y="6286"/>
                  </a:lnTo>
                  <a:close/>
                  <a:moveTo>
                    <a:pt x="4322" y="6400"/>
                  </a:moveTo>
                  <a:lnTo>
                    <a:pt x="4386" y="6400"/>
                  </a:lnTo>
                  <a:lnTo>
                    <a:pt x="4386" y="6335"/>
                  </a:lnTo>
                  <a:lnTo>
                    <a:pt x="4322" y="6335"/>
                  </a:lnTo>
                  <a:lnTo>
                    <a:pt x="4322" y="6400"/>
                  </a:lnTo>
                  <a:close/>
                  <a:moveTo>
                    <a:pt x="4434" y="65"/>
                  </a:moveTo>
                  <a:lnTo>
                    <a:pt x="4498" y="65"/>
                  </a:lnTo>
                  <a:lnTo>
                    <a:pt x="4498" y="0"/>
                  </a:lnTo>
                  <a:lnTo>
                    <a:pt x="4434" y="0"/>
                  </a:lnTo>
                  <a:lnTo>
                    <a:pt x="4434" y="65"/>
                  </a:lnTo>
                  <a:close/>
                  <a:moveTo>
                    <a:pt x="4434" y="178"/>
                  </a:moveTo>
                  <a:lnTo>
                    <a:pt x="4498" y="178"/>
                  </a:lnTo>
                  <a:lnTo>
                    <a:pt x="4498" y="113"/>
                  </a:lnTo>
                  <a:lnTo>
                    <a:pt x="4434" y="113"/>
                  </a:lnTo>
                  <a:lnTo>
                    <a:pt x="4434" y="178"/>
                  </a:lnTo>
                  <a:close/>
                  <a:moveTo>
                    <a:pt x="4434" y="292"/>
                  </a:moveTo>
                  <a:lnTo>
                    <a:pt x="4498" y="292"/>
                  </a:lnTo>
                  <a:lnTo>
                    <a:pt x="4498" y="228"/>
                  </a:lnTo>
                  <a:lnTo>
                    <a:pt x="4434" y="228"/>
                  </a:lnTo>
                  <a:lnTo>
                    <a:pt x="4434" y="292"/>
                  </a:lnTo>
                  <a:close/>
                  <a:moveTo>
                    <a:pt x="4434" y="405"/>
                  </a:moveTo>
                  <a:lnTo>
                    <a:pt x="4498" y="405"/>
                  </a:lnTo>
                  <a:lnTo>
                    <a:pt x="4498" y="341"/>
                  </a:lnTo>
                  <a:lnTo>
                    <a:pt x="4434" y="341"/>
                  </a:lnTo>
                  <a:lnTo>
                    <a:pt x="4434" y="405"/>
                  </a:lnTo>
                  <a:close/>
                  <a:moveTo>
                    <a:pt x="4434" y="516"/>
                  </a:moveTo>
                  <a:lnTo>
                    <a:pt x="4498" y="516"/>
                  </a:lnTo>
                  <a:lnTo>
                    <a:pt x="4498" y="452"/>
                  </a:lnTo>
                  <a:lnTo>
                    <a:pt x="4434" y="452"/>
                  </a:lnTo>
                  <a:lnTo>
                    <a:pt x="4434" y="516"/>
                  </a:lnTo>
                  <a:close/>
                  <a:moveTo>
                    <a:pt x="4434" y="630"/>
                  </a:moveTo>
                  <a:lnTo>
                    <a:pt x="4498" y="630"/>
                  </a:lnTo>
                  <a:lnTo>
                    <a:pt x="4498" y="565"/>
                  </a:lnTo>
                  <a:lnTo>
                    <a:pt x="4434" y="565"/>
                  </a:lnTo>
                  <a:lnTo>
                    <a:pt x="4434" y="630"/>
                  </a:lnTo>
                  <a:close/>
                  <a:moveTo>
                    <a:pt x="4434" y="744"/>
                  </a:moveTo>
                  <a:lnTo>
                    <a:pt x="4498" y="744"/>
                  </a:lnTo>
                  <a:lnTo>
                    <a:pt x="4498" y="679"/>
                  </a:lnTo>
                  <a:lnTo>
                    <a:pt x="4434" y="679"/>
                  </a:lnTo>
                  <a:lnTo>
                    <a:pt x="4434" y="744"/>
                  </a:lnTo>
                  <a:close/>
                  <a:moveTo>
                    <a:pt x="4434" y="857"/>
                  </a:moveTo>
                  <a:lnTo>
                    <a:pt x="4498" y="857"/>
                  </a:lnTo>
                  <a:lnTo>
                    <a:pt x="4498" y="792"/>
                  </a:lnTo>
                  <a:lnTo>
                    <a:pt x="4434" y="792"/>
                  </a:lnTo>
                  <a:lnTo>
                    <a:pt x="4434" y="857"/>
                  </a:lnTo>
                  <a:close/>
                  <a:moveTo>
                    <a:pt x="4434" y="969"/>
                  </a:moveTo>
                  <a:lnTo>
                    <a:pt x="4498" y="969"/>
                  </a:lnTo>
                  <a:lnTo>
                    <a:pt x="4498" y="904"/>
                  </a:lnTo>
                  <a:lnTo>
                    <a:pt x="4434" y="904"/>
                  </a:lnTo>
                  <a:lnTo>
                    <a:pt x="4434" y="969"/>
                  </a:lnTo>
                  <a:close/>
                  <a:moveTo>
                    <a:pt x="4434" y="1082"/>
                  </a:moveTo>
                  <a:lnTo>
                    <a:pt x="4498" y="1082"/>
                  </a:lnTo>
                  <a:lnTo>
                    <a:pt x="4498" y="1018"/>
                  </a:lnTo>
                  <a:lnTo>
                    <a:pt x="4434" y="1018"/>
                  </a:lnTo>
                  <a:lnTo>
                    <a:pt x="4434" y="1082"/>
                  </a:lnTo>
                  <a:close/>
                  <a:moveTo>
                    <a:pt x="4434" y="1197"/>
                  </a:moveTo>
                  <a:lnTo>
                    <a:pt x="4498" y="1197"/>
                  </a:lnTo>
                  <a:lnTo>
                    <a:pt x="4498" y="1132"/>
                  </a:lnTo>
                  <a:lnTo>
                    <a:pt x="4434" y="1132"/>
                  </a:lnTo>
                  <a:lnTo>
                    <a:pt x="4434" y="1197"/>
                  </a:lnTo>
                  <a:close/>
                  <a:moveTo>
                    <a:pt x="4434" y="1309"/>
                  </a:moveTo>
                  <a:lnTo>
                    <a:pt x="4498" y="1309"/>
                  </a:lnTo>
                  <a:lnTo>
                    <a:pt x="4498" y="1245"/>
                  </a:lnTo>
                  <a:lnTo>
                    <a:pt x="4434" y="1245"/>
                  </a:lnTo>
                  <a:lnTo>
                    <a:pt x="4434" y="1309"/>
                  </a:lnTo>
                  <a:close/>
                  <a:moveTo>
                    <a:pt x="4434" y="1420"/>
                  </a:moveTo>
                  <a:lnTo>
                    <a:pt x="4498" y="1420"/>
                  </a:lnTo>
                  <a:lnTo>
                    <a:pt x="4498" y="1357"/>
                  </a:lnTo>
                  <a:lnTo>
                    <a:pt x="4434" y="1357"/>
                  </a:lnTo>
                  <a:lnTo>
                    <a:pt x="4434" y="1420"/>
                  </a:lnTo>
                  <a:close/>
                  <a:moveTo>
                    <a:pt x="4434" y="1534"/>
                  </a:moveTo>
                  <a:lnTo>
                    <a:pt x="4498" y="1534"/>
                  </a:lnTo>
                  <a:lnTo>
                    <a:pt x="4498" y="1469"/>
                  </a:lnTo>
                  <a:lnTo>
                    <a:pt x="4434" y="1469"/>
                  </a:lnTo>
                  <a:lnTo>
                    <a:pt x="4434" y="1534"/>
                  </a:lnTo>
                  <a:close/>
                  <a:moveTo>
                    <a:pt x="4434" y="1648"/>
                  </a:moveTo>
                  <a:lnTo>
                    <a:pt x="4498" y="1648"/>
                  </a:lnTo>
                  <a:lnTo>
                    <a:pt x="4498" y="1584"/>
                  </a:lnTo>
                  <a:lnTo>
                    <a:pt x="4434" y="1584"/>
                  </a:lnTo>
                  <a:lnTo>
                    <a:pt x="4434" y="1648"/>
                  </a:lnTo>
                  <a:close/>
                  <a:moveTo>
                    <a:pt x="4434" y="1761"/>
                  </a:moveTo>
                  <a:lnTo>
                    <a:pt x="4498" y="1761"/>
                  </a:lnTo>
                  <a:lnTo>
                    <a:pt x="4498" y="1697"/>
                  </a:lnTo>
                  <a:lnTo>
                    <a:pt x="4434" y="1697"/>
                  </a:lnTo>
                  <a:lnTo>
                    <a:pt x="4434" y="1761"/>
                  </a:lnTo>
                  <a:close/>
                  <a:moveTo>
                    <a:pt x="4434" y="1878"/>
                  </a:moveTo>
                  <a:lnTo>
                    <a:pt x="4498" y="1878"/>
                  </a:lnTo>
                  <a:lnTo>
                    <a:pt x="4498" y="1814"/>
                  </a:lnTo>
                  <a:lnTo>
                    <a:pt x="4434" y="1814"/>
                  </a:lnTo>
                  <a:lnTo>
                    <a:pt x="4434" y="1878"/>
                  </a:lnTo>
                  <a:close/>
                  <a:moveTo>
                    <a:pt x="4434" y="1992"/>
                  </a:moveTo>
                  <a:lnTo>
                    <a:pt x="4498" y="1992"/>
                  </a:lnTo>
                  <a:lnTo>
                    <a:pt x="4498" y="1928"/>
                  </a:lnTo>
                  <a:lnTo>
                    <a:pt x="4434" y="1928"/>
                  </a:lnTo>
                  <a:lnTo>
                    <a:pt x="4434" y="1992"/>
                  </a:lnTo>
                  <a:close/>
                  <a:moveTo>
                    <a:pt x="4434" y="2106"/>
                  </a:moveTo>
                  <a:lnTo>
                    <a:pt x="4498" y="2106"/>
                  </a:lnTo>
                  <a:lnTo>
                    <a:pt x="4498" y="2042"/>
                  </a:lnTo>
                  <a:lnTo>
                    <a:pt x="4434" y="2042"/>
                  </a:lnTo>
                  <a:lnTo>
                    <a:pt x="4434" y="2106"/>
                  </a:lnTo>
                  <a:close/>
                  <a:moveTo>
                    <a:pt x="4434" y="2217"/>
                  </a:moveTo>
                  <a:lnTo>
                    <a:pt x="4498" y="2217"/>
                  </a:lnTo>
                  <a:lnTo>
                    <a:pt x="4498" y="2152"/>
                  </a:lnTo>
                  <a:lnTo>
                    <a:pt x="4434" y="2152"/>
                  </a:lnTo>
                  <a:lnTo>
                    <a:pt x="4434" y="2217"/>
                  </a:lnTo>
                  <a:close/>
                  <a:moveTo>
                    <a:pt x="4434" y="2330"/>
                  </a:moveTo>
                  <a:lnTo>
                    <a:pt x="4498" y="2330"/>
                  </a:lnTo>
                  <a:lnTo>
                    <a:pt x="4498" y="2265"/>
                  </a:lnTo>
                  <a:lnTo>
                    <a:pt x="4434" y="2265"/>
                  </a:lnTo>
                  <a:lnTo>
                    <a:pt x="4434" y="2330"/>
                  </a:lnTo>
                  <a:close/>
                  <a:moveTo>
                    <a:pt x="4434" y="2444"/>
                  </a:moveTo>
                  <a:lnTo>
                    <a:pt x="4498" y="2444"/>
                  </a:lnTo>
                  <a:lnTo>
                    <a:pt x="4498" y="2380"/>
                  </a:lnTo>
                  <a:lnTo>
                    <a:pt x="4434" y="2380"/>
                  </a:lnTo>
                  <a:lnTo>
                    <a:pt x="4434" y="2444"/>
                  </a:lnTo>
                  <a:close/>
                  <a:moveTo>
                    <a:pt x="4434" y="3462"/>
                  </a:moveTo>
                  <a:lnTo>
                    <a:pt x="4498" y="3462"/>
                  </a:lnTo>
                  <a:lnTo>
                    <a:pt x="4498" y="3397"/>
                  </a:lnTo>
                  <a:lnTo>
                    <a:pt x="4434" y="3397"/>
                  </a:lnTo>
                  <a:lnTo>
                    <a:pt x="4434" y="3462"/>
                  </a:lnTo>
                  <a:close/>
                  <a:moveTo>
                    <a:pt x="4434" y="5044"/>
                  </a:moveTo>
                  <a:lnTo>
                    <a:pt x="4498" y="5044"/>
                  </a:lnTo>
                  <a:lnTo>
                    <a:pt x="4498" y="4980"/>
                  </a:lnTo>
                  <a:lnTo>
                    <a:pt x="4434" y="4980"/>
                  </a:lnTo>
                  <a:lnTo>
                    <a:pt x="4434" y="5044"/>
                  </a:lnTo>
                  <a:close/>
                  <a:moveTo>
                    <a:pt x="4434" y="5158"/>
                  </a:moveTo>
                  <a:lnTo>
                    <a:pt x="4498" y="5158"/>
                  </a:lnTo>
                  <a:lnTo>
                    <a:pt x="4498" y="5094"/>
                  </a:lnTo>
                  <a:lnTo>
                    <a:pt x="4434" y="5094"/>
                  </a:lnTo>
                  <a:lnTo>
                    <a:pt x="4434" y="5158"/>
                  </a:lnTo>
                  <a:close/>
                  <a:moveTo>
                    <a:pt x="4434" y="5271"/>
                  </a:moveTo>
                  <a:lnTo>
                    <a:pt x="4498" y="5271"/>
                  </a:lnTo>
                  <a:lnTo>
                    <a:pt x="4498" y="5207"/>
                  </a:lnTo>
                  <a:lnTo>
                    <a:pt x="4434" y="5207"/>
                  </a:lnTo>
                  <a:lnTo>
                    <a:pt x="4434" y="5271"/>
                  </a:lnTo>
                  <a:close/>
                  <a:moveTo>
                    <a:pt x="4434" y="5382"/>
                  </a:moveTo>
                  <a:lnTo>
                    <a:pt x="4498" y="5382"/>
                  </a:lnTo>
                  <a:lnTo>
                    <a:pt x="4498" y="5318"/>
                  </a:lnTo>
                  <a:lnTo>
                    <a:pt x="4434" y="5318"/>
                  </a:lnTo>
                  <a:lnTo>
                    <a:pt x="4434" y="5382"/>
                  </a:lnTo>
                  <a:close/>
                  <a:moveTo>
                    <a:pt x="4434" y="5495"/>
                  </a:moveTo>
                  <a:lnTo>
                    <a:pt x="4498" y="5495"/>
                  </a:lnTo>
                  <a:lnTo>
                    <a:pt x="4498" y="5431"/>
                  </a:lnTo>
                  <a:lnTo>
                    <a:pt x="4434" y="5431"/>
                  </a:lnTo>
                  <a:lnTo>
                    <a:pt x="4434" y="5495"/>
                  </a:lnTo>
                  <a:close/>
                  <a:moveTo>
                    <a:pt x="4434" y="5609"/>
                  </a:moveTo>
                  <a:lnTo>
                    <a:pt x="4498" y="5609"/>
                  </a:lnTo>
                  <a:lnTo>
                    <a:pt x="4498" y="5545"/>
                  </a:lnTo>
                  <a:lnTo>
                    <a:pt x="4434" y="5545"/>
                  </a:lnTo>
                  <a:lnTo>
                    <a:pt x="4434" y="5609"/>
                  </a:lnTo>
                  <a:close/>
                  <a:moveTo>
                    <a:pt x="4434" y="5723"/>
                  </a:moveTo>
                  <a:lnTo>
                    <a:pt x="4498" y="5723"/>
                  </a:lnTo>
                  <a:lnTo>
                    <a:pt x="4498" y="5658"/>
                  </a:lnTo>
                  <a:lnTo>
                    <a:pt x="4434" y="5658"/>
                  </a:lnTo>
                  <a:lnTo>
                    <a:pt x="4434" y="5723"/>
                  </a:lnTo>
                  <a:close/>
                  <a:moveTo>
                    <a:pt x="4434" y="5833"/>
                  </a:moveTo>
                  <a:lnTo>
                    <a:pt x="4498" y="5833"/>
                  </a:lnTo>
                  <a:lnTo>
                    <a:pt x="4498" y="5769"/>
                  </a:lnTo>
                  <a:lnTo>
                    <a:pt x="4434" y="5769"/>
                  </a:lnTo>
                  <a:lnTo>
                    <a:pt x="4434" y="5833"/>
                  </a:lnTo>
                  <a:close/>
                  <a:moveTo>
                    <a:pt x="4434" y="5947"/>
                  </a:moveTo>
                  <a:lnTo>
                    <a:pt x="4498" y="5947"/>
                  </a:lnTo>
                  <a:lnTo>
                    <a:pt x="4498" y="5883"/>
                  </a:lnTo>
                  <a:lnTo>
                    <a:pt x="4434" y="5883"/>
                  </a:lnTo>
                  <a:lnTo>
                    <a:pt x="4434" y="5947"/>
                  </a:lnTo>
                  <a:close/>
                  <a:moveTo>
                    <a:pt x="4434" y="6061"/>
                  </a:moveTo>
                  <a:lnTo>
                    <a:pt x="4498" y="6061"/>
                  </a:lnTo>
                  <a:lnTo>
                    <a:pt x="4498" y="5997"/>
                  </a:lnTo>
                  <a:lnTo>
                    <a:pt x="4434" y="5997"/>
                  </a:lnTo>
                  <a:lnTo>
                    <a:pt x="4434" y="6061"/>
                  </a:lnTo>
                  <a:close/>
                  <a:moveTo>
                    <a:pt x="4434" y="6174"/>
                  </a:moveTo>
                  <a:lnTo>
                    <a:pt x="4498" y="6174"/>
                  </a:lnTo>
                  <a:lnTo>
                    <a:pt x="4498" y="6110"/>
                  </a:lnTo>
                  <a:lnTo>
                    <a:pt x="4434" y="6110"/>
                  </a:lnTo>
                  <a:lnTo>
                    <a:pt x="4434" y="6174"/>
                  </a:lnTo>
                  <a:close/>
                  <a:moveTo>
                    <a:pt x="4434" y="6286"/>
                  </a:moveTo>
                  <a:lnTo>
                    <a:pt x="4498" y="6286"/>
                  </a:lnTo>
                  <a:lnTo>
                    <a:pt x="4498" y="6222"/>
                  </a:lnTo>
                  <a:lnTo>
                    <a:pt x="4434" y="6222"/>
                  </a:lnTo>
                  <a:lnTo>
                    <a:pt x="4434" y="6286"/>
                  </a:lnTo>
                  <a:close/>
                  <a:moveTo>
                    <a:pt x="4548" y="65"/>
                  </a:moveTo>
                  <a:lnTo>
                    <a:pt x="4612" y="65"/>
                  </a:lnTo>
                  <a:lnTo>
                    <a:pt x="4612" y="0"/>
                  </a:lnTo>
                  <a:lnTo>
                    <a:pt x="4548" y="0"/>
                  </a:lnTo>
                  <a:lnTo>
                    <a:pt x="4548" y="65"/>
                  </a:lnTo>
                  <a:close/>
                  <a:moveTo>
                    <a:pt x="4548" y="178"/>
                  </a:moveTo>
                  <a:lnTo>
                    <a:pt x="4612" y="178"/>
                  </a:lnTo>
                  <a:lnTo>
                    <a:pt x="4612" y="113"/>
                  </a:lnTo>
                  <a:lnTo>
                    <a:pt x="4548" y="113"/>
                  </a:lnTo>
                  <a:lnTo>
                    <a:pt x="4548" y="178"/>
                  </a:lnTo>
                  <a:close/>
                  <a:moveTo>
                    <a:pt x="4548" y="292"/>
                  </a:moveTo>
                  <a:lnTo>
                    <a:pt x="4612" y="292"/>
                  </a:lnTo>
                  <a:lnTo>
                    <a:pt x="4612" y="228"/>
                  </a:lnTo>
                  <a:lnTo>
                    <a:pt x="4548" y="228"/>
                  </a:lnTo>
                  <a:lnTo>
                    <a:pt x="4548" y="292"/>
                  </a:lnTo>
                  <a:close/>
                  <a:moveTo>
                    <a:pt x="4548" y="405"/>
                  </a:moveTo>
                  <a:lnTo>
                    <a:pt x="4612" y="405"/>
                  </a:lnTo>
                  <a:lnTo>
                    <a:pt x="4612" y="341"/>
                  </a:lnTo>
                  <a:lnTo>
                    <a:pt x="4548" y="341"/>
                  </a:lnTo>
                  <a:lnTo>
                    <a:pt x="4548" y="405"/>
                  </a:lnTo>
                  <a:close/>
                  <a:moveTo>
                    <a:pt x="4548" y="516"/>
                  </a:moveTo>
                  <a:lnTo>
                    <a:pt x="4612" y="516"/>
                  </a:lnTo>
                  <a:lnTo>
                    <a:pt x="4612" y="452"/>
                  </a:lnTo>
                  <a:lnTo>
                    <a:pt x="4548" y="452"/>
                  </a:lnTo>
                  <a:lnTo>
                    <a:pt x="4548" y="516"/>
                  </a:lnTo>
                  <a:close/>
                  <a:moveTo>
                    <a:pt x="4548" y="630"/>
                  </a:moveTo>
                  <a:lnTo>
                    <a:pt x="4612" y="630"/>
                  </a:lnTo>
                  <a:lnTo>
                    <a:pt x="4612" y="565"/>
                  </a:lnTo>
                  <a:lnTo>
                    <a:pt x="4548" y="565"/>
                  </a:lnTo>
                  <a:lnTo>
                    <a:pt x="4548" y="630"/>
                  </a:lnTo>
                  <a:close/>
                  <a:moveTo>
                    <a:pt x="4548" y="744"/>
                  </a:moveTo>
                  <a:lnTo>
                    <a:pt x="4612" y="744"/>
                  </a:lnTo>
                  <a:lnTo>
                    <a:pt x="4612" y="679"/>
                  </a:lnTo>
                  <a:lnTo>
                    <a:pt x="4548" y="679"/>
                  </a:lnTo>
                  <a:lnTo>
                    <a:pt x="4548" y="744"/>
                  </a:lnTo>
                  <a:close/>
                  <a:moveTo>
                    <a:pt x="4548" y="857"/>
                  </a:moveTo>
                  <a:lnTo>
                    <a:pt x="4612" y="857"/>
                  </a:lnTo>
                  <a:lnTo>
                    <a:pt x="4612" y="792"/>
                  </a:lnTo>
                  <a:lnTo>
                    <a:pt x="4548" y="792"/>
                  </a:lnTo>
                  <a:lnTo>
                    <a:pt x="4548" y="857"/>
                  </a:lnTo>
                  <a:close/>
                  <a:moveTo>
                    <a:pt x="4548" y="969"/>
                  </a:moveTo>
                  <a:lnTo>
                    <a:pt x="4612" y="969"/>
                  </a:lnTo>
                  <a:lnTo>
                    <a:pt x="4612" y="904"/>
                  </a:lnTo>
                  <a:lnTo>
                    <a:pt x="4548" y="904"/>
                  </a:lnTo>
                  <a:lnTo>
                    <a:pt x="4548" y="969"/>
                  </a:lnTo>
                  <a:close/>
                  <a:moveTo>
                    <a:pt x="4548" y="1082"/>
                  </a:moveTo>
                  <a:lnTo>
                    <a:pt x="4612" y="1082"/>
                  </a:lnTo>
                  <a:lnTo>
                    <a:pt x="4612" y="1018"/>
                  </a:lnTo>
                  <a:lnTo>
                    <a:pt x="4548" y="1018"/>
                  </a:lnTo>
                  <a:lnTo>
                    <a:pt x="4548" y="1082"/>
                  </a:lnTo>
                  <a:close/>
                  <a:moveTo>
                    <a:pt x="4548" y="1197"/>
                  </a:moveTo>
                  <a:lnTo>
                    <a:pt x="4612" y="1197"/>
                  </a:lnTo>
                  <a:lnTo>
                    <a:pt x="4612" y="1132"/>
                  </a:lnTo>
                  <a:lnTo>
                    <a:pt x="4548" y="1132"/>
                  </a:lnTo>
                  <a:lnTo>
                    <a:pt x="4548" y="1197"/>
                  </a:lnTo>
                  <a:close/>
                  <a:moveTo>
                    <a:pt x="4548" y="1309"/>
                  </a:moveTo>
                  <a:lnTo>
                    <a:pt x="4612" y="1309"/>
                  </a:lnTo>
                  <a:lnTo>
                    <a:pt x="4612" y="1245"/>
                  </a:lnTo>
                  <a:lnTo>
                    <a:pt x="4548" y="1245"/>
                  </a:lnTo>
                  <a:lnTo>
                    <a:pt x="4548" y="1309"/>
                  </a:lnTo>
                  <a:close/>
                  <a:moveTo>
                    <a:pt x="4548" y="1420"/>
                  </a:moveTo>
                  <a:lnTo>
                    <a:pt x="4612" y="1420"/>
                  </a:lnTo>
                  <a:lnTo>
                    <a:pt x="4612" y="1357"/>
                  </a:lnTo>
                  <a:lnTo>
                    <a:pt x="4548" y="1357"/>
                  </a:lnTo>
                  <a:lnTo>
                    <a:pt x="4548" y="1420"/>
                  </a:lnTo>
                  <a:close/>
                  <a:moveTo>
                    <a:pt x="4548" y="1534"/>
                  </a:moveTo>
                  <a:lnTo>
                    <a:pt x="4612" y="1534"/>
                  </a:lnTo>
                  <a:lnTo>
                    <a:pt x="4612" y="1469"/>
                  </a:lnTo>
                  <a:lnTo>
                    <a:pt x="4548" y="1469"/>
                  </a:lnTo>
                  <a:lnTo>
                    <a:pt x="4548" y="1534"/>
                  </a:lnTo>
                  <a:close/>
                  <a:moveTo>
                    <a:pt x="4548" y="1648"/>
                  </a:moveTo>
                  <a:lnTo>
                    <a:pt x="4612" y="1648"/>
                  </a:lnTo>
                  <a:lnTo>
                    <a:pt x="4612" y="1584"/>
                  </a:lnTo>
                  <a:lnTo>
                    <a:pt x="4548" y="1584"/>
                  </a:lnTo>
                  <a:lnTo>
                    <a:pt x="4548" y="1648"/>
                  </a:lnTo>
                  <a:close/>
                  <a:moveTo>
                    <a:pt x="4548" y="1761"/>
                  </a:moveTo>
                  <a:lnTo>
                    <a:pt x="4612" y="1761"/>
                  </a:lnTo>
                  <a:lnTo>
                    <a:pt x="4612" y="1697"/>
                  </a:lnTo>
                  <a:lnTo>
                    <a:pt x="4548" y="1697"/>
                  </a:lnTo>
                  <a:lnTo>
                    <a:pt x="4548" y="1761"/>
                  </a:lnTo>
                  <a:close/>
                  <a:moveTo>
                    <a:pt x="4548" y="1878"/>
                  </a:moveTo>
                  <a:lnTo>
                    <a:pt x="4612" y="1878"/>
                  </a:lnTo>
                  <a:lnTo>
                    <a:pt x="4612" y="1814"/>
                  </a:lnTo>
                  <a:lnTo>
                    <a:pt x="4548" y="1814"/>
                  </a:lnTo>
                  <a:lnTo>
                    <a:pt x="4548" y="1878"/>
                  </a:lnTo>
                  <a:close/>
                  <a:moveTo>
                    <a:pt x="4548" y="1992"/>
                  </a:moveTo>
                  <a:lnTo>
                    <a:pt x="4612" y="1992"/>
                  </a:lnTo>
                  <a:lnTo>
                    <a:pt x="4612" y="1928"/>
                  </a:lnTo>
                  <a:lnTo>
                    <a:pt x="4548" y="1928"/>
                  </a:lnTo>
                  <a:lnTo>
                    <a:pt x="4548" y="1992"/>
                  </a:lnTo>
                  <a:close/>
                  <a:moveTo>
                    <a:pt x="4548" y="2106"/>
                  </a:moveTo>
                  <a:lnTo>
                    <a:pt x="4612" y="2106"/>
                  </a:lnTo>
                  <a:lnTo>
                    <a:pt x="4612" y="2042"/>
                  </a:lnTo>
                  <a:lnTo>
                    <a:pt x="4548" y="2042"/>
                  </a:lnTo>
                  <a:lnTo>
                    <a:pt x="4548" y="2106"/>
                  </a:lnTo>
                  <a:close/>
                  <a:moveTo>
                    <a:pt x="4548" y="2217"/>
                  </a:moveTo>
                  <a:lnTo>
                    <a:pt x="4612" y="2217"/>
                  </a:lnTo>
                  <a:lnTo>
                    <a:pt x="4612" y="2152"/>
                  </a:lnTo>
                  <a:lnTo>
                    <a:pt x="4548" y="2152"/>
                  </a:lnTo>
                  <a:lnTo>
                    <a:pt x="4548" y="2217"/>
                  </a:lnTo>
                  <a:close/>
                  <a:moveTo>
                    <a:pt x="4548" y="2330"/>
                  </a:moveTo>
                  <a:lnTo>
                    <a:pt x="4612" y="2330"/>
                  </a:lnTo>
                  <a:lnTo>
                    <a:pt x="4612" y="2265"/>
                  </a:lnTo>
                  <a:lnTo>
                    <a:pt x="4548" y="2265"/>
                  </a:lnTo>
                  <a:lnTo>
                    <a:pt x="4548" y="2330"/>
                  </a:lnTo>
                  <a:close/>
                  <a:moveTo>
                    <a:pt x="4548" y="2444"/>
                  </a:moveTo>
                  <a:lnTo>
                    <a:pt x="4612" y="2444"/>
                  </a:lnTo>
                  <a:lnTo>
                    <a:pt x="4612" y="2380"/>
                  </a:lnTo>
                  <a:lnTo>
                    <a:pt x="4548" y="2380"/>
                  </a:lnTo>
                  <a:lnTo>
                    <a:pt x="4548" y="2444"/>
                  </a:lnTo>
                  <a:close/>
                  <a:moveTo>
                    <a:pt x="4548" y="2558"/>
                  </a:moveTo>
                  <a:lnTo>
                    <a:pt x="4612" y="2558"/>
                  </a:lnTo>
                  <a:lnTo>
                    <a:pt x="4612" y="2493"/>
                  </a:lnTo>
                  <a:lnTo>
                    <a:pt x="4548" y="2493"/>
                  </a:lnTo>
                  <a:lnTo>
                    <a:pt x="4548" y="2558"/>
                  </a:lnTo>
                  <a:close/>
                  <a:moveTo>
                    <a:pt x="4548" y="2669"/>
                  </a:moveTo>
                  <a:lnTo>
                    <a:pt x="4612" y="2669"/>
                  </a:lnTo>
                  <a:lnTo>
                    <a:pt x="4612" y="2605"/>
                  </a:lnTo>
                  <a:lnTo>
                    <a:pt x="4548" y="2605"/>
                  </a:lnTo>
                  <a:lnTo>
                    <a:pt x="4548" y="2669"/>
                  </a:lnTo>
                  <a:close/>
                  <a:moveTo>
                    <a:pt x="4548" y="5271"/>
                  </a:moveTo>
                  <a:lnTo>
                    <a:pt x="4612" y="5271"/>
                  </a:lnTo>
                  <a:lnTo>
                    <a:pt x="4612" y="5207"/>
                  </a:lnTo>
                  <a:lnTo>
                    <a:pt x="4548" y="5207"/>
                  </a:lnTo>
                  <a:lnTo>
                    <a:pt x="4548" y="5271"/>
                  </a:lnTo>
                  <a:close/>
                  <a:moveTo>
                    <a:pt x="4548" y="5382"/>
                  </a:moveTo>
                  <a:lnTo>
                    <a:pt x="4612" y="5382"/>
                  </a:lnTo>
                  <a:lnTo>
                    <a:pt x="4612" y="5318"/>
                  </a:lnTo>
                  <a:lnTo>
                    <a:pt x="4548" y="5318"/>
                  </a:lnTo>
                  <a:lnTo>
                    <a:pt x="4548" y="5382"/>
                  </a:lnTo>
                  <a:close/>
                  <a:moveTo>
                    <a:pt x="4548" y="5495"/>
                  </a:moveTo>
                  <a:lnTo>
                    <a:pt x="4612" y="5495"/>
                  </a:lnTo>
                  <a:lnTo>
                    <a:pt x="4612" y="5431"/>
                  </a:lnTo>
                  <a:lnTo>
                    <a:pt x="4548" y="5431"/>
                  </a:lnTo>
                  <a:lnTo>
                    <a:pt x="4548" y="5495"/>
                  </a:lnTo>
                  <a:close/>
                  <a:moveTo>
                    <a:pt x="4548" y="5609"/>
                  </a:moveTo>
                  <a:lnTo>
                    <a:pt x="4612" y="5609"/>
                  </a:lnTo>
                  <a:lnTo>
                    <a:pt x="4612" y="5545"/>
                  </a:lnTo>
                  <a:lnTo>
                    <a:pt x="4548" y="5545"/>
                  </a:lnTo>
                  <a:lnTo>
                    <a:pt x="4548" y="5609"/>
                  </a:lnTo>
                  <a:close/>
                  <a:moveTo>
                    <a:pt x="4548" y="5723"/>
                  </a:moveTo>
                  <a:lnTo>
                    <a:pt x="4612" y="5723"/>
                  </a:lnTo>
                  <a:lnTo>
                    <a:pt x="4612" y="5658"/>
                  </a:lnTo>
                  <a:lnTo>
                    <a:pt x="4548" y="5658"/>
                  </a:lnTo>
                  <a:lnTo>
                    <a:pt x="4548" y="5723"/>
                  </a:lnTo>
                  <a:close/>
                  <a:moveTo>
                    <a:pt x="4548" y="5833"/>
                  </a:moveTo>
                  <a:lnTo>
                    <a:pt x="4612" y="5833"/>
                  </a:lnTo>
                  <a:lnTo>
                    <a:pt x="4612" y="5769"/>
                  </a:lnTo>
                  <a:lnTo>
                    <a:pt x="4548" y="5769"/>
                  </a:lnTo>
                  <a:lnTo>
                    <a:pt x="4548" y="5833"/>
                  </a:lnTo>
                  <a:close/>
                  <a:moveTo>
                    <a:pt x="4548" y="5947"/>
                  </a:moveTo>
                  <a:lnTo>
                    <a:pt x="4612" y="5947"/>
                  </a:lnTo>
                  <a:lnTo>
                    <a:pt x="4612" y="5883"/>
                  </a:lnTo>
                  <a:lnTo>
                    <a:pt x="4548" y="5883"/>
                  </a:lnTo>
                  <a:lnTo>
                    <a:pt x="4548" y="5947"/>
                  </a:lnTo>
                  <a:close/>
                  <a:moveTo>
                    <a:pt x="4548" y="6061"/>
                  </a:moveTo>
                  <a:lnTo>
                    <a:pt x="4612" y="6061"/>
                  </a:lnTo>
                  <a:lnTo>
                    <a:pt x="4612" y="5997"/>
                  </a:lnTo>
                  <a:lnTo>
                    <a:pt x="4548" y="5997"/>
                  </a:lnTo>
                  <a:lnTo>
                    <a:pt x="4548" y="6061"/>
                  </a:lnTo>
                  <a:close/>
                  <a:moveTo>
                    <a:pt x="4548" y="6174"/>
                  </a:moveTo>
                  <a:lnTo>
                    <a:pt x="4612" y="6174"/>
                  </a:lnTo>
                  <a:lnTo>
                    <a:pt x="4612" y="6110"/>
                  </a:lnTo>
                  <a:lnTo>
                    <a:pt x="4548" y="6110"/>
                  </a:lnTo>
                  <a:lnTo>
                    <a:pt x="4548" y="6174"/>
                  </a:lnTo>
                  <a:close/>
                  <a:moveTo>
                    <a:pt x="4662" y="65"/>
                  </a:moveTo>
                  <a:lnTo>
                    <a:pt x="4726" y="65"/>
                  </a:lnTo>
                  <a:lnTo>
                    <a:pt x="4726" y="0"/>
                  </a:lnTo>
                  <a:lnTo>
                    <a:pt x="4662" y="0"/>
                  </a:lnTo>
                  <a:lnTo>
                    <a:pt x="4662" y="65"/>
                  </a:lnTo>
                  <a:close/>
                  <a:moveTo>
                    <a:pt x="4662" y="178"/>
                  </a:moveTo>
                  <a:lnTo>
                    <a:pt x="4726" y="178"/>
                  </a:lnTo>
                  <a:lnTo>
                    <a:pt x="4726" y="113"/>
                  </a:lnTo>
                  <a:lnTo>
                    <a:pt x="4662" y="113"/>
                  </a:lnTo>
                  <a:lnTo>
                    <a:pt x="4662" y="178"/>
                  </a:lnTo>
                  <a:close/>
                  <a:moveTo>
                    <a:pt x="4662" y="292"/>
                  </a:moveTo>
                  <a:lnTo>
                    <a:pt x="4726" y="292"/>
                  </a:lnTo>
                  <a:lnTo>
                    <a:pt x="4726" y="228"/>
                  </a:lnTo>
                  <a:lnTo>
                    <a:pt x="4662" y="228"/>
                  </a:lnTo>
                  <a:lnTo>
                    <a:pt x="4662" y="292"/>
                  </a:lnTo>
                  <a:close/>
                  <a:moveTo>
                    <a:pt x="4662" y="405"/>
                  </a:moveTo>
                  <a:lnTo>
                    <a:pt x="4726" y="405"/>
                  </a:lnTo>
                  <a:lnTo>
                    <a:pt x="4726" y="341"/>
                  </a:lnTo>
                  <a:lnTo>
                    <a:pt x="4662" y="341"/>
                  </a:lnTo>
                  <a:lnTo>
                    <a:pt x="4662" y="405"/>
                  </a:lnTo>
                  <a:close/>
                  <a:moveTo>
                    <a:pt x="4662" y="516"/>
                  </a:moveTo>
                  <a:lnTo>
                    <a:pt x="4726" y="516"/>
                  </a:lnTo>
                  <a:lnTo>
                    <a:pt x="4726" y="452"/>
                  </a:lnTo>
                  <a:lnTo>
                    <a:pt x="4662" y="452"/>
                  </a:lnTo>
                  <a:lnTo>
                    <a:pt x="4662" y="516"/>
                  </a:lnTo>
                  <a:close/>
                  <a:moveTo>
                    <a:pt x="4662" y="630"/>
                  </a:moveTo>
                  <a:lnTo>
                    <a:pt x="4726" y="630"/>
                  </a:lnTo>
                  <a:lnTo>
                    <a:pt x="4726" y="565"/>
                  </a:lnTo>
                  <a:lnTo>
                    <a:pt x="4662" y="565"/>
                  </a:lnTo>
                  <a:lnTo>
                    <a:pt x="4662" y="630"/>
                  </a:lnTo>
                  <a:close/>
                  <a:moveTo>
                    <a:pt x="4662" y="744"/>
                  </a:moveTo>
                  <a:lnTo>
                    <a:pt x="4726" y="744"/>
                  </a:lnTo>
                  <a:lnTo>
                    <a:pt x="4726" y="679"/>
                  </a:lnTo>
                  <a:lnTo>
                    <a:pt x="4662" y="679"/>
                  </a:lnTo>
                  <a:lnTo>
                    <a:pt x="4662" y="744"/>
                  </a:lnTo>
                  <a:close/>
                  <a:moveTo>
                    <a:pt x="4662" y="857"/>
                  </a:moveTo>
                  <a:lnTo>
                    <a:pt x="4726" y="857"/>
                  </a:lnTo>
                  <a:lnTo>
                    <a:pt x="4726" y="792"/>
                  </a:lnTo>
                  <a:lnTo>
                    <a:pt x="4662" y="792"/>
                  </a:lnTo>
                  <a:lnTo>
                    <a:pt x="4662" y="857"/>
                  </a:lnTo>
                  <a:close/>
                  <a:moveTo>
                    <a:pt x="4662" y="969"/>
                  </a:moveTo>
                  <a:lnTo>
                    <a:pt x="4726" y="969"/>
                  </a:lnTo>
                  <a:lnTo>
                    <a:pt x="4726" y="904"/>
                  </a:lnTo>
                  <a:lnTo>
                    <a:pt x="4662" y="904"/>
                  </a:lnTo>
                  <a:lnTo>
                    <a:pt x="4662" y="969"/>
                  </a:lnTo>
                  <a:close/>
                  <a:moveTo>
                    <a:pt x="4662" y="1082"/>
                  </a:moveTo>
                  <a:lnTo>
                    <a:pt x="4726" y="1082"/>
                  </a:lnTo>
                  <a:lnTo>
                    <a:pt x="4726" y="1018"/>
                  </a:lnTo>
                  <a:lnTo>
                    <a:pt x="4662" y="1018"/>
                  </a:lnTo>
                  <a:lnTo>
                    <a:pt x="4662" y="1082"/>
                  </a:lnTo>
                  <a:close/>
                  <a:moveTo>
                    <a:pt x="4662" y="1197"/>
                  </a:moveTo>
                  <a:lnTo>
                    <a:pt x="4726" y="1197"/>
                  </a:lnTo>
                  <a:lnTo>
                    <a:pt x="4726" y="1132"/>
                  </a:lnTo>
                  <a:lnTo>
                    <a:pt x="4662" y="1132"/>
                  </a:lnTo>
                  <a:lnTo>
                    <a:pt x="4662" y="1197"/>
                  </a:lnTo>
                  <a:close/>
                  <a:moveTo>
                    <a:pt x="4662" y="1309"/>
                  </a:moveTo>
                  <a:lnTo>
                    <a:pt x="4726" y="1309"/>
                  </a:lnTo>
                  <a:lnTo>
                    <a:pt x="4726" y="1245"/>
                  </a:lnTo>
                  <a:lnTo>
                    <a:pt x="4662" y="1245"/>
                  </a:lnTo>
                  <a:lnTo>
                    <a:pt x="4662" y="1309"/>
                  </a:lnTo>
                  <a:close/>
                  <a:moveTo>
                    <a:pt x="4662" y="1420"/>
                  </a:moveTo>
                  <a:lnTo>
                    <a:pt x="4726" y="1420"/>
                  </a:lnTo>
                  <a:lnTo>
                    <a:pt x="4726" y="1357"/>
                  </a:lnTo>
                  <a:lnTo>
                    <a:pt x="4662" y="1357"/>
                  </a:lnTo>
                  <a:lnTo>
                    <a:pt x="4662" y="1420"/>
                  </a:lnTo>
                  <a:close/>
                  <a:moveTo>
                    <a:pt x="4662" y="1534"/>
                  </a:moveTo>
                  <a:lnTo>
                    <a:pt x="4726" y="1534"/>
                  </a:lnTo>
                  <a:lnTo>
                    <a:pt x="4726" y="1469"/>
                  </a:lnTo>
                  <a:lnTo>
                    <a:pt x="4662" y="1469"/>
                  </a:lnTo>
                  <a:lnTo>
                    <a:pt x="4662" y="1534"/>
                  </a:lnTo>
                  <a:close/>
                  <a:moveTo>
                    <a:pt x="4662" y="1648"/>
                  </a:moveTo>
                  <a:lnTo>
                    <a:pt x="4726" y="1648"/>
                  </a:lnTo>
                  <a:lnTo>
                    <a:pt x="4726" y="1584"/>
                  </a:lnTo>
                  <a:lnTo>
                    <a:pt x="4662" y="1584"/>
                  </a:lnTo>
                  <a:lnTo>
                    <a:pt x="4662" y="1648"/>
                  </a:lnTo>
                  <a:close/>
                  <a:moveTo>
                    <a:pt x="4662" y="1761"/>
                  </a:moveTo>
                  <a:lnTo>
                    <a:pt x="4726" y="1761"/>
                  </a:lnTo>
                  <a:lnTo>
                    <a:pt x="4726" y="1697"/>
                  </a:lnTo>
                  <a:lnTo>
                    <a:pt x="4662" y="1697"/>
                  </a:lnTo>
                  <a:lnTo>
                    <a:pt x="4662" y="1761"/>
                  </a:lnTo>
                  <a:close/>
                  <a:moveTo>
                    <a:pt x="4662" y="1878"/>
                  </a:moveTo>
                  <a:lnTo>
                    <a:pt x="4726" y="1878"/>
                  </a:lnTo>
                  <a:lnTo>
                    <a:pt x="4726" y="1814"/>
                  </a:lnTo>
                  <a:lnTo>
                    <a:pt x="4662" y="1814"/>
                  </a:lnTo>
                  <a:lnTo>
                    <a:pt x="4662" y="1878"/>
                  </a:lnTo>
                  <a:close/>
                  <a:moveTo>
                    <a:pt x="4662" y="1992"/>
                  </a:moveTo>
                  <a:lnTo>
                    <a:pt x="4726" y="1992"/>
                  </a:lnTo>
                  <a:lnTo>
                    <a:pt x="4726" y="1928"/>
                  </a:lnTo>
                  <a:lnTo>
                    <a:pt x="4662" y="1928"/>
                  </a:lnTo>
                  <a:lnTo>
                    <a:pt x="4662" y="1992"/>
                  </a:lnTo>
                  <a:close/>
                  <a:moveTo>
                    <a:pt x="4662" y="2106"/>
                  </a:moveTo>
                  <a:lnTo>
                    <a:pt x="4726" y="2106"/>
                  </a:lnTo>
                  <a:lnTo>
                    <a:pt x="4726" y="2042"/>
                  </a:lnTo>
                  <a:lnTo>
                    <a:pt x="4662" y="2042"/>
                  </a:lnTo>
                  <a:lnTo>
                    <a:pt x="4662" y="2106"/>
                  </a:lnTo>
                  <a:close/>
                  <a:moveTo>
                    <a:pt x="4662" y="2217"/>
                  </a:moveTo>
                  <a:lnTo>
                    <a:pt x="4726" y="2217"/>
                  </a:lnTo>
                  <a:lnTo>
                    <a:pt x="4726" y="2152"/>
                  </a:lnTo>
                  <a:lnTo>
                    <a:pt x="4662" y="2152"/>
                  </a:lnTo>
                  <a:lnTo>
                    <a:pt x="4662" y="2217"/>
                  </a:lnTo>
                  <a:close/>
                  <a:moveTo>
                    <a:pt x="4662" y="2330"/>
                  </a:moveTo>
                  <a:lnTo>
                    <a:pt x="4726" y="2330"/>
                  </a:lnTo>
                  <a:lnTo>
                    <a:pt x="4726" y="2265"/>
                  </a:lnTo>
                  <a:lnTo>
                    <a:pt x="4662" y="2265"/>
                  </a:lnTo>
                  <a:lnTo>
                    <a:pt x="4662" y="2330"/>
                  </a:lnTo>
                  <a:close/>
                  <a:moveTo>
                    <a:pt x="4662" y="2444"/>
                  </a:moveTo>
                  <a:lnTo>
                    <a:pt x="4726" y="2444"/>
                  </a:lnTo>
                  <a:lnTo>
                    <a:pt x="4726" y="2380"/>
                  </a:lnTo>
                  <a:lnTo>
                    <a:pt x="4662" y="2380"/>
                  </a:lnTo>
                  <a:lnTo>
                    <a:pt x="4662" y="2444"/>
                  </a:lnTo>
                  <a:close/>
                  <a:moveTo>
                    <a:pt x="4662" y="2558"/>
                  </a:moveTo>
                  <a:lnTo>
                    <a:pt x="4726" y="2558"/>
                  </a:lnTo>
                  <a:lnTo>
                    <a:pt x="4726" y="2493"/>
                  </a:lnTo>
                  <a:lnTo>
                    <a:pt x="4662" y="2493"/>
                  </a:lnTo>
                  <a:lnTo>
                    <a:pt x="4662" y="2558"/>
                  </a:lnTo>
                  <a:close/>
                  <a:moveTo>
                    <a:pt x="4662" y="2669"/>
                  </a:moveTo>
                  <a:lnTo>
                    <a:pt x="4726" y="2669"/>
                  </a:lnTo>
                  <a:lnTo>
                    <a:pt x="4726" y="2605"/>
                  </a:lnTo>
                  <a:lnTo>
                    <a:pt x="4662" y="2605"/>
                  </a:lnTo>
                  <a:lnTo>
                    <a:pt x="4662" y="2669"/>
                  </a:lnTo>
                  <a:close/>
                  <a:moveTo>
                    <a:pt x="4662" y="5271"/>
                  </a:moveTo>
                  <a:lnTo>
                    <a:pt x="4726" y="5271"/>
                  </a:lnTo>
                  <a:lnTo>
                    <a:pt x="4726" y="5207"/>
                  </a:lnTo>
                  <a:lnTo>
                    <a:pt x="4662" y="5207"/>
                  </a:lnTo>
                  <a:lnTo>
                    <a:pt x="4662" y="5271"/>
                  </a:lnTo>
                  <a:close/>
                  <a:moveTo>
                    <a:pt x="4662" y="5382"/>
                  </a:moveTo>
                  <a:lnTo>
                    <a:pt x="4726" y="5382"/>
                  </a:lnTo>
                  <a:lnTo>
                    <a:pt x="4726" y="5318"/>
                  </a:lnTo>
                  <a:lnTo>
                    <a:pt x="4662" y="5318"/>
                  </a:lnTo>
                  <a:lnTo>
                    <a:pt x="4662" y="5382"/>
                  </a:lnTo>
                  <a:close/>
                  <a:moveTo>
                    <a:pt x="4662" y="5495"/>
                  </a:moveTo>
                  <a:lnTo>
                    <a:pt x="4726" y="5495"/>
                  </a:lnTo>
                  <a:lnTo>
                    <a:pt x="4726" y="5431"/>
                  </a:lnTo>
                  <a:lnTo>
                    <a:pt x="4662" y="5431"/>
                  </a:lnTo>
                  <a:lnTo>
                    <a:pt x="4662" y="5495"/>
                  </a:lnTo>
                  <a:close/>
                  <a:moveTo>
                    <a:pt x="4662" y="5609"/>
                  </a:moveTo>
                  <a:lnTo>
                    <a:pt x="4726" y="5609"/>
                  </a:lnTo>
                  <a:lnTo>
                    <a:pt x="4726" y="5545"/>
                  </a:lnTo>
                  <a:lnTo>
                    <a:pt x="4662" y="5545"/>
                  </a:lnTo>
                  <a:lnTo>
                    <a:pt x="4662" y="5609"/>
                  </a:lnTo>
                  <a:close/>
                  <a:moveTo>
                    <a:pt x="4662" y="5723"/>
                  </a:moveTo>
                  <a:lnTo>
                    <a:pt x="4726" y="5723"/>
                  </a:lnTo>
                  <a:lnTo>
                    <a:pt x="4726" y="5658"/>
                  </a:lnTo>
                  <a:lnTo>
                    <a:pt x="4662" y="5658"/>
                  </a:lnTo>
                  <a:lnTo>
                    <a:pt x="4662" y="5723"/>
                  </a:lnTo>
                  <a:close/>
                  <a:moveTo>
                    <a:pt x="4662" y="5833"/>
                  </a:moveTo>
                  <a:lnTo>
                    <a:pt x="4726" y="5833"/>
                  </a:lnTo>
                  <a:lnTo>
                    <a:pt x="4726" y="5769"/>
                  </a:lnTo>
                  <a:lnTo>
                    <a:pt x="4662" y="5769"/>
                  </a:lnTo>
                  <a:lnTo>
                    <a:pt x="4662" y="5833"/>
                  </a:lnTo>
                  <a:close/>
                  <a:moveTo>
                    <a:pt x="4662" y="5947"/>
                  </a:moveTo>
                  <a:lnTo>
                    <a:pt x="4726" y="5947"/>
                  </a:lnTo>
                  <a:lnTo>
                    <a:pt x="4726" y="5883"/>
                  </a:lnTo>
                  <a:lnTo>
                    <a:pt x="4662" y="5883"/>
                  </a:lnTo>
                  <a:lnTo>
                    <a:pt x="4662" y="5947"/>
                  </a:lnTo>
                  <a:close/>
                  <a:moveTo>
                    <a:pt x="4776" y="178"/>
                  </a:moveTo>
                  <a:lnTo>
                    <a:pt x="4841" y="178"/>
                  </a:lnTo>
                  <a:lnTo>
                    <a:pt x="4841" y="113"/>
                  </a:lnTo>
                  <a:lnTo>
                    <a:pt x="4776" y="113"/>
                  </a:lnTo>
                  <a:lnTo>
                    <a:pt x="4776" y="178"/>
                  </a:lnTo>
                  <a:close/>
                  <a:moveTo>
                    <a:pt x="4776" y="292"/>
                  </a:moveTo>
                  <a:lnTo>
                    <a:pt x="4841" y="292"/>
                  </a:lnTo>
                  <a:lnTo>
                    <a:pt x="4841" y="228"/>
                  </a:lnTo>
                  <a:lnTo>
                    <a:pt x="4776" y="228"/>
                  </a:lnTo>
                  <a:lnTo>
                    <a:pt x="4776" y="292"/>
                  </a:lnTo>
                  <a:close/>
                  <a:moveTo>
                    <a:pt x="4776" y="405"/>
                  </a:moveTo>
                  <a:lnTo>
                    <a:pt x="4841" y="405"/>
                  </a:lnTo>
                  <a:lnTo>
                    <a:pt x="4841" y="341"/>
                  </a:lnTo>
                  <a:lnTo>
                    <a:pt x="4776" y="341"/>
                  </a:lnTo>
                  <a:lnTo>
                    <a:pt x="4776" y="405"/>
                  </a:lnTo>
                  <a:close/>
                  <a:moveTo>
                    <a:pt x="4776" y="516"/>
                  </a:moveTo>
                  <a:lnTo>
                    <a:pt x="4841" y="516"/>
                  </a:lnTo>
                  <a:lnTo>
                    <a:pt x="4841" y="452"/>
                  </a:lnTo>
                  <a:lnTo>
                    <a:pt x="4776" y="452"/>
                  </a:lnTo>
                  <a:lnTo>
                    <a:pt x="4776" y="516"/>
                  </a:lnTo>
                  <a:close/>
                  <a:moveTo>
                    <a:pt x="4776" y="630"/>
                  </a:moveTo>
                  <a:lnTo>
                    <a:pt x="4841" y="630"/>
                  </a:lnTo>
                  <a:lnTo>
                    <a:pt x="4841" y="565"/>
                  </a:lnTo>
                  <a:lnTo>
                    <a:pt x="4776" y="565"/>
                  </a:lnTo>
                  <a:lnTo>
                    <a:pt x="4776" y="630"/>
                  </a:lnTo>
                  <a:close/>
                  <a:moveTo>
                    <a:pt x="4776" y="744"/>
                  </a:moveTo>
                  <a:lnTo>
                    <a:pt x="4841" y="744"/>
                  </a:lnTo>
                  <a:lnTo>
                    <a:pt x="4841" y="679"/>
                  </a:lnTo>
                  <a:lnTo>
                    <a:pt x="4776" y="679"/>
                  </a:lnTo>
                  <a:lnTo>
                    <a:pt x="4776" y="744"/>
                  </a:lnTo>
                  <a:close/>
                  <a:moveTo>
                    <a:pt x="4776" y="857"/>
                  </a:moveTo>
                  <a:lnTo>
                    <a:pt x="4841" y="857"/>
                  </a:lnTo>
                  <a:lnTo>
                    <a:pt x="4841" y="792"/>
                  </a:lnTo>
                  <a:lnTo>
                    <a:pt x="4776" y="792"/>
                  </a:lnTo>
                  <a:lnTo>
                    <a:pt x="4776" y="857"/>
                  </a:lnTo>
                  <a:close/>
                  <a:moveTo>
                    <a:pt x="4776" y="969"/>
                  </a:moveTo>
                  <a:lnTo>
                    <a:pt x="4841" y="969"/>
                  </a:lnTo>
                  <a:lnTo>
                    <a:pt x="4841" y="904"/>
                  </a:lnTo>
                  <a:lnTo>
                    <a:pt x="4776" y="904"/>
                  </a:lnTo>
                  <a:lnTo>
                    <a:pt x="4776" y="969"/>
                  </a:lnTo>
                  <a:close/>
                  <a:moveTo>
                    <a:pt x="4776" y="1082"/>
                  </a:moveTo>
                  <a:lnTo>
                    <a:pt x="4841" y="1082"/>
                  </a:lnTo>
                  <a:lnTo>
                    <a:pt x="4841" y="1018"/>
                  </a:lnTo>
                  <a:lnTo>
                    <a:pt x="4776" y="1018"/>
                  </a:lnTo>
                  <a:lnTo>
                    <a:pt x="4776" y="1082"/>
                  </a:lnTo>
                  <a:close/>
                  <a:moveTo>
                    <a:pt x="4776" y="1197"/>
                  </a:moveTo>
                  <a:lnTo>
                    <a:pt x="4841" y="1197"/>
                  </a:lnTo>
                  <a:lnTo>
                    <a:pt x="4841" y="1132"/>
                  </a:lnTo>
                  <a:lnTo>
                    <a:pt x="4776" y="1132"/>
                  </a:lnTo>
                  <a:lnTo>
                    <a:pt x="4776" y="1197"/>
                  </a:lnTo>
                  <a:close/>
                  <a:moveTo>
                    <a:pt x="4776" y="1309"/>
                  </a:moveTo>
                  <a:lnTo>
                    <a:pt x="4841" y="1309"/>
                  </a:lnTo>
                  <a:lnTo>
                    <a:pt x="4841" y="1245"/>
                  </a:lnTo>
                  <a:lnTo>
                    <a:pt x="4776" y="1245"/>
                  </a:lnTo>
                  <a:lnTo>
                    <a:pt x="4776" y="1309"/>
                  </a:lnTo>
                  <a:close/>
                  <a:moveTo>
                    <a:pt x="4776" y="1420"/>
                  </a:moveTo>
                  <a:lnTo>
                    <a:pt x="4841" y="1420"/>
                  </a:lnTo>
                  <a:lnTo>
                    <a:pt x="4841" y="1357"/>
                  </a:lnTo>
                  <a:lnTo>
                    <a:pt x="4776" y="1357"/>
                  </a:lnTo>
                  <a:lnTo>
                    <a:pt x="4776" y="1420"/>
                  </a:lnTo>
                  <a:close/>
                  <a:moveTo>
                    <a:pt x="4776" y="1534"/>
                  </a:moveTo>
                  <a:lnTo>
                    <a:pt x="4841" y="1534"/>
                  </a:lnTo>
                  <a:lnTo>
                    <a:pt x="4841" y="1469"/>
                  </a:lnTo>
                  <a:lnTo>
                    <a:pt x="4776" y="1469"/>
                  </a:lnTo>
                  <a:lnTo>
                    <a:pt x="4776" y="1534"/>
                  </a:lnTo>
                  <a:close/>
                  <a:moveTo>
                    <a:pt x="4776" y="1648"/>
                  </a:moveTo>
                  <a:lnTo>
                    <a:pt x="4841" y="1648"/>
                  </a:lnTo>
                  <a:lnTo>
                    <a:pt x="4841" y="1584"/>
                  </a:lnTo>
                  <a:lnTo>
                    <a:pt x="4776" y="1584"/>
                  </a:lnTo>
                  <a:lnTo>
                    <a:pt x="4776" y="1648"/>
                  </a:lnTo>
                  <a:close/>
                  <a:moveTo>
                    <a:pt x="4776" y="1761"/>
                  </a:moveTo>
                  <a:lnTo>
                    <a:pt x="4841" y="1761"/>
                  </a:lnTo>
                  <a:lnTo>
                    <a:pt x="4841" y="1697"/>
                  </a:lnTo>
                  <a:lnTo>
                    <a:pt x="4776" y="1697"/>
                  </a:lnTo>
                  <a:lnTo>
                    <a:pt x="4776" y="1761"/>
                  </a:lnTo>
                  <a:close/>
                  <a:moveTo>
                    <a:pt x="4776" y="1878"/>
                  </a:moveTo>
                  <a:lnTo>
                    <a:pt x="4841" y="1878"/>
                  </a:lnTo>
                  <a:lnTo>
                    <a:pt x="4841" y="1814"/>
                  </a:lnTo>
                  <a:lnTo>
                    <a:pt x="4776" y="1814"/>
                  </a:lnTo>
                  <a:lnTo>
                    <a:pt x="4776" y="1878"/>
                  </a:lnTo>
                  <a:close/>
                  <a:moveTo>
                    <a:pt x="4776" y="1992"/>
                  </a:moveTo>
                  <a:lnTo>
                    <a:pt x="4841" y="1992"/>
                  </a:lnTo>
                  <a:lnTo>
                    <a:pt x="4841" y="1928"/>
                  </a:lnTo>
                  <a:lnTo>
                    <a:pt x="4776" y="1928"/>
                  </a:lnTo>
                  <a:lnTo>
                    <a:pt x="4776" y="1992"/>
                  </a:lnTo>
                  <a:close/>
                  <a:moveTo>
                    <a:pt x="4776" y="2106"/>
                  </a:moveTo>
                  <a:lnTo>
                    <a:pt x="4841" y="2106"/>
                  </a:lnTo>
                  <a:lnTo>
                    <a:pt x="4841" y="2042"/>
                  </a:lnTo>
                  <a:lnTo>
                    <a:pt x="4776" y="2042"/>
                  </a:lnTo>
                  <a:lnTo>
                    <a:pt x="4776" y="2106"/>
                  </a:lnTo>
                  <a:close/>
                  <a:moveTo>
                    <a:pt x="4776" y="2217"/>
                  </a:moveTo>
                  <a:lnTo>
                    <a:pt x="4841" y="2217"/>
                  </a:lnTo>
                  <a:lnTo>
                    <a:pt x="4841" y="2152"/>
                  </a:lnTo>
                  <a:lnTo>
                    <a:pt x="4776" y="2152"/>
                  </a:lnTo>
                  <a:lnTo>
                    <a:pt x="4776" y="2217"/>
                  </a:lnTo>
                  <a:close/>
                  <a:moveTo>
                    <a:pt x="4776" y="2330"/>
                  </a:moveTo>
                  <a:lnTo>
                    <a:pt x="4841" y="2330"/>
                  </a:lnTo>
                  <a:lnTo>
                    <a:pt x="4841" y="2265"/>
                  </a:lnTo>
                  <a:lnTo>
                    <a:pt x="4776" y="2265"/>
                  </a:lnTo>
                  <a:lnTo>
                    <a:pt x="4776" y="2330"/>
                  </a:lnTo>
                  <a:close/>
                  <a:moveTo>
                    <a:pt x="4776" y="2444"/>
                  </a:moveTo>
                  <a:lnTo>
                    <a:pt x="4841" y="2444"/>
                  </a:lnTo>
                  <a:lnTo>
                    <a:pt x="4841" y="2380"/>
                  </a:lnTo>
                  <a:lnTo>
                    <a:pt x="4776" y="2380"/>
                  </a:lnTo>
                  <a:lnTo>
                    <a:pt x="4776" y="2444"/>
                  </a:lnTo>
                  <a:close/>
                  <a:moveTo>
                    <a:pt x="4776" y="2558"/>
                  </a:moveTo>
                  <a:lnTo>
                    <a:pt x="4841" y="2558"/>
                  </a:lnTo>
                  <a:lnTo>
                    <a:pt x="4841" y="2493"/>
                  </a:lnTo>
                  <a:lnTo>
                    <a:pt x="4776" y="2493"/>
                  </a:lnTo>
                  <a:lnTo>
                    <a:pt x="4776" y="2558"/>
                  </a:lnTo>
                  <a:close/>
                  <a:moveTo>
                    <a:pt x="4776" y="2669"/>
                  </a:moveTo>
                  <a:lnTo>
                    <a:pt x="4841" y="2669"/>
                  </a:lnTo>
                  <a:lnTo>
                    <a:pt x="4841" y="2605"/>
                  </a:lnTo>
                  <a:lnTo>
                    <a:pt x="4776" y="2605"/>
                  </a:lnTo>
                  <a:lnTo>
                    <a:pt x="4776" y="2669"/>
                  </a:lnTo>
                  <a:close/>
                  <a:moveTo>
                    <a:pt x="4776" y="5382"/>
                  </a:moveTo>
                  <a:lnTo>
                    <a:pt x="4841" y="5382"/>
                  </a:lnTo>
                  <a:lnTo>
                    <a:pt x="4841" y="5318"/>
                  </a:lnTo>
                  <a:lnTo>
                    <a:pt x="4776" y="5318"/>
                  </a:lnTo>
                  <a:lnTo>
                    <a:pt x="4776" y="5382"/>
                  </a:lnTo>
                  <a:close/>
                  <a:moveTo>
                    <a:pt x="4776" y="5495"/>
                  </a:moveTo>
                  <a:lnTo>
                    <a:pt x="4841" y="5495"/>
                  </a:lnTo>
                  <a:lnTo>
                    <a:pt x="4841" y="5431"/>
                  </a:lnTo>
                  <a:lnTo>
                    <a:pt x="4776" y="5431"/>
                  </a:lnTo>
                  <a:lnTo>
                    <a:pt x="4776" y="5495"/>
                  </a:lnTo>
                  <a:close/>
                  <a:moveTo>
                    <a:pt x="4776" y="5609"/>
                  </a:moveTo>
                  <a:lnTo>
                    <a:pt x="4841" y="5609"/>
                  </a:lnTo>
                  <a:lnTo>
                    <a:pt x="4841" y="5545"/>
                  </a:lnTo>
                  <a:lnTo>
                    <a:pt x="4776" y="5545"/>
                  </a:lnTo>
                  <a:lnTo>
                    <a:pt x="4776" y="5609"/>
                  </a:lnTo>
                  <a:close/>
                  <a:moveTo>
                    <a:pt x="4776" y="5723"/>
                  </a:moveTo>
                  <a:lnTo>
                    <a:pt x="4841" y="5723"/>
                  </a:lnTo>
                  <a:lnTo>
                    <a:pt x="4841" y="5658"/>
                  </a:lnTo>
                  <a:lnTo>
                    <a:pt x="4776" y="5658"/>
                  </a:lnTo>
                  <a:lnTo>
                    <a:pt x="4776" y="5723"/>
                  </a:lnTo>
                  <a:close/>
                  <a:moveTo>
                    <a:pt x="4776" y="5833"/>
                  </a:moveTo>
                  <a:lnTo>
                    <a:pt x="4841" y="5833"/>
                  </a:lnTo>
                  <a:lnTo>
                    <a:pt x="4841" y="5769"/>
                  </a:lnTo>
                  <a:lnTo>
                    <a:pt x="4776" y="5769"/>
                  </a:lnTo>
                  <a:lnTo>
                    <a:pt x="4776" y="5833"/>
                  </a:lnTo>
                  <a:close/>
                  <a:moveTo>
                    <a:pt x="4776" y="5947"/>
                  </a:moveTo>
                  <a:lnTo>
                    <a:pt x="4841" y="5947"/>
                  </a:lnTo>
                  <a:lnTo>
                    <a:pt x="4841" y="5883"/>
                  </a:lnTo>
                  <a:lnTo>
                    <a:pt x="4776" y="5883"/>
                  </a:lnTo>
                  <a:lnTo>
                    <a:pt x="4776" y="5947"/>
                  </a:lnTo>
                  <a:close/>
                  <a:moveTo>
                    <a:pt x="4889" y="178"/>
                  </a:moveTo>
                  <a:lnTo>
                    <a:pt x="4953" y="178"/>
                  </a:lnTo>
                  <a:lnTo>
                    <a:pt x="4953" y="113"/>
                  </a:lnTo>
                  <a:lnTo>
                    <a:pt x="4889" y="113"/>
                  </a:lnTo>
                  <a:lnTo>
                    <a:pt x="4889" y="178"/>
                  </a:lnTo>
                  <a:close/>
                  <a:moveTo>
                    <a:pt x="4889" y="292"/>
                  </a:moveTo>
                  <a:lnTo>
                    <a:pt x="4953" y="292"/>
                  </a:lnTo>
                  <a:lnTo>
                    <a:pt x="4953" y="228"/>
                  </a:lnTo>
                  <a:lnTo>
                    <a:pt x="4889" y="228"/>
                  </a:lnTo>
                  <a:lnTo>
                    <a:pt x="4889" y="292"/>
                  </a:lnTo>
                  <a:close/>
                  <a:moveTo>
                    <a:pt x="4889" y="405"/>
                  </a:moveTo>
                  <a:lnTo>
                    <a:pt x="4953" y="405"/>
                  </a:lnTo>
                  <a:lnTo>
                    <a:pt x="4953" y="341"/>
                  </a:lnTo>
                  <a:lnTo>
                    <a:pt x="4889" y="341"/>
                  </a:lnTo>
                  <a:lnTo>
                    <a:pt x="4889" y="405"/>
                  </a:lnTo>
                  <a:close/>
                  <a:moveTo>
                    <a:pt x="4889" y="516"/>
                  </a:moveTo>
                  <a:lnTo>
                    <a:pt x="4953" y="516"/>
                  </a:lnTo>
                  <a:lnTo>
                    <a:pt x="4953" y="452"/>
                  </a:lnTo>
                  <a:lnTo>
                    <a:pt x="4889" y="452"/>
                  </a:lnTo>
                  <a:lnTo>
                    <a:pt x="4889" y="516"/>
                  </a:lnTo>
                  <a:close/>
                  <a:moveTo>
                    <a:pt x="4889" y="630"/>
                  </a:moveTo>
                  <a:lnTo>
                    <a:pt x="4953" y="630"/>
                  </a:lnTo>
                  <a:lnTo>
                    <a:pt x="4953" y="565"/>
                  </a:lnTo>
                  <a:lnTo>
                    <a:pt x="4889" y="565"/>
                  </a:lnTo>
                  <a:lnTo>
                    <a:pt x="4889" y="630"/>
                  </a:lnTo>
                  <a:close/>
                  <a:moveTo>
                    <a:pt x="4889" y="744"/>
                  </a:moveTo>
                  <a:lnTo>
                    <a:pt x="4953" y="744"/>
                  </a:lnTo>
                  <a:lnTo>
                    <a:pt x="4953" y="679"/>
                  </a:lnTo>
                  <a:lnTo>
                    <a:pt x="4889" y="679"/>
                  </a:lnTo>
                  <a:lnTo>
                    <a:pt x="4889" y="744"/>
                  </a:lnTo>
                  <a:close/>
                  <a:moveTo>
                    <a:pt x="4889" y="857"/>
                  </a:moveTo>
                  <a:lnTo>
                    <a:pt x="4953" y="857"/>
                  </a:lnTo>
                  <a:lnTo>
                    <a:pt x="4953" y="792"/>
                  </a:lnTo>
                  <a:lnTo>
                    <a:pt x="4889" y="792"/>
                  </a:lnTo>
                  <a:lnTo>
                    <a:pt x="4889" y="857"/>
                  </a:lnTo>
                  <a:close/>
                  <a:moveTo>
                    <a:pt x="4889" y="969"/>
                  </a:moveTo>
                  <a:lnTo>
                    <a:pt x="4953" y="969"/>
                  </a:lnTo>
                  <a:lnTo>
                    <a:pt x="4953" y="904"/>
                  </a:lnTo>
                  <a:lnTo>
                    <a:pt x="4889" y="904"/>
                  </a:lnTo>
                  <a:lnTo>
                    <a:pt x="4889" y="969"/>
                  </a:lnTo>
                  <a:close/>
                  <a:moveTo>
                    <a:pt x="4889" y="1082"/>
                  </a:moveTo>
                  <a:lnTo>
                    <a:pt x="4953" y="1082"/>
                  </a:lnTo>
                  <a:lnTo>
                    <a:pt x="4953" y="1018"/>
                  </a:lnTo>
                  <a:lnTo>
                    <a:pt x="4889" y="1018"/>
                  </a:lnTo>
                  <a:lnTo>
                    <a:pt x="4889" y="1082"/>
                  </a:lnTo>
                  <a:close/>
                  <a:moveTo>
                    <a:pt x="4889" y="1197"/>
                  </a:moveTo>
                  <a:lnTo>
                    <a:pt x="4953" y="1197"/>
                  </a:lnTo>
                  <a:lnTo>
                    <a:pt x="4953" y="1132"/>
                  </a:lnTo>
                  <a:lnTo>
                    <a:pt x="4889" y="1132"/>
                  </a:lnTo>
                  <a:lnTo>
                    <a:pt x="4889" y="1197"/>
                  </a:lnTo>
                  <a:close/>
                  <a:moveTo>
                    <a:pt x="4889" y="1309"/>
                  </a:moveTo>
                  <a:lnTo>
                    <a:pt x="4953" y="1309"/>
                  </a:lnTo>
                  <a:lnTo>
                    <a:pt x="4953" y="1245"/>
                  </a:lnTo>
                  <a:lnTo>
                    <a:pt x="4889" y="1245"/>
                  </a:lnTo>
                  <a:lnTo>
                    <a:pt x="4889" y="1309"/>
                  </a:lnTo>
                  <a:close/>
                  <a:moveTo>
                    <a:pt x="4889" y="1420"/>
                  </a:moveTo>
                  <a:lnTo>
                    <a:pt x="4953" y="1420"/>
                  </a:lnTo>
                  <a:lnTo>
                    <a:pt x="4953" y="1357"/>
                  </a:lnTo>
                  <a:lnTo>
                    <a:pt x="4889" y="1357"/>
                  </a:lnTo>
                  <a:lnTo>
                    <a:pt x="4889" y="1420"/>
                  </a:lnTo>
                  <a:close/>
                  <a:moveTo>
                    <a:pt x="4889" y="1534"/>
                  </a:moveTo>
                  <a:lnTo>
                    <a:pt x="4953" y="1534"/>
                  </a:lnTo>
                  <a:lnTo>
                    <a:pt x="4953" y="1469"/>
                  </a:lnTo>
                  <a:lnTo>
                    <a:pt x="4889" y="1469"/>
                  </a:lnTo>
                  <a:lnTo>
                    <a:pt x="4889" y="1534"/>
                  </a:lnTo>
                  <a:close/>
                  <a:moveTo>
                    <a:pt x="4889" y="1648"/>
                  </a:moveTo>
                  <a:lnTo>
                    <a:pt x="4953" y="1648"/>
                  </a:lnTo>
                  <a:lnTo>
                    <a:pt x="4953" y="1584"/>
                  </a:lnTo>
                  <a:lnTo>
                    <a:pt x="4889" y="1584"/>
                  </a:lnTo>
                  <a:lnTo>
                    <a:pt x="4889" y="1648"/>
                  </a:lnTo>
                  <a:close/>
                  <a:moveTo>
                    <a:pt x="4889" y="1761"/>
                  </a:moveTo>
                  <a:lnTo>
                    <a:pt x="4953" y="1761"/>
                  </a:lnTo>
                  <a:lnTo>
                    <a:pt x="4953" y="1697"/>
                  </a:lnTo>
                  <a:lnTo>
                    <a:pt x="4889" y="1697"/>
                  </a:lnTo>
                  <a:lnTo>
                    <a:pt x="4889" y="1761"/>
                  </a:lnTo>
                  <a:close/>
                  <a:moveTo>
                    <a:pt x="4889" y="1878"/>
                  </a:moveTo>
                  <a:lnTo>
                    <a:pt x="4953" y="1878"/>
                  </a:lnTo>
                  <a:lnTo>
                    <a:pt x="4953" y="1814"/>
                  </a:lnTo>
                  <a:lnTo>
                    <a:pt x="4889" y="1814"/>
                  </a:lnTo>
                  <a:lnTo>
                    <a:pt x="4889" y="1878"/>
                  </a:lnTo>
                  <a:close/>
                  <a:moveTo>
                    <a:pt x="4889" y="1992"/>
                  </a:moveTo>
                  <a:lnTo>
                    <a:pt x="4953" y="1992"/>
                  </a:lnTo>
                  <a:lnTo>
                    <a:pt x="4953" y="1928"/>
                  </a:lnTo>
                  <a:lnTo>
                    <a:pt x="4889" y="1928"/>
                  </a:lnTo>
                  <a:lnTo>
                    <a:pt x="4889" y="1992"/>
                  </a:lnTo>
                  <a:close/>
                  <a:moveTo>
                    <a:pt x="4889" y="2106"/>
                  </a:moveTo>
                  <a:lnTo>
                    <a:pt x="4953" y="2106"/>
                  </a:lnTo>
                  <a:lnTo>
                    <a:pt x="4953" y="2042"/>
                  </a:lnTo>
                  <a:lnTo>
                    <a:pt x="4889" y="2042"/>
                  </a:lnTo>
                  <a:lnTo>
                    <a:pt x="4889" y="2106"/>
                  </a:lnTo>
                  <a:close/>
                  <a:moveTo>
                    <a:pt x="4889" y="2217"/>
                  </a:moveTo>
                  <a:lnTo>
                    <a:pt x="4953" y="2217"/>
                  </a:lnTo>
                  <a:lnTo>
                    <a:pt x="4953" y="2152"/>
                  </a:lnTo>
                  <a:lnTo>
                    <a:pt x="4889" y="2152"/>
                  </a:lnTo>
                  <a:lnTo>
                    <a:pt x="4889" y="2217"/>
                  </a:lnTo>
                  <a:close/>
                  <a:moveTo>
                    <a:pt x="4889" y="2330"/>
                  </a:moveTo>
                  <a:lnTo>
                    <a:pt x="4953" y="2330"/>
                  </a:lnTo>
                  <a:lnTo>
                    <a:pt x="4953" y="2265"/>
                  </a:lnTo>
                  <a:lnTo>
                    <a:pt x="4889" y="2265"/>
                  </a:lnTo>
                  <a:lnTo>
                    <a:pt x="4889" y="2330"/>
                  </a:lnTo>
                  <a:close/>
                  <a:moveTo>
                    <a:pt x="4889" y="5382"/>
                  </a:moveTo>
                  <a:lnTo>
                    <a:pt x="4953" y="5382"/>
                  </a:lnTo>
                  <a:lnTo>
                    <a:pt x="4953" y="5318"/>
                  </a:lnTo>
                  <a:lnTo>
                    <a:pt x="4889" y="5318"/>
                  </a:lnTo>
                  <a:lnTo>
                    <a:pt x="4889" y="5382"/>
                  </a:lnTo>
                  <a:close/>
                  <a:moveTo>
                    <a:pt x="4889" y="5495"/>
                  </a:moveTo>
                  <a:lnTo>
                    <a:pt x="4953" y="5495"/>
                  </a:lnTo>
                  <a:lnTo>
                    <a:pt x="4953" y="5431"/>
                  </a:lnTo>
                  <a:lnTo>
                    <a:pt x="4889" y="5431"/>
                  </a:lnTo>
                  <a:lnTo>
                    <a:pt x="4889" y="5495"/>
                  </a:lnTo>
                  <a:close/>
                  <a:moveTo>
                    <a:pt x="4889" y="5609"/>
                  </a:moveTo>
                  <a:lnTo>
                    <a:pt x="4953" y="5609"/>
                  </a:lnTo>
                  <a:lnTo>
                    <a:pt x="4953" y="5545"/>
                  </a:lnTo>
                  <a:lnTo>
                    <a:pt x="4889" y="5545"/>
                  </a:lnTo>
                  <a:lnTo>
                    <a:pt x="4889" y="5609"/>
                  </a:lnTo>
                  <a:close/>
                  <a:moveTo>
                    <a:pt x="4889" y="5723"/>
                  </a:moveTo>
                  <a:lnTo>
                    <a:pt x="4953" y="5723"/>
                  </a:lnTo>
                  <a:lnTo>
                    <a:pt x="4953" y="5658"/>
                  </a:lnTo>
                  <a:lnTo>
                    <a:pt x="4889" y="5658"/>
                  </a:lnTo>
                  <a:lnTo>
                    <a:pt x="4889" y="5723"/>
                  </a:lnTo>
                  <a:close/>
                  <a:moveTo>
                    <a:pt x="5003" y="405"/>
                  </a:moveTo>
                  <a:lnTo>
                    <a:pt x="5067" y="405"/>
                  </a:lnTo>
                  <a:lnTo>
                    <a:pt x="5067" y="341"/>
                  </a:lnTo>
                  <a:lnTo>
                    <a:pt x="5003" y="341"/>
                  </a:lnTo>
                  <a:lnTo>
                    <a:pt x="5003" y="405"/>
                  </a:lnTo>
                  <a:close/>
                  <a:moveTo>
                    <a:pt x="5003" y="516"/>
                  </a:moveTo>
                  <a:lnTo>
                    <a:pt x="5067" y="516"/>
                  </a:lnTo>
                  <a:lnTo>
                    <a:pt x="5067" y="452"/>
                  </a:lnTo>
                  <a:lnTo>
                    <a:pt x="5003" y="452"/>
                  </a:lnTo>
                  <a:lnTo>
                    <a:pt x="5003" y="516"/>
                  </a:lnTo>
                  <a:close/>
                  <a:moveTo>
                    <a:pt x="5003" y="630"/>
                  </a:moveTo>
                  <a:lnTo>
                    <a:pt x="5067" y="630"/>
                  </a:lnTo>
                  <a:lnTo>
                    <a:pt x="5067" y="565"/>
                  </a:lnTo>
                  <a:lnTo>
                    <a:pt x="5003" y="565"/>
                  </a:lnTo>
                  <a:lnTo>
                    <a:pt x="5003" y="630"/>
                  </a:lnTo>
                  <a:close/>
                  <a:moveTo>
                    <a:pt x="5003" y="744"/>
                  </a:moveTo>
                  <a:lnTo>
                    <a:pt x="5067" y="744"/>
                  </a:lnTo>
                  <a:lnTo>
                    <a:pt x="5067" y="679"/>
                  </a:lnTo>
                  <a:lnTo>
                    <a:pt x="5003" y="679"/>
                  </a:lnTo>
                  <a:lnTo>
                    <a:pt x="5003" y="744"/>
                  </a:lnTo>
                  <a:close/>
                  <a:moveTo>
                    <a:pt x="5003" y="857"/>
                  </a:moveTo>
                  <a:lnTo>
                    <a:pt x="5067" y="857"/>
                  </a:lnTo>
                  <a:lnTo>
                    <a:pt x="5067" y="792"/>
                  </a:lnTo>
                  <a:lnTo>
                    <a:pt x="5003" y="792"/>
                  </a:lnTo>
                  <a:lnTo>
                    <a:pt x="5003" y="857"/>
                  </a:lnTo>
                  <a:close/>
                  <a:moveTo>
                    <a:pt x="5003" y="969"/>
                  </a:moveTo>
                  <a:lnTo>
                    <a:pt x="5067" y="969"/>
                  </a:lnTo>
                  <a:lnTo>
                    <a:pt x="5067" y="904"/>
                  </a:lnTo>
                  <a:lnTo>
                    <a:pt x="5003" y="904"/>
                  </a:lnTo>
                  <a:lnTo>
                    <a:pt x="5003" y="969"/>
                  </a:lnTo>
                  <a:close/>
                  <a:moveTo>
                    <a:pt x="5003" y="1082"/>
                  </a:moveTo>
                  <a:lnTo>
                    <a:pt x="5067" y="1082"/>
                  </a:lnTo>
                  <a:lnTo>
                    <a:pt x="5067" y="1018"/>
                  </a:lnTo>
                  <a:lnTo>
                    <a:pt x="5003" y="1018"/>
                  </a:lnTo>
                  <a:lnTo>
                    <a:pt x="5003" y="1082"/>
                  </a:lnTo>
                  <a:close/>
                  <a:moveTo>
                    <a:pt x="5003" y="1197"/>
                  </a:moveTo>
                  <a:lnTo>
                    <a:pt x="5067" y="1197"/>
                  </a:lnTo>
                  <a:lnTo>
                    <a:pt x="5067" y="1132"/>
                  </a:lnTo>
                  <a:lnTo>
                    <a:pt x="5003" y="1132"/>
                  </a:lnTo>
                  <a:lnTo>
                    <a:pt x="5003" y="1197"/>
                  </a:lnTo>
                  <a:close/>
                  <a:moveTo>
                    <a:pt x="5003" y="1309"/>
                  </a:moveTo>
                  <a:lnTo>
                    <a:pt x="5067" y="1309"/>
                  </a:lnTo>
                  <a:lnTo>
                    <a:pt x="5067" y="1245"/>
                  </a:lnTo>
                  <a:lnTo>
                    <a:pt x="5003" y="1245"/>
                  </a:lnTo>
                  <a:lnTo>
                    <a:pt x="5003" y="1309"/>
                  </a:lnTo>
                  <a:close/>
                  <a:moveTo>
                    <a:pt x="5003" y="1420"/>
                  </a:moveTo>
                  <a:lnTo>
                    <a:pt x="5067" y="1420"/>
                  </a:lnTo>
                  <a:lnTo>
                    <a:pt x="5067" y="1357"/>
                  </a:lnTo>
                  <a:lnTo>
                    <a:pt x="5003" y="1357"/>
                  </a:lnTo>
                  <a:lnTo>
                    <a:pt x="5003" y="1420"/>
                  </a:lnTo>
                  <a:close/>
                  <a:moveTo>
                    <a:pt x="5003" y="1534"/>
                  </a:moveTo>
                  <a:lnTo>
                    <a:pt x="5067" y="1534"/>
                  </a:lnTo>
                  <a:lnTo>
                    <a:pt x="5067" y="1469"/>
                  </a:lnTo>
                  <a:lnTo>
                    <a:pt x="5003" y="1469"/>
                  </a:lnTo>
                  <a:lnTo>
                    <a:pt x="5003" y="1534"/>
                  </a:lnTo>
                  <a:close/>
                  <a:moveTo>
                    <a:pt x="5003" y="1648"/>
                  </a:moveTo>
                  <a:lnTo>
                    <a:pt x="5067" y="1648"/>
                  </a:lnTo>
                  <a:lnTo>
                    <a:pt x="5067" y="1584"/>
                  </a:lnTo>
                  <a:lnTo>
                    <a:pt x="5003" y="1584"/>
                  </a:lnTo>
                  <a:lnTo>
                    <a:pt x="5003" y="1648"/>
                  </a:lnTo>
                  <a:close/>
                  <a:moveTo>
                    <a:pt x="5003" y="1761"/>
                  </a:moveTo>
                  <a:lnTo>
                    <a:pt x="5067" y="1761"/>
                  </a:lnTo>
                  <a:lnTo>
                    <a:pt x="5067" y="1697"/>
                  </a:lnTo>
                  <a:lnTo>
                    <a:pt x="5003" y="1697"/>
                  </a:lnTo>
                  <a:lnTo>
                    <a:pt x="5003" y="1761"/>
                  </a:lnTo>
                  <a:close/>
                  <a:moveTo>
                    <a:pt x="5003" y="1878"/>
                  </a:moveTo>
                  <a:lnTo>
                    <a:pt x="5067" y="1878"/>
                  </a:lnTo>
                  <a:lnTo>
                    <a:pt x="5067" y="1814"/>
                  </a:lnTo>
                  <a:lnTo>
                    <a:pt x="5003" y="1814"/>
                  </a:lnTo>
                  <a:lnTo>
                    <a:pt x="5003" y="1878"/>
                  </a:lnTo>
                  <a:close/>
                  <a:moveTo>
                    <a:pt x="5003" y="1992"/>
                  </a:moveTo>
                  <a:lnTo>
                    <a:pt x="5067" y="1992"/>
                  </a:lnTo>
                  <a:lnTo>
                    <a:pt x="5067" y="1928"/>
                  </a:lnTo>
                  <a:lnTo>
                    <a:pt x="5003" y="1928"/>
                  </a:lnTo>
                  <a:lnTo>
                    <a:pt x="5003" y="1992"/>
                  </a:lnTo>
                  <a:close/>
                  <a:moveTo>
                    <a:pt x="5003" y="2106"/>
                  </a:moveTo>
                  <a:lnTo>
                    <a:pt x="5067" y="2106"/>
                  </a:lnTo>
                  <a:lnTo>
                    <a:pt x="5067" y="2042"/>
                  </a:lnTo>
                  <a:lnTo>
                    <a:pt x="5003" y="2042"/>
                  </a:lnTo>
                  <a:lnTo>
                    <a:pt x="5003" y="2106"/>
                  </a:lnTo>
                  <a:close/>
                  <a:moveTo>
                    <a:pt x="5003" y="2217"/>
                  </a:moveTo>
                  <a:lnTo>
                    <a:pt x="5067" y="2217"/>
                  </a:lnTo>
                  <a:lnTo>
                    <a:pt x="5067" y="2152"/>
                  </a:lnTo>
                  <a:lnTo>
                    <a:pt x="5003" y="2152"/>
                  </a:lnTo>
                  <a:lnTo>
                    <a:pt x="5003" y="2217"/>
                  </a:lnTo>
                  <a:close/>
                  <a:moveTo>
                    <a:pt x="5003" y="5495"/>
                  </a:moveTo>
                  <a:lnTo>
                    <a:pt x="5067" y="5495"/>
                  </a:lnTo>
                  <a:lnTo>
                    <a:pt x="5067" y="5431"/>
                  </a:lnTo>
                  <a:lnTo>
                    <a:pt x="5003" y="5431"/>
                  </a:lnTo>
                  <a:lnTo>
                    <a:pt x="5003" y="5495"/>
                  </a:lnTo>
                  <a:close/>
                  <a:moveTo>
                    <a:pt x="5117" y="405"/>
                  </a:moveTo>
                  <a:lnTo>
                    <a:pt x="5181" y="405"/>
                  </a:lnTo>
                  <a:lnTo>
                    <a:pt x="5181" y="341"/>
                  </a:lnTo>
                  <a:lnTo>
                    <a:pt x="5117" y="341"/>
                  </a:lnTo>
                  <a:lnTo>
                    <a:pt x="5117" y="405"/>
                  </a:lnTo>
                  <a:close/>
                  <a:moveTo>
                    <a:pt x="5117" y="516"/>
                  </a:moveTo>
                  <a:lnTo>
                    <a:pt x="5181" y="516"/>
                  </a:lnTo>
                  <a:lnTo>
                    <a:pt x="5181" y="452"/>
                  </a:lnTo>
                  <a:lnTo>
                    <a:pt x="5117" y="452"/>
                  </a:lnTo>
                  <a:lnTo>
                    <a:pt x="5117" y="516"/>
                  </a:lnTo>
                  <a:close/>
                  <a:moveTo>
                    <a:pt x="5117" y="630"/>
                  </a:moveTo>
                  <a:lnTo>
                    <a:pt x="5181" y="630"/>
                  </a:lnTo>
                  <a:lnTo>
                    <a:pt x="5181" y="565"/>
                  </a:lnTo>
                  <a:lnTo>
                    <a:pt x="5117" y="565"/>
                  </a:lnTo>
                  <a:lnTo>
                    <a:pt x="5117" y="630"/>
                  </a:lnTo>
                  <a:close/>
                  <a:moveTo>
                    <a:pt x="5117" y="744"/>
                  </a:moveTo>
                  <a:lnTo>
                    <a:pt x="5181" y="744"/>
                  </a:lnTo>
                  <a:lnTo>
                    <a:pt x="5181" y="679"/>
                  </a:lnTo>
                  <a:lnTo>
                    <a:pt x="5117" y="679"/>
                  </a:lnTo>
                  <a:lnTo>
                    <a:pt x="5117" y="744"/>
                  </a:lnTo>
                  <a:close/>
                  <a:moveTo>
                    <a:pt x="5117" y="857"/>
                  </a:moveTo>
                  <a:lnTo>
                    <a:pt x="5181" y="857"/>
                  </a:lnTo>
                  <a:lnTo>
                    <a:pt x="5181" y="792"/>
                  </a:lnTo>
                  <a:lnTo>
                    <a:pt x="5117" y="792"/>
                  </a:lnTo>
                  <a:lnTo>
                    <a:pt x="5117" y="857"/>
                  </a:lnTo>
                  <a:close/>
                  <a:moveTo>
                    <a:pt x="5117" y="969"/>
                  </a:moveTo>
                  <a:lnTo>
                    <a:pt x="5181" y="969"/>
                  </a:lnTo>
                  <a:lnTo>
                    <a:pt x="5181" y="904"/>
                  </a:lnTo>
                  <a:lnTo>
                    <a:pt x="5117" y="904"/>
                  </a:lnTo>
                  <a:lnTo>
                    <a:pt x="5117" y="969"/>
                  </a:lnTo>
                  <a:close/>
                  <a:moveTo>
                    <a:pt x="5117" y="1082"/>
                  </a:moveTo>
                  <a:lnTo>
                    <a:pt x="5181" y="1082"/>
                  </a:lnTo>
                  <a:lnTo>
                    <a:pt x="5181" y="1018"/>
                  </a:lnTo>
                  <a:lnTo>
                    <a:pt x="5117" y="1018"/>
                  </a:lnTo>
                  <a:lnTo>
                    <a:pt x="5117" y="1082"/>
                  </a:lnTo>
                  <a:close/>
                  <a:moveTo>
                    <a:pt x="5117" y="1197"/>
                  </a:moveTo>
                  <a:lnTo>
                    <a:pt x="5181" y="1197"/>
                  </a:lnTo>
                  <a:lnTo>
                    <a:pt x="5181" y="1132"/>
                  </a:lnTo>
                  <a:lnTo>
                    <a:pt x="5117" y="1132"/>
                  </a:lnTo>
                  <a:lnTo>
                    <a:pt x="5117" y="1197"/>
                  </a:lnTo>
                  <a:close/>
                  <a:moveTo>
                    <a:pt x="5117" y="1309"/>
                  </a:moveTo>
                  <a:lnTo>
                    <a:pt x="5181" y="1309"/>
                  </a:lnTo>
                  <a:lnTo>
                    <a:pt x="5181" y="1245"/>
                  </a:lnTo>
                  <a:lnTo>
                    <a:pt x="5117" y="1245"/>
                  </a:lnTo>
                  <a:lnTo>
                    <a:pt x="5117" y="1309"/>
                  </a:lnTo>
                  <a:close/>
                  <a:moveTo>
                    <a:pt x="5117" y="1420"/>
                  </a:moveTo>
                  <a:lnTo>
                    <a:pt x="5181" y="1420"/>
                  </a:lnTo>
                  <a:lnTo>
                    <a:pt x="5181" y="1357"/>
                  </a:lnTo>
                  <a:lnTo>
                    <a:pt x="5117" y="1357"/>
                  </a:lnTo>
                  <a:lnTo>
                    <a:pt x="5117" y="1420"/>
                  </a:lnTo>
                  <a:close/>
                  <a:moveTo>
                    <a:pt x="5117" y="1534"/>
                  </a:moveTo>
                  <a:lnTo>
                    <a:pt x="5181" y="1534"/>
                  </a:lnTo>
                  <a:lnTo>
                    <a:pt x="5181" y="1469"/>
                  </a:lnTo>
                  <a:lnTo>
                    <a:pt x="5117" y="1469"/>
                  </a:lnTo>
                  <a:lnTo>
                    <a:pt x="5117" y="1534"/>
                  </a:lnTo>
                  <a:close/>
                  <a:moveTo>
                    <a:pt x="5117" y="1648"/>
                  </a:moveTo>
                  <a:lnTo>
                    <a:pt x="5181" y="1648"/>
                  </a:lnTo>
                  <a:lnTo>
                    <a:pt x="5181" y="1584"/>
                  </a:lnTo>
                  <a:lnTo>
                    <a:pt x="5117" y="1584"/>
                  </a:lnTo>
                  <a:lnTo>
                    <a:pt x="5117" y="1648"/>
                  </a:lnTo>
                  <a:close/>
                  <a:moveTo>
                    <a:pt x="5117" y="1761"/>
                  </a:moveTo>
                  <a:lnTo>
                    <a:pt x="5181" y="1761"/>
                  </a:lnTo>
                  <a:lnTo>
                    <a:pt x="5181" y="1697"/>
                  </a:lnTo>
                  <a:lnTo>
                    <a:pt x="5117" y="1697"/>
                  </a:lnTo>
                  <a:lnTo>
                    <a:pt x="5117" y="1761"/>
                  </a:lnTo>
                  <a:close/>
                  <a:moveTo>
                    <a:pt x="5117" y="1878"/>
                  </a:moveTo>
                  <a:lnTo>
                    <a:pt x="5181" y="1878"/>
                  </a:lnTo>
                  <a:lnTo>
                    <a:pt x="5181" y="1814"/>
                  </a:lnTo>
                  <a:lnTo>
                    <a:pt x="5117" y="1814"/>
                  </a:lnTo>
                  <a:lnTo>
                    <a:pt x="5117" y="1878"/>
                  </a:lnTo>
                  <a:close/>
                  <a:moveTo>
                    <a:pt x="5117" y="1992"/>
                  </a:moveTo>
                  <a:lnTo>
                    <a:pt x="5181" y="1992"/>
                  </a:lnTo>
                  <a:lnTo>
                    <a:pt x="5181" y="1928"/>
                  </a:lnTo>
                  <a:lnTo>
                    <a:pt x="5117" y="1928"/>
                  </a:lnTo>
                  <a:lnTo>
                    <a:pt x="5117" y="1992"/>
                  </a:lnTo>
                  <a:close/>
                  <a:moveTo>
                    <a:pt x="5117" y="2106"/>
                  </a:moveTo>
                  <a:lnTo>
                    <a:pt x="5181" y="2106"/>
                  </a:lnTo>
                  <a:lnTo>
                    <a:pt x="5181" y="2042"/>
                  </a:lnTo>
                  <a:lnTo>
                    <a:pt x="5117" y="2042"/>
                  </a:lnTo>
                  <a:lnTo>
                    <a:pt x="5117" y="2106"/>
                  </a:lnTo>
                  <a:close/>
                  <a:moveTo>
                    <a:pt x="5231" y="405"/>
                  </a:moveTo>
                  <a:lnTo>
                    <a:pt x="5296" y="405"/>
                  </a:lnTo>
                  <a:lnTo>
                    <a:pt x="5296" y="341"/>
                  </a:lnTo>
                  <a:lnTo>
                    <a:pt x="5231" y="341"/>
                  </a:lnTo>
                  <a:lnTo>
                    <a:pt x="5231" y="405"/>
                  </a:lnTo>
                  <a:close/>
                  <a:moveTo>
                    <a:pt x="5231" y="516"/>
                  </a:moveTo>
                  <a:lnTo>
                    <a:pt x="5296" y="516"/>
                  </a:lnTo>
                  <a:lnTo>
                    <a:pt x="5296" y="452"/>
                  </a:lnTo>
                  <a:lnTo>
                    <a:pt x="5231" y="452"/>
                  </a:lnTo>
                  <a:lnTo>
                    <a:pt x="5231" y="516"/>
                  </a:lnTo>
                  <a:close/>
                  <a:moveTo>
                    <a:pt x="5231" y="630"/>
                  </a:moveTo>
                  <a:lnTo>
                    <a:pt x="5296" y="630"/>
                  </a:lnTo>
                  <a:lnTo>
                    <a:pt x="5296" y="565"/>
                  </a:lnTo>
                  <a:lnTo>
                    <a:pt x="5231" y="565"/>
                  </a:lnTo>
                  <a:lnTo>
                    <a:pt x="5231" y="630"/>
                  </a:lnTo>
                  <a:close/>
                  <a:moveTo>
                    <a:pt x="5231" y="744"/>
                  </a:moveTo>
                  <a:lnTo>
                    <a:pt x="5296" y="744"/>
                  </a:lnTo>
                  <a:lnTo>
                    <a:pt x="5296" y="679"/>
                  </a:lnTo>
                  <a:lnTo>
                    <a:pt x="5231" y="679"/>
                  </a:lnTo>
                  <a:lnTo>
                    <a:pt x="5231" y="744"/>
                  </a:lnTo>
                  <a:close/>
                  <a:moveTo>
                    <a:pt x="5231" y="857"/>
                  </a:moveTo>
                  <a:lnTo>
                    <a:pt x="5296" y="857"/>
                  </a:lnTo>
                  <a:lnTo>
                    <a:pt x="5296" y="792"/>
                  </a:lnTo>
                  <a:lnTo>
                    <a:pt x="5231" y="792"/>
                  </a:lnTo>
                  <a:lnTo>
                    <a:pt x="5231" y="857"/>
                  </a:lnTo>
                  <a:close/>
                  <a:moveTo>
                    <a:pt x="5231" y="969"/>
                  </a:moveTo>
                  <a:lnTo>
                    <a:pt x="5296" y="969"/>
                  </a:lnTo>
                  <a:lnTo>
                    <a:pt x="5296" y="904"/>
                  </a:lnTo>
                  <a:lnTo>
                    <a:pt x="5231" y="904"/>
                  </a:lnTo>
                  <a:lnTo>
                    <a:pt x="5231" y="969"/>
                  </a:lnTo>
                  <a:close/>
                  <a:moveTo>
                    <a:pt x="5231" y="1082"/>
                  </a:moveTo>
                  <a:lnTo>
                    <a:pt x="5296" y="1082"/>
                  </a:lnTo>
                  <a:lnTo>
                    <a:pt x="5296" y="1018"/>
                  </a:lnTo>
                  <a:lnTo>
                    <a:pt x="5231" y="1018"/>
                  </a:lnTo>
                  <a:lnTo>
                    <a:pt x="5231" y="1082"/>
                  </a:lnTo>
                  <a:close/>
                  <a:moveTo>
                    <a:pt x="5231" y="1197"/>
                  </a:moveTo>
                  <a:lnTo>
                    <a:pt x="5296" y="1197"/>
                  </a:lnTo>
                  <a:lnTo>
                    <a:pt x="5296" y="1132"/>
                  </a:lnTo>
                  <a:lnTo>
                    <a:pt x="5231" y="1132"/>
                  </a:lnTo>
                  <a:lnTo>
                    <a:pt x="5231" y="1197"/>
                  </a:lnTo>
                  <a:close/>
                  <a:moveTo>
                    <a:pt x="5231" y="1309"/>
                  </a:moveTo>
                  <a:lnTo>
                    <a:pt x="5296" y="1309"/>
                  </a:lnTo>
                  <a:lnTo>
                    <a:pt x="5296" y="1245"/>
                  </a:lnTo>
                  <a:lnTo>
                    <a:pt x="5231" y="1245"/>
                  </a:lnTo>
                  <a:lnTo>
                    <a:pt x="5231" y="1309"/>
                  </a:lnTo>
                  <a:close/>
                  <a:moveTo>
                    <a:pt x="5231" y="1420"/>
                  </a:moveTo>
                  <a:lnTo>
                    <a:pt x="5296" y="1420"/>
                  </a:lnTo>
                  <a:lnTo>
                    <a:pt x="5296" y="1357"/>
                  </a:lnTo>
                  <a:lnTo>
                    <a:pt x="5231" y="1357"/>
                  </a:lnTo>
                  <a:lnTo>
                    <a:pt x="5231" y="1420"/>
                  </a:lnTo>
                  <a:close/>
                  <a:moveTo>
                    <a:pt x="5231" y="1534"/>
                  </a:moveTo>
                  <a:lnTo>
                    <a:pt x="5296" y="1534"/>
                  </a:lnTo>
                  <a:lnTo>
                    <a:pt x="5296" y="1469"/>
                  </a:lnTo>
                  <a:lnTo>
                    <a:pt x="5231" y="1469"/>
                  </a:lnTo>
                  <a:lnTo>
                    <a:pt x="5231" y="1534"/>
                  </a:lnTo>
                  <a:close/>
                  <a:moveTo>
                    <a:pt x="5231" y="1648"/>
                  </a:moveTo>
                  <a:lnTo>
                    <a:pt x="5296" y="1648"/>
                  </a:lnTo>
                  <a:lnTo>
                    <a:pt x="5296" y="1584"/>
                  </a:lnTo>
                  <a:lnTo>
                    <a:pt x="5231" y="1584"/>
                  </a:lnTo>
                  <a:lnTo>
                    <a:pt x="5231" y="1648"/>
                  </a:lnTo>
                  <a:close/>
                  <a:moveTo>
                    <a:pt x="5231" y="1761"/>
                  </a:moveTo>
                  <a:lnTo>
                    <a:pt x="5296" y="1761"/>
                  </a:lnTo>
                  <a:lnTo>
                    <a:pt x="5296" y="1697"/>
                  </a:lnTo>
                  <a:lnTo>
                    <a:pt x="5231" y="1697"/>
                  </a:lnTo>
                  <a:lnTo>
                    <a:pt x="5231" y="1761"/>
                  </a:lnTo>
                  <a:close/>
                  <a:moveTo>
                    <a:pt x="5231" y="1878"/>
                  </a:moveTo>
                  <a:lnTo>
                    <a:pt x="5296" y="1878"/>
                  </a:lnTo>
                  <a:lnTo>
                    <a:pt x="5296" y="1814"/>
                  </a:lnTo>
                  <a:lnTo>
                    <a:pt x="5231" y="1814"/>
                  </a:lnTo>
                  <a:lnTo>
                    <a:pt x="5231" y="1878"/>
                  </a:lnTo>
                  <a:close/>
                  <a:moveTo>
                    <a:pt x="5231" y="1992"/>
                  </a:moveTo>
                  <a:lnTo>
                    <a:pt x="5296" y="1992"/>
                  </a:lnTo>
                  <a:lnTo>
                    <a:pt x="5296" y="1928"/>
                  </a:lnTo>
                  <a:lnTo>
                    <a:pt x="5231" y="1928"/>
                  </a:lnTo>
                  <a:lnTo>
                    <a:pt x="5231" y="1992"/>
                  </a:lnTo>
                  <a:close/>
                  <a:moveTo>
                    <a:pt x="5343" y="405"/>
                  </a:moveTo>
                  <a:lnTo>
                    <a:pt x="5407" y="405"/>
                  </a:lnTo>
                  <a:lnTo>
                    <a:pt x="5407" y="341"/>
                  </a:lnTo>
                  <a:lnTo>
                    <a:pt x="5343" y="341"/>
                  </a:lnTo>
                  <a:lnTo>
                    <a:pt x="5343" y="405"/>
                  </a:lnTo>
                  <a:close/>
                  <a:moveTo>
                    <a:pt x="5343" y="516"/>
                  </a:moveTo>
                  <a:lnTo>
                    <a:pt x="5407" y="516"/>
                  </a:lnTo>
                  <a:lnTo>
                    <a:pt x="5407" y="452"/>
                  </a:lnTo>
                  <a:lnTo>
                    <a:pt x="5343" y="452"/>
                  </a:lnTo>
                  <a:lnTo>
                    <a:pt x="5343" y="516"/>
                  </a:lnTo>
                  <a:close/>
                  <a:moveTo>
                    <a:pt x="5343" y="630"/>
                  </a:moveTo>
                  <a:lnTo>
                    <a:pt x="5407" y="630"/>
                  </a:lnTo>
                  <a:lnTo>
                    <a:pt x="5407" y="565"/>
                  </a:lnTo>
                  <a:lnTo>
                    <a:pt x="5343" y="565"/>
                  </a:lnTo>
                  <a:lnTo>
                    <a:pt x="5343" y="630"/>
                  </a:lnTo>
                  <a:close/>
                  <a:moveTo>
                    <a:pt x="5343" y="744"/>
                  </a:moveTo>
                  <a:lnTo>
                    <a:pt x="5407" y="744"/>
                  </a:lnTo>
                  <a:lnTo>
                    <a:pt x="5407" y="679"/>
                  </a:lnTo>
                  <a:lnTo>
                    <a:pt x="5343" y="679"/>
                  </a:lnTo>
                  <a:lnTo>
                    <a:pt x="5343" y="744"/>
                  </a:lnTo>
                  <a:close/>
                  <a:moveTo>
                    <a:pt x="5343" y="857"/>
                  </a:moveTo>
                  <a:lnTo>
                    <a:pt x="5407" y="857"/>
                  </a:lnTo>
                  <a:lnTo>
                    <a:pt x="5407" y="792"/>
                  </a:lnTo>
                  <a:lnTo>
                    <a:pt x="5343" y="792"/>
                  </a:lnTo>
                  <a:lnTo>
                    <a:pt x="5343" y="857"/>
                  </a:lnTo>
                  <a:close/>
                  <a:moveTo>
                    <a:pt x="5343" y="969"/>
                  </a:moveTo>
                  <a:lnTo>
                    <a:pt x="5407" y="969"/>
                  </a:lnTo>
                  <a:lnTo>
                    <a:pt x="5407" y="904"/>
                  </a:lnTo>
                  <a:lnTo>
                    <a:pt x="5343" y="904"/>
                  </a:lnTo>
                  <a:lnTo>
                    <a:pt x="5343" y="969"/>
                  </a:lnTo>
                  <a:close/>
                  <a:moveTo>
                    <a:pt x="5343" y="1082"/>
                  </a:moveTo>
                  <a:lnTo>
                    <a:pt x="5407" y="1082"/>
                  </a:lnTo>
                  <a:lnTo>
                    <a:pt x="5407" y="1018"/>
                  </a:lnTo>
                  <a:lnTo>
                    <a:pt x="5343" y="1018"/>
                  </a:lnTo>
                  <a:lnTo>
                    <a:pt x="5343" y="1082"/>
                  </a:lnTo>
                  <a:close/>
                  <a:moveTo>
                    <a:pt x="5343" y="1197"/>
                  </a:moveTo>
                  <a:lnTo>
                    <a:pt x="5407" y="1197"/>
                  </a:lnTo>
                  <a:lnTo>
                    <a:pt x="5407" y="1132"/>
                  </a:lnTo>
                  <a:lnTo>
                    <a:pt x="5343" y="1132"/>
                  </a:lnTo>
                  <a:lnTo>
                    <a:pt x="5343" y="1197"/>
                  </a:lnTo>
                  <a:close/>
                  <a:moveTo>
                    <a:pt x="5343" y="1309"/>
                  </a:moveTo>
                  <a:lnTo>
                    <a:pt x="5407" y="1309"/>
                  </a:lnTo>
                  <a:lnTo>
                    <a:pt x="5407" y="1245"/>
                  </a:lnTo>
                  <a:lnTo>
                    <a:pt x="5343" y="1245"/>
                  </a:lnTo>
                  <a:lnTo>
                    <a:pt x="5343" y="1309"/>
                  </a:lnTo>
                  <a:close/>
                  <a:moveTo>
                    <a:pt x="5343" y="1420"/>
                  </a:moveTo>
                  <a:lnTo>
                    <a:pt x="5407" y="1420"/>
                  </a:lnTo>
                  <a:lnTo>
                    <a:pt x="5407" y="1357"/>
                  </a:lnTo>
                  <a:lnTo>
                    <a:pt x="5343" y="1357"/>
                  </a:lnTo>
                  <a:lnTo>
                    <a:pt x="5343" y="1420"/>
                  </a:lnTo>
                  <a:close/>
                  <a:moveTo>
                    <a:pt x="5343" y="1534"/>
                  </a:moveTo>
                  <a:lnTo>
                    <a:pt x="5407" y="1534"/>
                  </a:lnTo>
                  <a:lnTo>
                    <a:pt x="5407" y="1469"/>
                  </a:lnTo>
                  <a:lnTo>
                    <a:pt x="5343" y="1469"/>
                  </a:lnTo>
                  <a:lnTo>
                    <a:pt x="5343" y="1534"/>
                  </a:lnTo>
                  <a:close/>
                  <a:moveTo>
                    <a:pt x="5343" y="1648"/>
                  </a:moveTo>
                  <a:lnTo>
                    <a:pt x="5407" y="1648"/>
                  </a:lnTo>
                  <a:lnTo>
                    <a:pt x="5407" y="1584"/>
                  </a:lnTo>
                  <a:lnTo>
                    <a:pt x="5343" y="1584"/>
                  </a:lnTo>
                  <a:lnTo>
                    <a:pt x="5343" y="1648"/>
                  </a:lnTo>
                  <a:close/>
                  <a:moveTo>
                    <a:pt x="5343" y="1761"/>
                  </a:moveTo>
                  <a:lnTo>
                    <a:pt x="5407" y="1761"/>
                  </a:lnTo>
                  <a:lnTo>
                    <a:pt x="5407" y="1697"/>
                  </a:lnTo>
                  <a:lnTo>
                    <a:pt x="5343" y="1697"/>
                  </a:lnTo>
                  <a:lnTo>
                    <a:pt x="5343" y="1761"/>
                  </a:lnTo>
                  <a:close/>
                  <a:moveTo>
                    <a:pt x="5343" y="1878"/>
                  </a:moveTo>
                  <a:lnTo>
                    <a:pt x="5407" y="1878"/>
                  </a:lnTo>
                  <a:lnTo>
                    <a:pt x="5407" y="1814"/>
                  </a:lnTo>
                  <a:lnTo>
                    <a:pt x="5343" y="1814"/>
                  </a:lnTo>
                  <a:lnTo>
                    <a:pt x="5343" y="1878"/>
                  </a:lnTo>
                  <a:close/>
                  <a:moveTo>
                    <a:pt x="5343" y="1992"/>
                  </a:moveTo>
                  <a:lnTo>
                    <a:pt x="5407" y="1992"/>
                  </a:lnTo>
                  <a:lnTo>
                    <a:pt x="5407" y="1928"/>
                  </a:lnTo>
                  <a:lnTo>
                    <a:pt x="5343" y="1928"/>
                  </a:lnTo>
                  <a:lnTo>
                    <a:pt x="5343" y="1992"/>
                  </a:lnTo>
                  <a:close/>
                  <a:moveTo>
                    <a:pt x="5458" y="405"/>
                  </a:moveTo>
                  <a:lnTo>
                    <a:pt x="5522" y="405"/>
                  </a:lnTo>
                  <a:lnTo>
                    <a:pt x="5522" y="341"/>
                  </a:lnTo>
                  <a:lnTo>
                    <a:pt x="5458" y="341"/>
                  </a:lnTo>
                  <a:lnTo>
                    <a:pt x="5458" y="405"/>
                  </a:lnTo>
                  <a:close/>
                  <a:moveTo>
                    <a:pt x="5458" y="516"/>
                  </a:moveTo>
                  <a:lnTo>
                    <a:pt x="5522" y="516"/>
                  </a:lnTo>
                  <a:lnTo>
                    <a:pt x="5522" y="452"/>
                  </a:lnTo>
                  <a:lnTo>
                    <a:pt x="5458" y="452"/>
                  </a:lnTo>
                  <a:lnTo>
                    <a:pt x="5458" y="516"/>
                  </a:lnTo>
                  <a:close/>
                  <a:moveTo>
                    <a:pt x="5458" y="630"/>
                  </a:moveTo>
                  <a:lnTo>
                    <a:pt x="5522" y="630"/>
                  </a:lnTo>
                  <a:lnTo>
                    <a:pt x="5522" y="565"/>
                  </a:lnTo>
                  <a:lnTo>
                    <a:pt x="5458" y="565"/>
                  </a:lnTo>
                  <a:lnTo>
                    <a:pt x="5458" y="630"/>
                  </a:lnTo>
                  <a:close/>
                  <a:moveTo>
                    <a:pt x="5458" y="744"/>
                  </a:moveTo>
                  <a:lnTo>
                    <a:pt x="5522" y="744"/>
                  </a:lnTo>
                  <a:lnTo>
                    <a:pt x="5522" y="679"/>
                  </a:lnTo>
                  <a:lnTo>
                    <a:pt x="5458" y="679"/>
                  </a:lnTo>
                  <a:lnTo>
                    <a:pt x="5458" y="744"/>
                  </a:lnTo>
                  <a:close/>
                  <a:moveTo>
                    <a:pt x="5458" y="857"/>
                  </a:moveTo>
                  <a:lnTo>
                    <a:pt x="5522" y="857"/>
                  </a:lnTo>
                  <a:lnTo>
                    <a:pt x="5522" y="792"/>
                  </a:lnTo>
                  <a:lnTo>
                    <a:pt x="5458" y="792"/>
                  </a:lnTo>
                  <a:lnTo>
                    <a:pt x="5458" y="857"/>
                  </a:lnTo>
                  <a:close/>
                  <a:moveTo>
                    <a:pt x="5458" y="969"/>
                  </a:moveTo>
                  <a:lnTo>
                    <a:pt x="5522" y="969"/>
                  </a:lnTo>
                  <a:lnTo>
                    <a:pt x="5522" y="904"/>
                  </a:lnTo>
                  <a:lnTo>
                    <a:pt x="5458" y="904"/>
                  </a:lnTo>
                  <a:lnTo>
                    <a:pt x="5458" y="969"/>
                  </a:lnTo>
                  <a:close/>
                  <a:moveTo>
                    <a:pt x="5458" y="1082"/>
                  </a:moveTo>
                  <a:lnTo>
                    <a:pt x="5522" y="1082"/>
                  </a:lnTo>
                  <a:lnTo>
                    <a:pt x="5522" y="1018"/>
                  </a:lnTo>
                  <a:lnTo>
                    <a:pt x="5458" y="1018"/>
                  </a:lnTo>
                  <a:lnTo>
                    <a:pt x="5458" y="1082"/>
                  </a:lnTo>
                  <a:close/>
                  <a:moveTo>
                    <a:pt x="5458" y="1197"/>
                  </a:moveTo>
                  <a:lnTo>
                    <a:pt x="5522" y="1197"/>
                  </a:lnTo>
                  <a:lnTo>
                    <a:pt x="5522" y="1132"/>
                  </a:lnTo>
                  <a:lnTo>
                    <a:pt x="5458" y="1132"/>
                  </a:lnTo>
                  <a:lnTo>
                    <a:pt x="5458" y="1197"/>
                  </a:lnTo>
                  <a:close/>
                  <a:moveTo>
                    <a:pt x="5458" y="1309"/>
                  </a:moveTo>
                  <a:lnTo>
                    <a:pt x="5522" y="1309"/>
                  </a:lnTo>
                  <a:lnTo>
                    <a:pt x="5522" y="1245"/>
                  </a:lnTo>
                  <a:lnTo>
                    <a:pt x="5458" y="1245"/>
                  </a:lnTo>
                  <a:lnTo>
                    <a:pt x="5458" y="1309"/>
                  </a:lnTo>
                  <a:close/>
                  <a:moveTo>
                    <a:pt x="5458" y="1420"/>
                  </a:moveTo>
                  <a:lnTo>
                    <a:pt x="5522" y="1420"/>
                  </a:lnTo>
                  <a:lnTo>
                    <a:pt x="5522" y="1357"/>
                  </a:lnTo>
                  <a:lnTo>
                    <a:pt x="5458" y="1357"/>
                  </a:lnTo>
                  <a:lnTo>
                    <a:pt x="5458" y="1420"/>
                  </a:lnTo>
                  <a:close/>
                  <a:moveTo>
                    <a:pt x="5458" y="1534"/>
                  </a:moveTo>
                  <a:lnTo>
                    <a:pt x="5522" y="1534"/>
                  </a:lnTo>
                  <a:lnTo>
                    <a:pt x="5522" y="1469"/>
                  </a:lnTo>
                  <a:lnTo>
                    <a:pt x="5458" y="1469"/>
                  </a:lnTo>
                  <a:lnTo>
                    <a:pt x="5458" y="1534"/>
                  </a:lnTo>
                  <a:close/>
                  <a:moveTo>
                    <a:pt x="5572" y="405"/>
                  </a:moveTo>
                  <a:lnTo>
                    <a:pt x="5635" y="405"/>
                  </a:lnTo>
                  <a:lnTo>
                    <a:pt x="5635" y="341"/>
                  </a:lnTo>
                  <a:lnTo>
                    <a:pt x="5572" y="341"/>
                  </a:lnTo>
                  <a:lnTo>
                    <a:pt x="5572" y="405"/>
                  </a:lnTo>
                  <a:close/>
                  <a:moveTo>
                    <a:pt x="5572" y="516"/>
                  </a:moveTo>
                  <a:lnTo>
                    <a:pt x="5635" y="516"/>
                  </a:lnTo>
                  <a:lnTo>
                    <a:pt x="5635" y="452"/>
                  </a:lnTo>
                  <a:lnTo>
                    <a:pt x="5572" y="452"/>
                  </a:lnTo>
                  <a:lnTo>
                    <a:pt x="5572" y="516"/>
                  </a:lnTo>
                  <a:close/>
                  <a:moveTo>
                    <a:pt x="5572" y="630"/>
                  </a:moveTo>
                  <a:lnTo>
                    <a:pt x="5635" y="630"/>
                  </a:lnTo>
                  <a:lnTo>
                    <a:pt x="5635" y="565"/>
                  </a:lnTo>
                  <a:lnTo>
                    <a:pt x="5572" y="565"/>
                  </a:lnTo>
                  <a:lnTo>
                    <a:pt x="5572" y="630"/>
                  </a:lnTo>
                  <a:close/>
                  <a:moveTo>
                    <a:pt x="5572" y="857"/>
                  </a:moveTo>
                  <a:lnTo>
                    <a:pt x="5635" y="857"/>
                  </a:lnTo>
                  <a:lnTo>
                    <a:pt x="5635" y="792"/>
                  </a:lnTo>
                  <a:lnTo>
                    <a:pt x="5572" y="792"/>
                  </a:lnTo>
                  <a:lnTo>
                    <a:pt x="5572" y="857"/>
                  </a:lnTo>
                  <a:close/>
                  <a:moveTo>
                    <a:pt x="5572" y="1309"/>
                  </a:moveTo>
                  <a:lnTo>
                    <a:pt x="5635" y="1309"/>
                  </a:lnTo>
                  <a:lnTo>
                    <a:pt x="5635" y="1245"/>
                  </a:lnTo>
                  <a:lnTo>
                    <a:pt x="5572" y="1245"/>
                  </a:lnTo>
                  <a:lnTo>
                    <a:pt x="5572" y="1309"/>
                  </a:lnTo>
                  <a:close/>
                  <a:moveTo>
                    <a:pt x="5686" y="405"/>
                  </a:moveTo>
                  <a:lnTo>
                    <a:pt x="5750" y="405"/>
                  </a:lnTo>
                  <a:lnTo>
                    <a:pt x="5750" y="341"/>
                  </a:lnTo>
                  <a:lnTo>
                    <a:pt x="5686" y="341"/>
                  </a:lnTo>
                  <a:lnTo>
                    <a:pt x="5686" y="405"/>
                  </a:lnTo>
                  <a:close/>
                  <a:moveTo>
                    <a:pt x="5686" y="516"/>
                  </a:moveTo>
                  <a:lnTo>
                    <a:pt x="5750" y="516"/>
                  </a:lnTo>
                  <a:lnTo>
                    <a:pt x="5750" y="452"/>
                  </a:lnTo>
                  <a:lnTo>
                    <a:pt x="5686" y="452"/>
                  </a:lnTo>
                  <a:lnTo>
                    <a:pt x="5686" y="516"/>
                  </a:lnTo>
                  <a:close/>
                  <a:moveTo>
                    <a:pt x="5686" y="630"/>
                  </a:moveTo>
                  <a:lnTo>
                    <a:pt x="5750" y="630"/>
                  </a:lnTo>
                  <a:lnTo>
                    <a:pt x="5750" y="565"/>
                  </a:lnTo>
                  <a:lnTo>
                    <a:pt x="5686" y="565"/>
                  </a:lnTo>
                  <a:lnTo>
                    <a:pt x="5686" y="630"/>
                  </a:lnTo>
                  <a:close/>
                  <a:moveTo>
                    <a:pt x="5798" y="292"/>
                  </a:moveTo>
                  <a:lnTo>
                    <a:pt x="5862" y="292"/>
                  </a:lnTo>
                  <a:lnTo>
                    <a:pt x="5862" y="228"/>
                  </a:lnTo>
                  <a:lnTo>
                    <a:pt x="5798" y="228"/>
                  </a:lnTo>
                  <a:lnTo>
                    <a:pt x="5798" y="292"/>
                  </a:lnTo>
                  <a:close/>
                  <a:moveTo>
                    <a:pt x="5798" y="405"/>
                  </a:moveTo>
                  <a:lnTo>
                    <a:pt x="5862" y="405"/>
                  </a:lnTo>
                  <a:lnTo>
                    <a:pt x="5862" y="341"/>
                  </a:lnTo>
                  <a:lnTo>
                    <a:pt x="5798" y="341"/>
                  </a:lnTo>
                  <a:lnTo>
                    <a:pt x="5798" y="405"/>
                  </a:lnTo>
                  <a:close/>
                  <a:moveTo>
                    <a:pt x="5798" y="516"/>
                  </a:moveTo>
                  <a:lnTo>
                    <a:pt x="5862" y="516"/>
                  </a:lnTo>
                  <a:lnTo>
                    <a:pt x="5862" y="452"/>
                  </a:lnTo>
                  <a:lnTo>
                    <a:pt x="5798" y="452"/>
                  </a:lnTo>
                  <a:lnTo>
                    <a:pt x="5798" y="516"/>
                  </a:lnTo>
                  <a:close/>
                  <a:moveTo>
                    <a:pt x="5798" y="630"/>
                  </a:moveTo>
                  <a:lnTo>
                    <a:pt x="5862" y="630"/>
                  </a:lnTo>
                  <a:lnTo>
                    <a:pt x="5862" y="565"/>
                  </a:lnTo>
                  <a:lnTo>
                    <a:pt x="5798" y="565"/>
                  </a:lnTo>
                  <a:lnTo>
                    <a:pt x="5798" y="630"/>
                  </a:lnTo>
                  <a:close/>
                  <a:moveTo>
                    <a:pt x="5912" y="292"/>
                  </a:moveTo>
                  <a:lnTo>
                    <a:pt x="5976" y="292"/>
                  </a:lnTo>
                  <a:lnTo>
                    <a:pt x="5976" y="228"/>
                  </a:lnTo>
                  <a:lnTo>
                    <a:pt x="5912" y="228"/>
                  </a:lnTo>
                  <a:lnTo>
                    <a:pt x="5912" y="292"/>
                  </a:lnTo>
                  <a:close/>
                  <a:moveTo>
                    <a:pt x="5912" y="405"/>
                  </a:moveTo>
                  <a:lnTo>
                    <a:pt x="5976" y="405"/>
                  </a:lnTo>
                  <a:lnTo>
                    <a:pt x="5976" y="341"/>
                  </a:lnTo>
                  <a:lnTo>
                    <a:pt x="5912" y="341"/>
                  </a:lnTo>
                  <a:lnTo>
                    <a:pt x="5912" y="405"/>
                  </a:lnTo>
                  <a:close/>
                  <a:moveTo>
                    <a:pt x="5912" y="516"/>
                  </a:moveTo>
                  <a:lnTo>
                    <a:pt x="5976" y="516"/>
                  </a:lnTo>
                  <a:lnTo>
                    <a:pt x="5976" y="452"/>
                  </a:lnTo>
                  <a:lnTo>
                    <a:pt x="5912" y="452"/>
                  </a:lnTo>
                  <a:lnTo>
                    <a:pt x="5912" y="516"/>
                  </a:lnTo>
                  <a:close/>
                  <a:moveTo>
                    <a:pt x="5912" y="630"/>
                  </a:moveTo>
                  <a:lnTo>
                    <a:pt x="5976" y="630"/>
                  </a:lnTo>
                  <a:lnTo>
                    <a:pt x="5976" y="565"/>
                  </a:lnTo>
                  <a:lnTo>
                    <a:pt x="5912" y="565"/>
                  </a:lnTo>
                  <a:lnTo>
                    <a:pt x="5912" y="630"/>
                  </a:lnTo>
                  <a:close/>
                  <a:moveTo>
                    <a:pt x="6026" y="178"/>
                  </a:moveTo>
                  <a:lnTo>
                    <a:pt x="6090" y="178"/>
                  </a:lnTo>
                  <a:lnTo>
                    <a:pt x="6090" y="113"/>
                  </a:lnTo>
                  <a:lnTo>
                    <a:pt x="6026" y="113"/>
                  </a:lnTo>
                  <a:lnTo>
                    <a:pt x="6026" y="178"/>
                  </a:lnTo>
                  <a:close/>
                  <a:moveTo>
                    <a:pt x="6026" y="292"/>
                  </a:moveTo>
                  <a:lnTo>
                    <a:pt x="6090" y="292"/>
                  </a:lnTo>
                  <a:lnTo>
                    <a:pt x="6090" y="228"/>
                  </a:lnTo>
                  <a:lnTo>
                    <a:pt x="6026" y="228"/>
                  </a:lnTo>
                  <a:lnTo>
                    <a:pt x="6026" y="292"/>
                  </a:lnTo>
                  <a:close/>
                  <a:moveTo>
                    <a:pt x="6026" y="405"/>
                  </a:moveTo>
                  <a:lnTo>
                    <a:pt x="6090" y="405"/>
                  </a:lnTo>
                  <a:lnTo>
                    <a:pt x="6090" y="341"/>
                  </a:lnTo>
                  <a:lnTo>
                    <a:pt x="6026" y="341"/>
                  </a:lnTo>
                  <a:lnTo>
                    <a:pt x="6026" y="405"/>
                  </a:lnTo>
                  <a:close/>
                  <a:moveTo>
                    <a:pt x="6140" y="292"/>
                  </a:moveTo>
                  <a:lnTo>
                    <a:pt x="6204" y="292"/>
                  </a:lnTo>
                  <a:lnTo>
                    <a:pt x="6204" y="228"/>
                  </a:lnTo>
                  <a:lnTo>
                    <a:pt x="6140" y="228"/>
                  </a:lnTo>
                  <a:lnTo>
                    <a:pt x="6140" y="292"/>
                  </a:lnTo>
                  <a:close/>
                  <a:moveTo>
                    <a:pt x="6140" y="405"/>
                  </a:moveTo>
                  <a:lnTo>
                    <a:pt x="6204" y="405"/>
                  </a:lnTo>
                  <a:lnTo>
                    <a:pt x="6204" y="341"/>
                  </a:lnTo>
                  <a:lnTo>
                    <a:pt x="6140" y="341"/>
                  </a:lnTo>
                  <a:lnTo>
                    <a:pt x="6140" y="405"/>
                  </a:lnTo>
                  <a:close/>
                  <a:moveTo>
                    <a:pt x="0" y="1994"/>
                  </a:moveTo>
                  <a:lnTo>
                    <a:pt x="65" y="1994"/>
                  </a:lnTo>
                  <a:lnTo>
                    <a:pt x="65" y="1929"/>
                  </a:lnTo>
                  <a:lnTo>
                    <a:pt x="0" y="1929"/>
                  </a:lnTo>
                  <a:lnTo>
                    <a:pt x="0" y="1994"/>
                  </a:lnTo>
                  <a:close/>
                  <a:moveTo>
                    <a:pt x="114" y="1880"/>
                  </a:moveTo>
                  <a:lnTo>
                    <a:pt x="179" y="1880"/>
                  </a:lnTo>
                  <a:lnTo>
                    <a:pt x="179" y="1816"/>
                  </a:lnTo>
                  <a:lnTo>
                    <a:pt x="114" y="1816"/>
                  </a:lnTo>
                  <a:lnTo>
                    <a:pt x="114" y="1880"/>
                  </a:lnTo>
                  <a:close/>
                  <a:moveTo>
                    <a:pt x="114" y="1994"/>
                  </a:moveTo>
                  <a:lnTo>
                    <a:pt x="179" y="1994"/>
                  </a:lnTo>
                  <a:lnTo>
                    <a:pt x="179" y="1929"/>
                  </a:lnTo>
                  <a:lnTo>
                    <a:pt x="114" y="1929"/>
                  </a:lnTo>
                  <a:lnTo>
                    <a:pt x="114" y="1994"/>
                  </a:lnTo>
                  <a:close/>
                  <a:moveTo>
                    <a:pt x="114" y="2105"/>
                  </a:moveTo>
                  <a:lnTo>
                    <a:pt x="179" y="2105"/>
                  </a:lnTo>
                  <a:lnTo>
                    <a:pt x="179" y="2040"/>
                  </a:lnTo>
                  <a:lnTo>
                    <a:pt x="114" y="2040"/>
                  </a:lnTo>
                  <a:lnTo>
                    <a:pt x="114" y="2105"/>
                  </a:lnTo>
                  <a:close/>
                  <a:moveTo>
                    <a:pt x="114" y="2218"/>
                  </a:moveTo>
                  <a:lnTo>
                    <a:pt x="179" y="2218"/>
                  </a:lnTo>
                  <a:lnTo>
                    <a:pt x="179" y="2153"/>
                  </a:lnTo>
                  <a:lnTo>
                    <a:pt x="114" y="2153"/>
                  </a:lnTo>
                  <a:lnTo>
                    <a:pt x="114" y="2218"/>
                  </a:lnTo>
                  <a:close/>
                  <a:moveTo>
                    <a:pt x="228" y="1994"/>
                  </a:moveTo>
                  <a:lnTo>
                    <a:pt x="293" y="1994"/>
                  </a:lnTo>
                  <a:lnTo>
                    <a:pt x="293" y="1929"/>
                  </a:lnTo>
                  <a:lnTo>
                    <a:pt x="228" y="1929"/>
                  </a:lnTo>
                  <a:lnTo>
                    <a:pt x="228" y="1994"/>
                  </a:lnTo>
                  <a:close/>
                  <a:moveTo>
                    <a:pt x="228" y="2105"/>
                  </a:moveTo>
                  <a:lnTo>
                    <a:pt x="293" y="2105"/>
                  </a:lnTo>
                  <a:lnTo>
                    <a:pt x="293" y="2040"/>
                  </a:lnTo>
                  <a:lnTo>
                    <a:pt x="228" y="2040"/>
                  </a:lnTo>
                  <a:lnTo>
                    <a:pt x="228" y="2105"/>
                  </a:lnTo>
                  <a:close/>
                  <a:moveTo>
                    <a:pt x="228" y="2218"/>
                  </a:moveTo>
                  <a:lnTo>
                    <a:pt x="293" y="2218"/>
                  </a:lnTo>
                  <a:lnTo>
                    <a:pt x="293" y="2153"/>
                  </a:lnTo>
                  <a:lnTo>
                    <a:pt x="228" y="2153"/>
                  </a:lnTo>
                  <a:lnTo>
                    <a:pt x="228" y="2218"/>
                  </a:lnTo>
                  <a:close/>
                  <a:moveTo>
                    <a:pt x="340" y="2105"/>
                  </a:moveTo>
                  <a:lnTo>
                    <a:pt x="405" y="2105"/>
                  </a:lnTo>
                  <a:lnTo>
                    <a:pt x="405" y="2040"/>
                  </a:lnTo>
                  <a:lnTo>
                    <a:pt x="340" y="2040"/>
                  </a:lnTo>
                  <a:lnTo>
                    <a:pt x="340" y="2105"/>
                  </a:lnTo>
                  <a:close/>
                  <a:moveTo>
                    <a:pt x="340" y="2218"/>
                  </a:moveTo>
                  <a:lnTo>
                    <a:pt x="405" y="2218"/>
                  </a:lnTo>
                  <a:lnTo>
                    <a:pt x="405" y="2153"/>
                  </a:lnTo>
                  <a:lnTo>
                    <a:pt x="340" y="2153"/>
                  </a:lnTo>
                  <a:lnTo>
                    <a:pt x="340" y="2218"/>
                  </a:lnTo>
                  <a:close/>
                  <a:moveTo>
                    <a:pt x="454" y="2105"/>
                  </a:moveTo>
                  <a:lnTo>
                    <a:pt x="519" y="2105"/>
                  </a:lnTo>
                  <a:lnTo>
                    <a:pt x="519" y="2040"/>
                  </a:lnTo>
                  <a:lnTo>
                    <a:pt x="454" y="2040"/>
                  </a:lnTo>
                  <a:lnTo>
                    <a:pt x="454" y="2105"/>
                  </a:lnTo>
                  <a:close/>
                  <a:moveTo>
                    <a:pt x="454" y="2218"/>
                  </a:moveTo>
                  <a:lnTo>
                    <a:pt x="519" y="2218"/>
                  </a:lnTo>
                  <a:lnTo>
                    <a:pt x="519" y="2153"/>
                  </a:lnTo>
                  <a:lnTo>
                    <a:pt x="454" y="2153"/>
                  </a:lnTo>
                  <a:lnTo>
                    <a:pt x="454" y="2218"/>
                  </a:lnTo>
                  <a:close/>
                  <a:moveTo>
                    <a:pt x="568" y="3009"/>
                  </a:moveTo>
                  <a:lnTo>
                    <a:pt x="633" y="3009"/>
                  </a:lnTo>
                  <a:lnTo>
                    <a:pt x="633" y="2945"/>
                  </a:lnTo>
                  <a:lnTo>
                    <a:pt x="568" y="2945"/>
                  </a:lnTo>
                  <a:lnTo>
                    <a:pt x="568" y="3009"/>
                  </a:lnTo>
                  <a:close/>
                  <a:moveTo>
                    <a:pt x="682" y="1994"/>
                  </a:moveTo>
                  <a:lnTo>
                    <a:pt x="747" y="1994"/>
                  </a:lnTo>
                  <a:lnTo>
                    <a:pt x="747" y="1929"/>
                  </a:lnTo>
                  <a:lnTo>
                    <a:pt x="682" y="1929"/>
                  </a:lnTo>
                  <a:lnTo>
                    <a:pt x="682" y="1994"/>
                  </a:lnTo>
                  <a:close/>
                  <a:moveTo>
                    <a:pt x="682" y="2218"/>
                  </a:moveTo>
                  <a:lnTo>
                    <a:pt x="747" y="2218"/>
                  </a:lnTo>
                  <a:lnTo>
                    <a:pt x="747" y="2153"/>
                  </a:lnTo>
                  <a:lnTo>
                    <a:pt x="682" y="2153"/>
                  </a:lnTo>
                  <a:lnTo>
                    <a:pt x="682" y="2218"/>
                  </a:lnTo>
                  <a:close/>
                  <a:moveTo>
                    <a:pt x="682" y="2445"/>
                  </a:moveTo>
                  <a:lnTo>
                    <a:pt x="747" y="2445"/>
                  </a:lnTo>
                  <a:lnTo>
                    <a:pt x="747" y="2381"/>
                  </a:lnTo>
                  <a:lnTo>
                    <a:pt x="682" y="2381"/>
                  </a:lnTo>
                  <a:lnTo>
                    <a:pt x="682" y="2445"/>
                  </a:lnTo>
                  <a:close/>
                  <a:moveTo>
                    <a:pt x="682" y="2557"/>
                  </a:moveTo>
                  <a:lnTo>
                    <a:pt x="747" y="2557"/>
                  </a:lnTo>
                  <a:lnTo>
                    <a:pt x="747" y="2493"/>
                  </a:lnTo>
                  <a:lnTo>
                    <a:pt x="682" y="2493"/>
                  </a:lnTo>
                  <a:lnTo>
                    <a:pt x="682" y="2557"/>
                  </a:lnTo>
                  <a:close/>
                  <a:moveTo>
                    <a:pt x="682" y="3009"/>
                  </a:moveTo>
                  <a:lnTo>
                    <a:pt x="747" y="3009"/>
                  </a:lnTo>
                  <a:lnTo>
                    <a:pt x="747" y="2945"/>
                  </a:lnTo>
                  <a:lnTo>
                    <a:pt x="682" y="2945"/>
                  </a:lnTo>
                  <a:lnTo>
                    <a:pt x="682" y="3009"/>
                  </a:lnTo>
                  <a:close/>
                  <a:moveTo>
                    <a:pt x="794" y="1766"/>
                  </a:moveTo>
                  <a:lnTo>
                    <a:pt x="859" y="1766"/>
                  </a:lnTo>
                  <a:lnTo>
                    <a:pt x="859" y="1701"/>
                  </a:lnTo>
                  <a:lnTo>
                    <a:pt x="794" y="1701"/>
                  </a:lnTo>
                  <a:lnTo>
                    <a:pt x="794" y="1766"/>
                  </a:lnTo>
                  <a:close/>
                  <a:moveTo>
                    <a:pt x="794" y="1880"/>
                  </a:moveTo>
                  <a:lnTo>
                    <a:pt x="859" y="1880"/>
                  </a:lnTo>
                  <a:lnTo>
                    <a:pt x="859" y="1816"/>
                  </a:lnTo>
                  <a:lnTo>
                    <a:pt x="794" y="1816"/>
                  </a:lnTo>
                  <a:lnTo>
                    <a:pt x="794" y="1880"/>
                  </a:lnTo>
                  <a:close/>
                  <a:moveTo>
                    <a:pt x="794" y="1994"/>
                  </a:moveTo>
                  <a:lnTo>
                    <a:pt x="859" y="1994"/>
                  </a:lnTo>
                  <a:lnTo>
                    <a:pt x="859" y="1929"/>
                  </a:lnTo>
                  <a:lnTo>
                    <a:pt x="794" y="1929"/>
                  </a:lnTo>
                  <a:lnTo>
                    <a:pt x="794" y="1994"/>
                  </a:lnTo>
                  <a:close/>
                  <a:moveTo>
                    <a:pt x="794" y="2105"/>
                  </a:moveTo>
                  <a:lnTo>
                    <a:pt x="859" y="2105"/>
                  </a:lnTo>
                  <a:lnTo>
                    <a:pt x="859" y="2040"/>
                  </a:lnTo>
                  <a:lnTo>
                    <a:pt x="794" y="2040"/>
                  </a:lnTo>
                  <a:lnTo>
                    <a:pt x="794" y="2105"/>
                  </a:lnTo>
                  <a:close/>
                  <a:moveTo>
                    <a:pt x="794" y="2218"/>
                  </a:moveTo>
                  <a:lnTo>
                    <a:pt x="859" y="2218"/>
                  </a:lnTo>
                  <a:lnTo>
                    <a:pt x="859" y="2153"/>
                  </a:lnTo>
                  <a:lnTo>
                    <a:pt x="794" y="2153"/>
                  </a:lnTo>
                  <a:lnTo>
                    <a:pt x="794" y="2218"/>
                  </a:lnTo>
                  <a:close/>
                  <a:moveTo>
                    <a:pt x="794" y="2332"/>
                  </a:moveTo>
                  <a:lnTo>
                    <a:pt x="859" y="2332"/>
                  </a:lnTo>
                  <a:lnTo>
                    <a:pt x="859" y="2268"/>
                  </a:lnTo>
                  <a:lnTo>
                    <a:pt x="794" y="2268"/>
                  </a:lnTo>
                  <a:lnTo>
                    <a:pt x="794" y="2332"/>
                  </a:lnTo>
                  <a:close/>
                  <a:moveTo>
                    <a:pt x="794" y="2445"/>
                  </a:moveTo>
                  <a:lnTo>
                    <a:pt x="859" y="2445"/>
                  </a:lnTo>
                  <a:lnTo>
                    <a:pt x="859" y="2381"/>
                  </a:lnTo>
                  <a:lnTo>
                    <a:pt x="794" y="2381"/>
                  </a:lnTo>
                  <a:lnTo>
                    <a:pt x="794" y="2445"/>
                  </a:lnTo>
                  <a:close/>
                  <a:moveTo>
                    <a:pt x="794" y="2557"/>
                  </a:moveTo>
                  <a:lnTo>
                    <a:pt x="859" y="2557"/>
                  </a:lnTo>
                  <a:lnTo>
                    <a:pt x="859" y="2493"/>
                  </a:lnTo>
                  <a:lnTo>
                    <a:pt x="794" y="2493"/>
                  </a:lnTo>
                  <a:lnTo>
                    <a:pt x="794" y="2557"/>
                  </a:lnTo>
                  <a:close/>
                  <a:moveTo>
                    <a:pt x="794" y="2670"/>
                  </a:moveTo>
                  <a:lnTo>
                    <a:pt x="859" y="2670"/>
                  </a:lnTo>
                  <a:lnTo>
                    <a:pt x="859" y="2606"/>
                  </a:lnTo>
                  <a:lnTo>
                    <a:pt x="794" y="2606"/>
                  </a:lnTo>
                  <a:lnTo>
                    <a:pt x="794" y="2670"/>
                  </a:lnTo>
                  <a:close/>
                  <a:moveTo>
                    <a:pt x="794" y="2898"/>
                  </a:moveTo>
                  <a:lnTo>
                    <a:pt x="859" y="2898"/>
                  </a:lnTo>
                  <a:lnTo>
                    <a:pt x="859" y="2834"/>
                  </a:lnTo>
                  <a:lnTo>
                    <a:pt x="794" y="2834"/>
                  </a:lnTo>
                  <a:lnTo>
                    <a:pt x="794" y="2898"/>
                  </a:lnTo>
                  <a:close/>
                  <a:moveTo>
                    <a:pt x="909" y="1649"/>
                  </a:moveTo>
                  <a:lnTo>
                    <a:pt x="973" y="1649"/>
                  </a:lnTo>
                  <a:lnTo>
                    <a:pt x="973" y="1585"/>
                  </a:lnTo>
                  <a:lnTo>
                    <a:pt x="909" y="1585"/>
                  </a:lnTo>
                  <a:lnTo>
                    <a:pt x="909" y="1649"/>
                  </a:lnTo>
                  <a:close/>
                  <a:moveTo>
                    <a:pt x="909" y="1766"/>
                  </a:moveTo>
                  <a:lnTo>
                    <a:pt x="973" y="1766"/>
                  </a:lnTo>
                  <a:lnTo>
                    <a:pt x="973" y="1701"/>
                  </a:lnTo>
                  <a:lnTo>
                    <a:pt x="909" y="1701"/>
                  </a:lnTo>
                  <a:lnTo>
                    <a:pt x="909" y="1766"/>
                  </a:lnTo>
                  <a:close/>
                  <a:moveTo>
                    <a:pt x="909" y="1880"/>
                  </a:moveTo>
                  <a:lnTo>
                    <a:pt x="973" y="1880"/>
                  </a:lnTo>
                  <a:lnTo>
                    <a:pt x="973" y="1816"/>
                  </a:lnTo>
                  <a:lnTo>
                    <a:pt x="909" y="1816"/>
                  </a:lnTo>
                  <a:lnTo>
                    <a:pt x="909" y="1880"/>
                  </a:lnTo>
                  <a:close/>
                  <a:moveTo>
                    <a:pt x="909" y="1994"/>
                  </a:moveTo>
                  <a:lnTo>
                    <a:pt x="973" y="1994"/>
                  </a:lnTo>
                  <a:lnTo>
                    <a:pt x="973" y="1929"/>
                  </a:lnTo>
                  <a:lnTo>
                    <a:pt x="909" y="1929"/>
                  </a:lnTo>
                  <a:lnTo>
                    <a:pt x="909" y="1994"/>
                  </a:lnTo>
                  <a:close/>
                  <a:moveTo>
                    <a:pt x="909" y="2105"/>
                  </a:moveTo>
                  <a:lnTo>
                    <a:pt x="973" y="2105"/>
                  </a:lnTo>
                  <a:lnTo>
                    <a:pt x="973" y="2040"/>
                  </a:lnTo>
                  <a:lnTo>
                    <a:pt x="909" y="2040"/>
                  </a:lnTo>
                  <a:lnTo>
                    <a:pt x="909" y="2105"/>
                  </a:lnTo>
                  <a:close/>
                  <a:moveTo>
                    <a:pt x="909" y="2218"/>
                  </a:moveTo>
                  <a:lnTo>
                    <a:pt x="973" y="2218"/>
                  </a:lnTo>
                  <a:lnTo>
                    <a:pt x="973" y="2153"/>
                  </a:lnTo>
                  <a:lnTo>
                    <a:pt x="909" y="2153"/>
                  </a:lnTo>
                  <a:lnTo>
                    <a:pt x="909" y="2218"/>
                  </a:lnTo>
                  <a:close/>
                  <a:moveTo>
                    <a:pt x="909" y="2332"/>
                  </a:moveTo>
                  <a:lnTo>
                    <a:pt x="973" y="2332"/>
                  </a:lnTo>
                  <a:lnTo>
                    <a:pt x="973" y="2268"/>
                  </a:lnTo>
                  <a:lnTo>
                    <a:pt x="909" y="2268"/>
                  </a:lnTo>
                  <a:lnTo>
                    <a:pt x="909" y="2332"/>
                  </a:lnTo>
                  <a:close/>
                  <a:moveTo>
                    <a:pt x="909" y="2445"/>
                  </a:moveTo>
                  <a:lnTo>
                    <a:pt x="973" y="2445"/>
                  </a:lnTo>
                  <a:lnTo>
                    <a:pt x="973" y="2381"/>
                  </a:lnTo>
                  <a:lnTo>
                    <a:pt x="909" y="2381"/>
                  </a:lnTo>
                  <a:lnTo>
                    <a:pt x="909" y="2445"/>
                  </a:lnTo>
                  <a:close/>
                  <a:moveTo>
                    <a:pt x="909" y="2557"/>
                  </a:moveTo>
                  <a:lnTo>
                    <a:pt x="973" y="2557"/>
                  </a:lnTo>
                  <a:lnTo>
                    <a:pt x="973" y="2493"/>
                  </a:lnTo>
                  <a:lnTo>
                    <a:pt x="909" y="2493"/>
                  </a:lnTo>
                  <a:lnTo>
                    <a:pt x="909" y="2557"/>
                  </a:lnTo>
                  <a:close/>
                  <a:moveTo>
                    <a:pt x="909" y="2670"/>
                  </a:moveTo>
                  <a:lnTo>
                    <a:pt x="973" y="2670"/>
                  </a:lnTo>
                  <a:lnTo>
                    <a:pt x="973" y="2606"/>
                  </a:lnTo>
                  <a:lnTo>
                    <a:pt x="909" y="2606"/>
                  </a:lnTo>
                  <a:lnTo>
                    <a:pt x="909" y="2670"/>
                  </a:lnTo>
                  <a:close/>
                  <a:moveTo>
                    <a:pt x="909" y="2785"/>
                  </a:moveTo>
                  <a:lnTo>
                    <a:pt x="973" y="2785"/>
                  </a:lnTo>
                  <a:lnTo>
                    <a:pt x="973" y="2720"/>
                  </a:lnTo>
                  <a:lnTo>
                    <a:pt x="909" y="2720"/>
                  </a:lnTo>
                  <a:lnTo>
                    <a:pt x="909" y="2785"/>
                  </a:lnTo>
                  <a:close/>
                  <a:moveTo>
                    <a:pt x="909" y="2898"/>
                  </a:moveTo>
                  <a:lnTo>
                    <a:pt x="973" y="2898"/>
                  </a:lnTo>
                  <a:lnTo>
                    <a:pt x="973" y="2834"/>
                  </a:lnTo>
                  <a:lnTo>
                    <a:pt x="909" y="2834"/>
                  </a:lnTo>
                  <a:lnTo>
                    <a:pt x="909" y="2898"/>
                  </a:lnTo>
                  <a:close/>
                  <a:moveTo>
                    <a:pt x="1022" y="1766"/>
                  </a:moveTo>
                  <a:lnTo>
                    <a:pt x="1087" y="1766"/>
                  </a:lnTo>
                  <a:lnTo>
                    <a:pt x="1087" y="1701"/>
                  </a:lnTo>
                  <a:lnTo>
                    <a:pt x="1022" y="1701"/>
                  </a:lnTo>
                  <a:lnTo>
                    <a:pt x="1022" y="1766"/>
                  </a:lnTo>
                  <a:close/>
                  <a:moveTo>
                    <a:pt x="1022" y="1880"/>
                  </a:moveTo>
                  <a:lnTo>
                    <a:pt x="1087" y="1880"/>
                  </a:lnTo>
                  <a:lnTo>
                    <a:pt x="1087" y="1816"/>
                  </a:lnTo>
                  <a:lnTo>
                    <a:pt x="1022" y="1816"/>
                  </a:lnTo>
                  <a:lnTo>
                    <a:pt x="1022" y="1880"/>
                  </a:lnTo>
                  <a:close/>
                  <a:moveTo>
                    <a:pt x="1022" y="1994"/>
                  </a:moveTo>
                  <a:lnTo>
                    <a:pt x="1087" y="1994"/>
                  </a:lnTo>
                  <a:lnTo>
                    <a:pt x="1087" y="1929"/>
                  </a:lnTo>
                  <a:lnTo>
                    <a:pt x="1022" y="1929"/>
                  </a:lnTo>
                  <a:lnTo>
                    <a:pt x="1022" y="1994"/>
                  </a:lnTo>
                  <a:close/>
                  <a:moveTo>
                    <a:pt x="1022" y="2105"/>
                  </a:moveTo>
                  <a:lnTo>
                    <a:pt x="1087" y="2105"/>
                  </a:lnTo>
                  <a:lnTo>
                    <a:pt x="1087" y="2040"/>
                  </a:lnTo>
                  <a:lnTo>
                    <a:pt x="1022" y="2040"/>
                  </a:lnTo>
                  <a:lnTo>
                    <a:pt x="1022" y="2105"/>
                  </a:lnTo>
                  <a:close/>
                  <a:moveTo>
                    <a:pt x="1022" y="2218"/>
                  </a:moveTo>
                  <a:lnTo>
                    <a:pt x="1087" y="2218"/>
                  </a:lnTo>
                  <a:lnTo>
                    <a:pt x="1087" y="2153"/>
                  </a:lnTo>
                  <a:lnTo>
                    <a:pt x="1022" y="2153"/>
                  </a:lnTo>
                  <a:lnTo>
                    <a:pt x="1022" y="2218"/>
                  </a:lnTo>
                  <a:close/>
                  <a:moveTo>
                    <a:pt x="1022" y="2332"/>
                  </a:moveTo>
                  <a:lnTo>
                    <a:pt x="1087" y="2332"/>
                  </a:lnTo>
                  <a:lnTo>
                    <a:pt x="1087" y="2268"/>
                  </a:lnTo>
                  <a:lnTo>
                    <a:pt x="1022" y="2268"/>
                  </a:lnTo>
                  <a:lnTo>
                    <a:pt x="1022" y="2332"/>
                  </a:lnTo>
                  <a:close/>
                  <a:moveTo>
                    <a:pt x="1022" y="2445"/>
                  </a:moveTo>
                  <a:lnTo>
                    <a:pt x="1087" y="2445"/>
                  </a:lnTo>
                  <a:lnTo>
                    <a:pt x="1087" y="2381"/>
                  </a:lnTo>
                  <a:lnTo>
                    <a:pt x="1022" y="2381"/>
                  </a:lnTo>
                  <a:lnTo>
                    <a:pt x="1022" y="2445"/>
                  </a:lnTo>
                  <a:close/>
                  <a:moveTo>
                    <a:pt x="1022" y="2557"/>
                  </a:moveTo>
                  <a:lnTo>
                    <a:pt x="1087" y="2557"/>
                  </a:lnTo>
                  <a:lnTo>
                    <a:pt x="1087" y="2493"/>
                  </a:lnTo>
                  <a:lnTo>
                    <a:pt x="1022" y="2493"/>
                  </a:lnTo>
                  <a:lnTo>
                    <a:pt x="1022" y="2557"/>
                  </a:lnTo>
                  <a:close/>
                  <a:moveTo>
                    <a:pt x="1022" y="2670"/>
                  </a:moveTo>
                  <a:lnTo>
                    <a:pt x="1087" y="2670"/>
                  </a:lnTo>
                  <a:lnTo>
                    <a:pt x="1087" y="2606"/>
                  </a:lnTo>
                  <a:lnTo>
                    <a:pt x="1022" y="2606"/>
                  </a:lnTo>
                  <a:lnTo>
                    <a:pt x="1022" y="2670"/>
                  </a:lnTo>
                  <a:close/>
                  <a:moveTo>
                    <a:pt x="1022" y="2785"/>
                  </a:moveTo>
                  <a:lnTo>
                    <a:pt x="1087" y="2785"/>
                  </a:lnTo>
                  <a:lnTo>
                    <a:pt x="1087" y="2720"/>
                  </a:lnTo>
                  <a:lnTo>
                    <a:pt x="1022" y="2720"/>
                  </a:lnTo>
                  <a:lnTo>
                    <a:pt x="1022" y="2785"/>
                  </a:lnTo>
                  <a:close/>
                  <a:moveTo>
                    <a:pt x="1137" y="1766"/>
                  </a:moveTo>
                  <a:lnTo>
                    <a:pt x="1202" y="1766"/>
                  </a:lnTo>
                  <a:lnTo>
                    <a:pt x="1202" y="1701"/>
                  </a:lnTo>
                  <a:lnTo>
                    <a:pt x="1137" y="1701"/>
                  </a:lnTo>
                  <a:lnTo>
                    <a:pt x="1137" y="1766"/>
                  </a:lnTo>
                  <a:close/>
                  <a:moveTo>
                    <a:pt x="1137" y="1880"/>
                  </a:moveTo>
                  <a:lnTo>
                    <a:pt x="1202" y="1880"/>
                  </a:lnTo>
                  <a:lnTo>
                    <a:pt x="1202" y="1816"/>
                  </a:lnTo>
                  <a:lnTo>
                    <a:pt x="1137" y="1816"/>
                  </a:lnTo>
                  <a:lnTo>
                    <a:pt x="1137" y="1880"/>
                  </a:lnTo>
                  <a:close/>
                  <a:moveTo>
                    <a:pt x="1137" y="1994"/>
                  </a:moveTo>
                  <a:lnTo>
                    <a:pt x="1202" y="1994"/>
                  </a:lnTo>
                  <a:lnTo>
                    <a:pt x="1202" y="1929"/>
                  </a:lnTo>
                  <a:lnTo>
                    <a:pt x="1137" y="1929"/>
                  </a:lnTo>
                  <a:lnTo>
                    <a:pt x="1137" y="1994"/>
                  </a:lnTo>
                  <a:close/>
                  <a:moveTo>
                    <a:pt x="1137" y="2105"/>
                  </a:moveTo>
                  <a:lnTo>
                    <a:pt x="1202" y="2105"/>
                  </a:lnTo>
                  <a:lnTo>
                    <a:pt x="1202" y="2040"/>
                  </a:lnTo>
                  <a:lnTo>
                    <a:pt x="1137" y="2040"/>
                  </a:lnTo>
                  <a:lnTo>
                    <a:pt x="1137" y="2105"/>
                  </a:lnTo>
                  <a:close/>
                  <a:moveTo>
                    <a:pt x="1137" y="2218"/>
                  </a:moveTo>
                  <a:lnTo>
                    <a:pt x="1202" y="2218"/>
                  </a:lnTo>
                  <a:lnTo>
                    <a:pt x="1202" y="2153"/>
                  </a:lnTo>
                  <a:lnTo>
                    <a:pt x="1137" y="2153"/>
                  </a:lnTo>
                  <a:lnTo>
                    <a:pt x="1137" y="2218"/>
                  </a:lnTo>
                  <a:close/>
                  <a:moveTo>
                    <a:pt x="1137" y="2332"/>
                  </a:moveTo>
                  <a:lnTo>
                    <a:pt x="1202" y="2332"/>
                  </a:lnTo>
                  <a:lnTo>
                    <a:pt x="1202" y="2268"/>
                  </a:lnTo>
                  <a:lnTo>
                    <a:pt x="1137" y="2268"/>
                  </a:lnTo>
                  <a:lnTo>
                    <a:pt x="1137" y="2332"/>
                  </a:lnTo>
                  <a:close/>
                  <a:moveTo>
                    <a:pt x="1137" y="2445"/>
                  </a:moveTo>
                  <a:lnTo>
                    <a:pt x="1202" y="2445"/>
                  </a:lnTo>
                  <a:lnTo>
                    <a:pt x="1202" y="2381"/>
                  </a:lnTo>
                  <a:lnTo>
                    <a:pt x="1137" y="2381"/>
                  </a:lnTo>
                  <a:lnTo>
                    <a:pt x="1137" y="2445"/>
                  </a:lnTo>
                  <a:close/>
                  <a:moveTo>
                    <a:pt x="1137" y="2557"/>
                  </a:moveTo>
                  <a:lnTo>
                    <a:pt x="1202" y="2557"/>
                  </a:lnTo>
                  <a:lnTo>
                    <a:pt x="1202" y="2493"/>
                  </a:lnTo>
                  <a:lnTo>
                    <a:pt x="1137" y="2493"/>
                  </a:lnTo>
                  <a:lnTo>
                    <a:pt x="1137" y="2557"/>
                  </a:lnTo>
                  <a:close/>
                  <a:moveTo>
                    <a:pt x="1137" y="2670"/>
                  </a:moveTo>
                  <a:lnTo>
                    <a:pt x="1202" y="2670"/>
                  </a:lnTo>
                  <a:lnTo>
                    <a:pt x="1202" y="2606"/>
                  </a:lnTo>
                  <a:lnTo>
                    <a:pt x="1137" y="2606"/>
                  </a:lnTo>
                  <a:lnTo>
                    <a:pt x="1137" y="2670"/>
                  </a:lnTo>
                  <a:close/>
                  <a:moveTo>
                    <a:pt x="1137" y="2785"/>
                  </a:moveTo>
                  <a:lnTo>
                    <a:pt x="1202" y="2785"/>
                  </a:lnTo>
                  <a:lnTo>
                    <a:pt x="1202" y="2720"/>
                  </a:lnTo>
                  <a:lnTo>
                    <a:pt x="1137" y="2720"/>
                  </a:lnTo>
                  <a:lnTo>
                    <a:pt x="1137" y="2785"/>
                  </a:lnTo>
                  <a:close/>
                  <a:moveTo>
                    <a:pt x="1249" y="1766"/>
                  </a:moveTo>
                  <a:lnTo>
                    <a:pt x="1314" y="1766"/>
                  </a:lnTo>
                  <a:lnTo>
                    <a:pt x="1314" y="1701"/>
                  </a:lnTo>
                  <a:lnTo>
                    <a:pt x="1249" y="1701"/>
                  </a:lnTo>
                  <a:lnTo>
                    <a:pt x="1249" y="1766"/>
                  </a:lnTo>
                  <a:close/>
                  <a:moveTo>
                    <a:pt x="1249" y="1880"/>
                  </a:moveTo>
                  <a:lnTo>
                    <a:pt x="1314" y="1880"/>
                  </a:lnTo>
                  <a:lnTo>
                    <a:pt x="1314" y="1816"/>
                  </a:lnTo>
                  <a:lnTo>
                    <a:pt x="1249" y="1816"/>
                  </a:lnTo>
                  <a:lnTo>
                    <a:pt x="1249" y="1880"/>
                  </a:lnTo>
                  <a:close/>
                  <a:moveTo>
                    <a:pt x="1249" y="1994"/>
                  </a:moveTo>
                  <a:lnTo>
                    <a:pt x="1314" y="1994"/>
                  </a:lnTo>
                  <a:lnTo>
                    <a:pt x="1314" y="1929"/>
                  </a:lnTo>
                  <a:lnTo>
                    <a:pt x="1249" y="1929"/>
                  </a:lnTo>
                  <a:lnTo>
                    <a:pt x="1249" y="1994"/>
                  </a:lnTo>
                  <a:close/>
                  <a:moveTo>
                    <a:pt x="1249" y="2105"/>
                  </a:moveTo>
                  <a:lnTo>
                    <a:pt x="1314" y="2105"/>
                  </a:lnTo>
                  <a:lnTo>
                    <a:pt x="1314" y="2040"/>
                  </a:lnTo>
                  <a:lnTo>
                    <a:pt x="1249" y="2040"/>
                  </a:lnTo>
                  <a:lnTo>
                    <a:pt x="1249" y="2105"/>
                  </a:lnTo>
                  <a:close/>
                  <a:moveTo>
                    <a:pt x="1249" y="2218"/>
                  </a:moveTo>
                  <a:lnTo>
                    <a:pt x="1314" y="2218"/>
                  </a:lnTo>
                  <a:lnTo>
                    <a:pt x="1314" y="2153"/>
                  </a:lnTo>
                  <a:lnTo>
                    <a:pt x="1249" y="2153"/>
                  </a:lnTo>
                  <a:lnTo>
                    <a:pt x="1249" y="2218"/>
                  </a:lnTo>
                  <a:close/>
                  <a:moveTo>
                    <a:pt x="1249" y="2332"/>
                  </a:moveTo>
                  <a:lnTo>
                    <a:pt x="1314" y="2332"/>
                  </a:lnTo>
                  <a:lnTo>
                    <a:pt x="1314" y="2268"/>
                  </a:lnTo>
                  <a:lnTo>
                    <a:pt x="1249" y="2268"/>
                  </a:lnTo>
                  <a:lnTo>
                    <a:pt x="1249" y="2332"/>
                  </a:lnTo>
                  <a:close/>
                  <a:moveTo>
                    <a:pt x="1249" y="2445"/>
                  </a:moveTo>
                  <a:lnTo>
                    <a:pt x="1314" y="2445"/>
                  </a:lnTo>
                  <a:lnTo>
                    <a:pt x="1314" y="2381"/>
                  </a:lnTo>
                  <a:lnTo>
                    <a:pt x="1249" y="2381"/>
                  </a:lnTo>
                  <a:lnTo>
                    <a:pt x="1249" y="2445"/>
                  </a:lnTo>
                  <a:close/>
                  <a:moveTo>
                    <a:pt x="1249" y="2557"/>
                  </a:moveTo>
                  <a:lnTo>
                    <a:pt x="1314" y="2557"/>
                  </a:lnTo>
                  <a:lnTo>
                    <a:pt x="1314" y="2493"/>
                  </a:lnTo>
                  <a:lnTo>
                    <a:pt x="1249" y="2493"/>
                  </a:lnTo>
                  <a:lnTo>
                    <a:pt x="1249" y="2557"/>
                  </a:lnTo>
                  <a:close/>
                  <a:moveTo>
                    <a:pt x="1364" y="1880"/>
                  </a:moveTo>
                  <a:lnTo>
                    <a:pt x="1428" y="1880"/>
                  </a:lnTo>
                  <a:lnTo>
                    <a:pt x="1428" y="1816"/>
                  </a:lnTo>
                  <a:lnTo>
                    <a:pt x="1364" y="1816"/>
                  </a:lnTo>
                  <a:lnTo>
                    <a:pt x="1364" y="1880"/>
                  </a:lnTo>
                  <a:close/>
                  <a:moveTo>
                    <a:pt x="1364" y="1994"/>
                  </a:moveTo>
                  <a:lnTo>
                    <a:pt x="1428" y="1994"/>
                  </a:lnTo>
                  <a:lnTo>
                    <a:pt x="1428" y="1929"/>
                  </a:lnTo>
                  <a:lnTo>
                    <a:pt x="1364" y="1929"/>
                  </a:lnTo>
                  <a:lnTo>
                    <a:pt x="1364" y="1994"/>
                  </a:lnTo>
                  <a:close/>
                  <a:moveTo>
                    <a:pt x="1364" y="2105"/>
                  </a:moveTo>
                  <a:lnTo>
                    <a:pt x="1428" y="2105"/>
                  </a:lnTo>
                  <a:lnTo>
                    <a:pt x="1428" y="2040"/>
                  </a:lnTo>
                  <a:lnTo>
                    <a:pt x="1364" y="2040"/>
                  </a:lnTo>
                  <a:lnTo>
                    <a:pt x="1364" y="2105"/>
                  </a:lnTo>
                  <a:close/>
                  <a:moveTo>
                    <a:pt x="1364" y="2218"/>
                  </a:moveTo>
                  <a:lnTo>
                    <a:pt x="1428" y="2218"/>
                  </a:lnTo>
                  <a:lnTo>
                    <a:pt x="1428" y="2153"/>
                  </a:lnTo>
                  <a:lnTo>
                    <a:pt x="1364" y="2153"/>
                  </a:lnTo>
                  <a:lnTo>
                    <a:pt x="1364" y="2218"/>
                  </a:lnTo>
                  <a:close/>
                  <a:moveTo>
                    <a:pt x="1364" y="2332"/>
                  </a:moveTo>
                  <a:lnTo>
                    <a:pt x="1428" y="2332"/>
                  </a:lnTo>
                  <a:lnTo>
                    <a:pt x="1428" y="2268"/>
                  </a:lnTo>
                  <a:lnTo>
                    <a:pt x="1364" y="2268"/>
                  </a:lnTo>
                  <a:lnTo>
                    <a:pt x="1364" y="2332"/>
                  </a:lnTo>
                  <a:close/>
                  <a:moveTo>
                    <a:pt x="1364" y="2445"/>
                  </a:moveTo>
                  <a:lnTo>
                    <a:pt x="1428" y="2445"/>
                  </a:lnTo>
                  <a:lnTo>
                    <a:pt x="1428" y="2381"/>
                  </a:lnTo>
                  <a:lnTo>
                    <a:pt x="1364" y="2381"/>
                  </a:lnTo>
                  <a:lnTo>
                    <a:pt x="1364" y="2445"/>
                  </a:lnTo>
                  <a:close/>
                  <a:moveTo>
                    <a:pt x="1364" y="2557"/>
                  </a:moveTo>
                  <a:lnTo>
                    <a:pt x="1428" y="2557"/>
                  </a:lnTo>
                  <a:lnTo>
                    <a:pt x="1428" y="2493"/>
                  </a:lnTo>
                  <a:lnTo>
                    <a:pt x="1364" y="2493"/>
                  </a:lnTo>
                  <a:lnTo>
                    <a:pt x="1364" y="2557"/>
                  </a:lnTo>
                  <a:close/>
                  <a:moveTo>
                    <a:pt x="1478" y="1880"/>
                  </a:moveTo>
                  <a:lnTo>
                    <a:pt x="1542" y="1880"/>
                  </a:lnTo>
                  <a:lnTo>
                    <a:pt x="1542" y="1816"/>
                  </a:lnTo>
                  <a:lnTo>
                    <a:pt x="1478" y="1816"/>
                  </a:lnTo>
                  <a:lnTo>
                    <a:pt x="1478" y="1880"/>
                  </a:lnTo>
                  <a:close/>
                  <a:moveTo>
                    <a:pt x="1478" y="1994"/>
                  </a:moveTo>
                  <a:lnTo>
                    <a:pt x="1542" y="1994"/>
                  </a:lnTo>
                  <a:lnTo>
                    <a:pt x="1542" y="1929"/>
                  </a:lnTo>
                  <a:lnTo>
                    <a:pt x="1478" y="1929"/>
                  </a:lnTo>
                  <a:lnTo>
                    <a:pt x="1478" y="1994"/>
                  </a:lnTo>
                  <a:close/>
                  <a:moveTo>
                    <a:pt x="1478" y="2105"/>
                  </a:moveTo>
                  <a:lnTo>
                    <a:pt x="1542" y="2105"/>
                  </a:lnTo>
                  <a:lnTo>
                    <a:pt x="1542" y="2040"/>
                  </a:lnTo>
                  <a:lnTo>
                    <a:pt x="1478" y="2040"/>
                  </a:lnTo>
                  <a:lnTo>
                    <a:pt x="1478" y="2105"/>
                  </a:lnTo>
                  <a:close/>
                  <a:moveTo>
                    <a:pt x="1478" y="2218"/>
                  </a:moveTo>
                  <a:lnTo>
                    <a:pt x="1542" y="2218"/>
                  </a:lnTo>
                  <a:lnTo>
                    <a:pt x="1542" y="2153"/>
                  </a:lnTo>
                  <a:lnTo>
                    <a:pt x="1478" y="2153"/>
                  </a:lnTo>
                  <a:lnTo>
                    <a:pt x="1478" y="2218"/>
                  </a:lnTo>
                  <a:close/>
                  <a:moveTo>
                    <a:pt x="1478" y="2332"/>
                  </a:moveTo>
                  <a:lnTo>
                    <a:pt x="1542" y="2332"/>
                  </a:lnTo>
                  <a:lnTo>
                    <a:pt x="1542" y="2268"/>
                  </a:lnTo>
                  <a:lnTo>
                    <a:pt x="1478" y="2268"/>
                  </a:lnTo>
                  <a:lnTo>
                    <a:pt x="1478" y="2332"/>
                  </a:lnTo>
                  <a:close/>
                  <a:moveTo>
                    <a:pt x="1478" y="2445"/>
                  </a:moveTo>
                  <a:lnTo>
                    <a:pt x="1542" y="2445"/>
                  </a:lnTo>
                  <a:lnTo>
                    <a:pt x="1542" y="2381"/>
                  </a:lnTo>
                  <a:lnTo>
                    <a:pt x="1478" y="2381"/>
                  </a:lnTo>
                  <a:lnTo>
                    <a:pt x="1478" y="2445"/>
                  </a:lnTo>
                  <a:close/>
                  <a:moveTo>
                    <a:pt x="1478" y="2557"/>
                  </a:moveTo>
                  <a:lnTo>
                    <a:pt x="1542" y="2557"/>
                  </a:lnTo>
                  <a:lnTo>
                    <a:pt x="1542" y="2493"/>
                  </a:lnTo>
                  <a:lnTo>
                    <a:pt x="1478" y="2493"/>
                  </a:lnTo>
                  <a:lnTo>
                    <a:pt x="1478" y="2557"/>
                  </a:lnTo>
                  <a:close/>
                  <a:moveTo>
                    <a:pt x="1592" y="1994"/>
                  </a:moveTo>
                  <a:lnTo>
                    <a:pt x="1657" y="1994"/>
                  </a:lnTo>
                  <a:lnTo>
                    <a:pt x="1657" y="1929"/>
                  </a:lnTo>
                  <a:lnTo>
                    <a:pt x="1592" y="1929"/>
                  </a:lnTo>
                  <a:lnTo>
                    <a:pt x="1592" y="1994"/>
                  </a:lnTo>
                  <a:close/>
                  <a:moveTo>
                    <a:pt x="1592" y="2105"/>
                  </a:moveTo>
                  <a:lnTo>
                    <a:pt x="1657" y="2105"/>
                  </a:lnTo>
                  <a:lnTo>
                    <a:pt x="1657" y="2040"/>
                  </a:lnTo>
                  <a:lnTo>
                    <a:pt x="1592" y="2040"/>
                  </a:lnTo>
                  <a:lnTo>
                    <a:pt x="1592" y="2105"/>
                  </a:lnTo>
                  <a:close/>
                  <a:moveTo>
                    <a:pt x="1592" y="2218"/>
                  </a:moveTo>
                  <a:lnTo>
                    <a:pt x="1657" y="2218"/>
                  </a:lnTo>
                  <a:lnTo>
                    <a:pt x="1657" y="2153"/>
                  </a:lnTo>
                  <a:lnTo>
                    <a:pt x="1592" y="2153"/>
                  </a:lnTo>
                  <a:lnTo>
                    <a:pt x="1592" y="2218"/>
                  </a:lnTo>
                  <a:close/>
                  <a:moveTo>
                    <a:pt x="1592" y="2332"/>
                  </a:moveTo>
                  <a:lnTo>
                    <a:pt x="1657" y="2332"/>
                  </a:lnTo>
                  <a:lnTo>
                    <a:pt x="1657" y="2268"/>
                  </a:lnTo>
                  <a:lnTo>
                    <a:pt x="1592" y="2268"/>
                  </a:lnTo>
                  <a:lnTo>
                    <a:pt x="1592" y="2332"/>
                  </a:lnTo>
                  <a:close/>
                  <a:moveTo>
                    <a:pt x="1592" y="2445"/>
                  </a:moveTo>
                  <a:lnTo>
                    <a:pt x="1657" y="2445"/>
                  </a:lnTo>
                  <a:lnTo>
                    <a:pt x="1657" y="2381"/>
                  </a:lnTo>
                  <a:lnTo>
                    <a:pt x="1592" y="2381"/>
                  </a:lnTo>
                  <a:lnTo>
                    <a:pt x="1592" y="2445"/>
                  </a:lnTo>
                  <a:close/>
                  <a:moveTo>
                    <a:pt x="1592" y="2557"/>
                  </a:moveTo>
                  <a:lnTo>
                    <a:pt x="1657" y="2557"/>
                  </a:lnTo>
                  <a:lnTo>
                    <a:pt x="1657" y="2493"/>
                  </a:lnTo>
                  <a:lnTo>
                    <a:pt x="1592" y="2493"/>
                  </a:lnTo>
                  <a:lnTo>
                    <a:pt x="1592" y="2557"/>
                  </a:lnTo>
                  <a:close/>
                  <a:moveTo>
                    <a:pt x="1592" y="2670"/>
                  </a:moveTo>
                  <a:lnTo>
                    <a:pt x="1657" y="2670"/>
                  </a:lnTo>
                  <a:lnTo>
                    <a:pt x="1657" y="2606"/>
                  </a:lnTo>
                  <a:lnTo>
                    <a:pt x="1592" y="2606"/>
                  </a:lnTo>
                  <a:lnTo>
                    <a:pt x="1592" y="2670"/>
                  </a:lnTo>
                  <a:close/>
                  <a:moveTo>
                    <a:pt x="1704" y="1994"/>
                  </a:moveTo>
                  <a:lnTo>
                    <a:pt x="1769" y="1994"/>
                  </a:lnTo>
                  <a:lnTo>
                    <a:pt x="1769" y="1929"/>
                  </a:lnTo>
                  <a:lnTo>
                    <a:pt x="1704" y="1929"/>
                  </a:lnTo>
                  <a:lnTo>
                    <a:pt x="1704" y="1994"/>
                  </a:lnTo>
                  <a:close/>
                  <a:moveTo>
                    <a:pt x="1704" y="2105"/>
                  </a:moveTo>
                  <a:lnTo>
                    <a:pt x="1769" y="2105"/>
                  </a:lnTo>
                  <a:lnTo>
                    <a:pt x="1769" y="2040"/>
                  </a:lnTo>
                  <a:lnTo>
                    <a:pt x="1704" y="2040"/>
                  </a:lnTo>
                  <a:lnTo>
                    <a:pt x="1704" y="2105"/>
                  </a:lnTo>
                  <a:close/>
                  <a:moveTo>
                    <a:pt x="1704" y="2218"/>
                  </a:moveTo>
                  <a:lnTo>
                    <a:pt x="1769" y="2218"/>
                  </a:lnTo>
                  <a:lnTo>
                    <a:pt x="1769" y="2153"/>
                  </a:lnTo>
                  <a:lnTo>
                    <a:pt x="1704" y="2153"/>
                  </a:lnTo>
                  <a:lnTo>
                    <a:pt x="1704" y="2218"/>
                  </a:lnTo>
                  <a:close/>
                  <a:moveTo>
                    <a:pt x="1704" y="2332"/>
                  </a:moveTo>
                  <a:lnTo>
                    <a:pt x="1769" y="2332"/>
                  </a:lnTo>
                  <a:lnTo>
                    <a:pt x="1769" y="2268"/>
                  </a:lnTo>
                  <a:lnTo>
                    <a:pt x="1704" y="2268"/>
                  </a:lnTo>
                  <a:lnTo>
                    <a:pt x="1704" y="2332"/>
                  </a:lnTo>
                  <a:close/>
                  <a:moveTo>
                    <a:pt x="1704" y="2445"/>
                  </a:moveTo>
                  <a:lnTo>
                    <a:pt x="1769" y="2445"/>
                  </a:lnTo>
                  <a:lnTo>
                    <a:pt x="1769" y="2381"/>
                  </a:lnTo>
                  <a:lnTo>
                    <a:pt x="1704" y="2381"/>
                  </a:lnTo>
                  <a:lnTo>
                    <a:pt x="1704" y="2445"/>
                  </a:lnTo>
                  <a:close/>
                  <a:moveTo>
                    <a:pt x="1704" y="2557"/>
                  </a:moveTo>
                  <a:lnTo>
                    <a:pt x="1769" y="2557"/>
                  </a:lnTo>
                  <a:lnTo>
                    <a:pt x="1769" y="2493"/>
                  </a:lnTo>
                  <a:lnTo>
                    <a:pt x="1704" y="2493"/>
                  </a:lnTo>
                  <a:lnTo>
                    <a:pt x="1704" y="2557"/>
                  </a:lnTo>
                  <a:close/>
                  <a:moveTo>
                    <a:pt x="1704" y="2670"/>
                  </a:moveTo>
                  <a:lnTo>
                    <a:pt x="1769" y="2670"/>
                  </a:lnTo>
                  <a:lnTo>
                    <a:pt x="1769" y="2606"/>
                  </a:lnTo>
                  <a:lnTo>
                    <a:pt x="1704" y="2606"/>
                  </a:lnTo>
                  <a:lnTo>
                    <a:pt x="1704" y="2670"/>
                  </a:lnTo>
                  <a:close/>
                  <a:moveTo>
                    <a:pt x="1704" y="2785"/>
                  </a:moveTo>
                  <a:lnTo>
                    <a:pt x="1769" y="2785"/>
                  </a:lnTo>
                  <a:lnTo>
                    <a:pt x="1769" y="2720"/>
                  </a:lnTo>
                  <a:lnTo>
                    <a:pt x="1704" y="2720"/>
                  </a:lnTo>
                  <a:lnTo>
                    <a:pt x="1704" y="2785"/>
                  </a:lnTo>
                  <a:close/>
                  <a:moveTo>
                    <a:pt x="1704" y="2898"/>
                  </a:moveTo>
                  <a:lnTo>
                    <a:pt x="1769" y="2898"/>
                  </a:lnTo>
                  <a:lnTo>
                    <a:pt x="1769" y="2834"/>
                  </a:lnTo>
                  <a:lnTo>
                    <a:pt x="1704" y="2834"/>
                  </a:lnTo>
                  <a:lnTo>
                    <a:pt x="1704" y="2898"/>
                  </a:lnTo>
                  <a:close/>
                  <a:moveTo>
                    <a:pt x="1818" y="1880"/>
                  </a:moveTo>
                  <a:lnTo>
                    <a:pt x="1882" y="1880"/>
                  </a:lnTo>
                  <a:lnTo>
                    <a:pt x="1882" y="1816"/>
                  </a:lnTo>
                  <a:lnTo>
                    <a:pt x="1818" y="1816"/>
                  </a:lnTo>
                  <a:lnTo>
                    <a:pt x="1818" y="1880"/>
                  </a:lnTo>
                  <a:close/>
                  <a:moveTo>
                    <a:pt x="1818" y="1994"/>
                  </a:moveTo>
                  <a:lnTo>
                    <a:pt x="1882" y="1994"/>
                  </a:lnTo>
                  <a:lnTo>
                    <a:pt x="1882" y="1929"/>
                  </a:lnTo>
                  <a:lnTo>
                    <a:pt x="1818" y="1929"/>
                  </a:lnTo>
                  <a:lnTo>
                    <a:pt x="1818" y="1994"/>
                  </a:lnTo>
                  <a:close/>
                  <a:moveTo>
                    <a:pt x="1818" y="2105"/>
                  </a:moveTo>
                  <a:lnTo>
                    <a:pt x="1882" y="2105"/>
                  </a:lnTo>
                  <a:lnTo>
                    <a:pt x="1882" y="2040"/>
                  </a:lnTo>
                  <a:lnTo>
                    <a:pt x="1818" y="2040"/>
                  </a:lnTo>
                  <a:lnTo>
                    <a:pt x="1818" y="2105"/>
                  </a:lnTo>
                  <a:close/>
                  <a:moveTo>
                    <a:pt x="1818" y="2218"/>
                  </a:moveTo>
                  <a:lnTo>
                    <a:pt x="1882" y="2218"/>
                  </a:lnTo>
                  <a:lnTo>
                    <a:pt x="1882" y="2153"/>
                  </a:lnTo>
                  <a:lnTo>
                    <a:pt x="1818" y="2153"/>
                  </a:lnTo>
                  <a:lnTo>
                    <a:pt x="1818" y="2218"/>
                  </a:lnTo>
                  <a:close/>
                  <a:moveTo>
                    <a:pt x="1818" y="2332"/>
                  </a:moveTo>
                  <a:lnTo>
                    <a:pt x="1882" y="2332"/>
                  </a:lnTo>
                  <a:lnTo>
                    <a:pt x="1882" y="2268"/>
                  </a:lnTo>
                  <a:lnTo>
                    <a:pt x="1818" y="2268"/>
                  </a:lnTo>
                  <a:lnTo>
                    <a:pt x="1818" y="2332"/>
                  </a:lnTo>
                  <a:close/>
                  <a:moveTo>
                    <a:pt x="1818" y="2445"/>
                  </a:moveTo>
                  <a:lnTo>
                    <a:pt x="1882" y="2445"/>
                  </a:lnTo>
                  <a:lnTo>
                    <a:pt x="1882" y="2381"/>
                  </a:lnTo>
                  <a:lnTo>
                    <a:pt x="1818" y="2381"/>
                  </a:lnTo>
                  <a:lnTo>
                    <a:pt x="1818" y="2445"/>
                  </a:lnTo>
                  <a:close/>
                  <a:moveTo>
                    <a:pt x="1818" y="2557"/>
                  </a:moveTo>
                  <a:lnTo>
                    <a:pt x="1882" y="2557"/>
                  </a:lnTo>
                  <a:lnTo>
                    <a:pt x="1882" y="2493"/>
                  </a:lnTo>
                  <a:lnTo>
                    <a:pt x="1818" y="2493"/>
                  </a:lnTo>
                  <a:lnTo>
                    <a:pt x="1818" y="2557"/>
                  </a:lnTo>
                  <a:close/>
                  <a:moveTo>
                    <a:pt x="1818" y="2670"/>
                  </a:moveTo>
                  <a:lnTo>
                    <a:pt x="1882" y="2670"/>
                  </a:lnTo>
                  <a:lnTo>
                    <a:pt x="1882" y="2606"/>
                  </a:lnTo>
                  <a:lnTo>
                    <a:pt x="1818" y="2606"/>
                  </a:lnTo>
                  <a:lnTo>
                    <a:pt x="1818" y="2670"/>
                  </a:lnTo>
                  <a:close/>
                  <a:moveTo>
                    <a:pt x="1818" y="2785"/>
                  </a:moveTo>
                  <a:lnTo>
                    <a:pt x="1882" y="2785"/>
                  </a:lnTo>
                  <a:lnTo>
                    <a:pt x="1882" y="2720"/>
                  </a:lnTo>
                  <a:lnTo>
                    <a:pt x="1818" y="2720"/>
                  </a:lnTo>
                  <a:lnTo>
                    <a:pt x="1818" y="2785"/>
                  </a:lnTo>
                  <a:close/>
                  <a:moveTo>
                    <a:pt x="1818" y="2898"/>
                  </a:moveTo>
                  <a:lnTo>
                    <a:pt x="1882" y="2898"/>
                  </a:lnTo>
                  <a:lnTo>
                    <a:pt x="1882" y="2834"/>
                  </a:lnTo>
                  <a:lnTo>
                    <a:pt x="1818" y="2834"/>
                  </a:lnTo>
                  <a:lnTo>
                    <a:pt x="1818" y="2898"/>
                  </a:lnTo>
                  <a:close/>
                  <a:moveTo>
                    <a:pt x="1818" y="3009"/>
                  </a:moveTo>
                  <a:lnTo>
                    <a:pt x="1882" y="3009"/>
                  </a:lnTo>
                  <a:lnTo>
                    <a:pt x="1882" y="2945"/>
                  </a:lnTo>
                  <a:lnTo>
                    <a:pt x="1818" y="2945"/>
                  </a:lnTo>
                  <a:lnTo>
                    <a:pt x="1818" y="3009"/>
                  </a:lnTo>
                  <a:close/>
                  <a:moveTo>
                    <a:pt x="1932" y="1880"/>
                  </a:moveTo>
                  <a:lnTo>
                    <a:pt x="1997" y="1880"/>
                  </a:lnTo>
                  <a:lnTo>
                    <a:pt x="1997" y="1816"/>
                  </a:lnTo>
                  <a:lnTo>
                    <a:pt x="1932" y="1816"/>
                  </a:lnTo>
                  <a:lnTo>
                    <a:pt x="1932" y="1880"/>
                  </a:lnTo>
                  <a:close/>
                  <a:moveTo>
                    <a:pt x="1932" y="1994"/>
                  </a:moveTo>
                  <a:lnTo>
                    <a:pt x="1997" y="1994"/>
                  </a:lnTo>
                  <a:lnTo>
                    <a:pt x="1997" y="1929"/>
                  </a:lnTo>
                  <a:lnTo>
                    <a:pt x="1932" y="1929"/>
                  </a:lnTo>
                  <a:lnTo>
                    <a:pt x="1932" y="1994"/>
                  </a:lnTo>
                  <a:close/>
                  <a:moveTo>
                    <a:pt x="1932" y="2105"/>
                  </a:moveTo>
                  <a:lnTo>
                    <a:pt x="1997" y="2105"/>
                  </a:lnTo>
                  <a:lnTo>
                    <a:pt x="1997" y="2040"/>
                  </a:lnTo>
                  <a:lnTo>
                    <a:pt x="1932" y="2040"/>
                  </a:lnTo>
                  <a:lnTo>
                    <a:pt x="1932" y="2105"/>
                  </a:lnTo>
                  <a:close/>
                  <a:moveTo>
                    <a:pt x="1932" y="2218"/>
                  </a:moveTo>
                  <a:lnTo>
                    <a:pt x="1997" y="2218"/>
                  </a:lnTo>
                  <a:lnTo>
                    <a:pt x="1997" y="2153"/>
                  </a:lnTo>
                  <a:lnTo>
                    <a:pt x="1932" y="2153"/>
                  </a:lnTo>
                  <a:lnTo>
                    <a:pt x="1932" y="2218"/>
                  </a:lnTo>
                  <a:close/>
                  <a:moveTo>
                    <a:pt x="1932" y="2332"/>
                  </a:moveTo>
                  <a:lnTo>
                    <a:pt x="1997" y="2332"/>
                  </a:lnTo>
                  <a:lnTo>
                    <a:pt x="1997" y="2268"/>
                  </a:lnTo>
                  <a:lnTo>
                    <a:pt x="1932" y="2268"/>
                  </a:lnTo>
                  <a:lnTo>
                    <a:pt x="1932" y="2332"/>
                  </a:lnTo>
                  <a:close/>
                  <a:moveTo>
                    <a:pt x="1932" y="2445"/>
                  </a:moveTo>
                  <a:lnTo>
                    <a:pt x="1997" y="2445"/>
                  </a:lnTo>
                  <a:lnTo>
                    <a:pt x="1997" y="2381"/>
                  </a:lnTo>
                  <a:lnTo>
                    <a:pt x="1932" y="2381"/>
                  </a:lnTo>
                  <a:lnTo>
                    <a:pt x="1932" y="2445"/>
                  </a:lnTo>
                  <a:close/>
                  <a:moveTo>
                    <a:pt x="1932" y="2557"/>
                  </a:moveTo>
                  <a:lnTo>
                    <a:pt x="1997" y="2557"/>
                  </a:lnTo>
                  <a:lnTo>
                    <a:pt x="1997" y="2493"/>
                  </a:lnTo>
                  <a:lnTo>
                    <a:pt x="1932" y="2493"/>
                  </a:lnTo>
                  <a:lnTo>
                    <a:pt x="1932" y="2557"/>
                  </a:lnTo>
                  <a:close/>
                  <a:moveTo>
                    <a:pt x="1932" y="2670"/>
                  </a:moveTo>
                  <a:lnTo>
                    <a:pt x="1997" y="2670"/>
                  </a:lnTo>
                  <a:lnTo>
                    <a:pt x="1997" y="2606"/>
                  </a:lnTo>
                  <a:lnTo>
                    <a:pt x="1932" y="2606"/>
                  </a:lnTo>
                  <a:lnTo>
                    <a:pt x="1932" y="2670"/>
                  </a:lnTo>
                  <a:close/>
                  <a:moveTo>
                    <a:pt x="1932" y="2785"/>
                  </a:moveTo>
                  <a:lnTo>
                    <a:pt x="1997" y="2785"/>
                  </a:lnTo>
                  <a:lnTo>
                    <a:pt x="1997" y="2720"/>
                  </a:lnTo>
                  <a:lnTo>
                    <a:pt x="1932" y="2720"/>
                  </a:lnTo>
                  <a:lnTo>
                    <a:pt x="1932" y="2785"/>
                  </a:lnTo>
                  <a:close/>
                  <a:moveTo>
                    <a:pt x="1932" y="2898"/>
                  </a:moveTo>
                  <a:lnTo>
                    <a:pt x="1997" y="2898"/>
                  </a:lnTo>
                  <a:lnTo>
                    <a:pt x="1997" y="2834"/>
                  </a:lnTo>
                  <a:lnTo>
                    <a:pt x="1932" y="2834"/>
                  </a:lnTo>
                  <a:lnTo>
                    <a:pt x="1932" y="2898"/>
                  </a:lnTo>
                  <a:close/>
                  <a:moveTo>
                    <a:pt x="1932" y="3009"/>
                  </a:moveTo>
                  <a:lnTo>
                    <a:pt x="1997" y="3009"/>
                  </a:lnTo>
                  <a:lnTo>
                    <a:pt x="1997" y="2945"/>
                  </a:lnTo>
                  <a:lnTo>
                    <a:pt x="1932" y="2945"/>
                  </a:lnTo>
                  <a:lnTo>
                    <a:pt x="1932" y="3009"/>
                  </a:lnTo>
                  <a:close/>
                  <a:moveTo>
                    <a:pt x="1932" y="3122"/>
                  </a:moveTo>
                  <a:lnTo>
                    <a:pt x="1997" y="3122"/>
                  </a:lnTo>
                  <a:lnTo>
                    <a:pt x="1997" y="3058"/>
                  </a:lnTo>
                  <a:lnTo>
                    <a:pt x="1932" y="3058"/>
                  </a:lnTo>
                  <a:lnTo>
                    <a:pt x="1932" y="3122"/>
                  </a:lnTo>
                  <a:close/>
                  <a:moveTo>
                    <a:pt x="1932" y="3237"/>
                  </a:moveTo>
                  <a:lnTo>
                    <a:pt x="1997" y="3237"/>
                  </a:lnTo>
                  <a:lnTo>
                    <a:pt x="1997" y="3172"/>
                  </a:lnTo>
                  <a:lnTo>
                    <a:pt x="1932" y="3172"/>
                  </a:lnTo>
                  <a:lnTo>
                    <a:pt x="1932" y="3237"/>
                  </a:lnTo>
                  <a:close/>
                  <a:moveTo>
                    <a:pt x="2046" y="1084"/>
                  </a:moveTo>
                  <a:lnTo>
                    <a:pt x="2111" y="1084"/>
                  </a:lnTo>
                  <a:lnTo>
                    <a:pt x="2111" y="1019"/>
                  </a:lnTo>
                  <a:lnTo>
                    <a:pt x="2046" y="1019"/>
                  </a:lnTo>
                  <a:lnTo>
                    <a:pt x="2046" y="1084"/>
                  </a:lnTo>
                  <a:close/>
                  <a:moveTo>
                    <a:pt x="2046" y="1422"/>
                  </a:moveTo>
                  <a:lnTo>
                    <a:pt x="2111" y="1422"/>
                  </a:lnTo>
                  <a:lnTo>
                    <a:pt x="2111" y="1357"/>
                  </a:lnTo>
                  <a:lnTo>
                    <a:pt x="2046" y="1357"/>
                  </a:lnTo>
                  <a:lnTo>
                    <a:pt x="2046" y="1422"/>
                  </a:lnTo>
                  <a:close/>
                  <a:moveTo>
                    <a:pt x="2046" y="1536"/>
                  </a:moveTo>
                  <a:lnTo>
                    <a:pt x="2111" y="1536"/>
                  </a:lnTo>
                  <a:lnTo>
                    <a:pt x="2111" y="1471"/>
                  </a:lnTo>
                  <a:lnTo>
                    <a:pt x="2046" y="1471"/>
                  </a:lnTo>
                  <a:lnTo>
                    <a:pt x="2046" y="1536"/>
                  </a:lnTo>
                  <a:close/>
                  <a:moveTo>
                    <a:pt x="2046" y="1649"/>
                  </a:moveTo>
                  <a:lnTo>
                    <a:pt x="2111" y="1649"/>
                  </a:lnTo>
                  <a:lnTo>
                    <a:pt x="2111" y="1585"/>
                  </a:lnTo>
                  <a:lnTo>
                    <a:pt x="2046" y="1585"/>
                  </a:lnTo>
                  <a:lnTo>
                    <a:pt x="2046" y="1649"/>
                  </a:lnTo>
                  <a:close/>
                  <a:moveTo>
                    <a:pt x="2046" y="1880"/>
                  </a:moveTo>
                  <a:lnTo>
                    <a:pt x="2111" y="1880"/>
                  </a:lnTo>
                  <a:lnTo>
                    <a:pt x="2111" y="1816"/>
                  </a:lnTo>
                  <a:lnTo>
                    <a:pt x="2046" y="1816"/>
                  </a:lnTo>
                  <a:lnTo>
                    <a:pt x="2046" y="1880"/>
                  </a:lnTo>
                  <a:close/>
                  <a:moveTo>
                    <a:pt x="2046" y="1994"/>
                  </a:moveTo>
                  <a:lnTo>
                    <a:pt x="2111" y="1994"/>
                  </a:lnTo>
                  <a:lnTo>
                    <a:pt x="2111" y="1929"/>
                  </a:lnTo>
                  <a:lnTo>
                    <a:pt x="2046" y="1929"/>
                  </a:lnTo>
                  <a:lnTo>
                    <a:pt x="2046" y="1994"/>
                  </a:lnTo>
                  <a:close/>
                  <a:moveTo>
                    <a:pt x="2046" y="2105"/>
                  </a:moveTo>
                  <a:lnTo>
                    <a:pt x="2111" y="2105"/>
                  </a:lnTo>
                  <a:lnTo>
                    <a:pt x="2111" y="2040"/>
                  </a:lnTo>
                  <a:lnTo>
                    <a:pt x="2046" y="2040"/>
                  </a:lnTo>
                  <a:lnTo>
                    <a:pt x="2046" y="2105"/>
                  </a:lnTo>
                  <a:close/>
                  <a:moveTo>
                    <a:pt x="2046" y="2218"/>
                  </a:moveTo>
                  <a:lnTo>
                    <a:pt x="2111" y="2218"/>
                  </a:lnTo>
                  <a:lnTo>
                    <a:pt x="2111" y="2153"/>
                  </a:lnTo>
                  <a:lnTo>
                    <a:pt x="2046" y="2153"/>
                  </a:lnTo>
                  <a:lnTo>
                    <a:pt x="2046" y="2218"/>
                  </a:lnTo>
                  <a:close/>
                  <a:moveTo>
                    <a:pt x="2046" y="2332"/>
                  </a:moveTo>
                  <a:lnTo>
                    <a:pt x="2111" y="2332"/>
                  </a:lnTo>
                  <a:lnTo>
                    <a:pt x="2111" y="2268"/>
                  </a:lnTo>
                  <a:lnTo>
                    <a:pt x="2046" y="2268"/>
                  </a:lnTo>
                  <a:lnTo>
                    <a:pt x="2046" y="2332"/>
                  </a:lnTo>
                  <a:close/>
                  <a:moveTo>
                    <a:pt x="2046" y="2445"/>
                  </a:moveTo>
                  <a:lnTo>
                    <a:pt x="2111" y="2445"/>
                  </a:lnTo>
                  <a:lnTo>
                    <a:pt x="2111" y="2381"/>
                  </a:lnTo>
                  <a:lnTo>
                    <a:pt x="2046" y="2381"/>
                  </a:lnTo>
                  <a:lnTo>
                    <a:pt x="2046" y="2445"/>
                  </a:lnTo>
                  <a:close/>
                  <a:moveTo>
                    <a:pt x="2046" y="2557"/>
                  </a:moveTo>
                  <a:lnTo>
                    <a:pt x="2111" y="2557"/>
                  </a:lnTo>
                  <a:lnTo>
                    <a:pt x="2111" y="2493"/>
                  </a:lnTo>
                  <a:lnTo>
                    <a:pt x="2046" y="2493"/>
                  </a:lnTo>
                  <a:lnTo>
                    <a:pt x="2046" y="2557"/>
                  </a:lnTo>
                  <a:close/>
                  <a:moveTo>
                    <a:pt x="2046" y="2670"/>
                  </a:moveTo>
                  <a:lnTo>
                    <a:pt x="2111" y="2670"/>
                  </a:lnTo>
                  <a:lnTo>
                    <a:pt x="2111" y="2606"/>
                  </a:lnTo>
                  <a:lnTo>
                    <a:pt x="2046" y="2606"/>
                  </a:lnTo>
                  <a:lnTo>
                    <a:pt x="2046" y="2670"/>
                  </a:lnTo>
                  <a:close/>
                  <a:moveTo>
                    <a:pt x="2046" y="2785"/>
                  </a:moveTo>
                  <a:lnTo>
                    <a:pt x="2111" y="2785"/>
                  </a:lnTo>
                  <a:lnTo>
                    <a:pt x="2111" y="2720"/>
                  </a:lnTo>
                  <a:lnTo>
                    <a:pt x="2046" y="2720"/>
                  </a:lnTo>
                  <a:lnTo>
                    <a:pt x="2046" y="2785"/>
                  </a:lnTo>
                  <a:close/>
                  <a:moveTo>
                    <a:pt x="2046" y="2898"/>
                  </a:moveTo>
                  <a:lnTo>
                    <a:pt x="2111" y="2898"/>
                  </a:lnTo>
                  <a:lnTo>
                    <a:pt x="2111" y="2834"/>
                  </a:lnTo>
                  <a:lnTo>
                    <a:pt x="2046" y="2834"/>
                  </a:lnTo>
                  <a:lnTo>
                    <a:pt x="2046" y="2898"/>
                  </a:lnTo>
                  <a:close/>
                  <a:moveTo>
                    <a:pt x="2046" y="3009"/>
                  </a:moveTo>
                  <a:lnTo>
                    <a:pt x="2111" y="3009"/>
                  </a:lnTo>
                  <a:lnTo>
                    <a:pt x="2111" y="2945"/>
                  </a:lnTo>
                  <a:lnTo>
                    <a:pt x="2046" y="2945"/>
                  </a:lnTo>
                  <a:lnTo>
                    <a:pt x="2046" y="3009"/>
                  </a:lnTo>
                  <a:close/>
                  <a:moveTo>
                    <a:pt x="2046" y="3122"/>
                  </a:moveTo>
                  <a:lnTo>
                    <a:pt x="2111" y="3122"/>
                  </a:lnTo>
                  <a:lnTo>
                    <a:pt x="2111" y="3058"/>
                  </a:lnTo>
                  <a:lnTo>
                    <a:pt x="2046" y="3058"/>
                  </a:lnTo>
                  <a:lnTo>
                    <a:pt x="2046" y="3122"/>
                  </a:lnTo>
                  <a:close/>
                  <a:moveTo>
                    <a:pt x="2046" y="3237"/>
                  </a:moveTo>
                  <a:lnTo>
                    <a:pt x="2111" y="3237"/>
                  </a:lnTo>
                  <a:lnTo>
                    <a:pt x="2111" y="3172"/>
                  </a:lnTo>
                  <a:lnTo>
                    <a:pt x="2046" y="3172"/>
                  </a:lnTo>
                  <a:lnTo>
                    <a:pt x="2046" y="3237"/>
                  </a:lnTo>
                  <a:close/>
                  <a:moveTo>
                    <a:pt x="2046" y="3350"/>
                  </a:moveTo>
                  <a:lnTo>
                    <a:pt x="2111" y="3350"/>
                  </a:lnTo>
                  <a:lnTo>
                    <a:pt x="2111" y="3285"/>
                  </a:lnTo>
                  <a:lnTo>
                    <a:pt x="2046" y="3285"/>
                  </a:lnTo>
                  <a:lnTo>
                    <a:pt x="2046" y="3350"/>
                  </a:lnTo>
                  <a:close/>
                  <a:moveTo>
                    <a:pt x="2046" y="3463"/>
                  </a:moveTo>
                  <a:lnTo>
                    <a:pt x="2111" y="3463"/>
                  </a:lnTo>
                  <a:lnTo>
                    <a:pt x="2111" y="3399"/>
                  </a:lnTo>
                  <a:lnTo>
                    <a:pt x="2046" y="3399"/>
                  </a:lnTo>
                  <a:lnTo>
                    <a:pt x="2046" y="3463"/>
                  </a:lnTo>
                  <a:close/>
                  <a:moveTo>
                    <a:pt x="2046" y="3576"/>
                  </a:moveTo>
                  <a:lnTo>
                    <a:pt x="2111" y="3576"/>
                  </a:lnTo>
                  <a:lnTo>
                    <a:pt x="2111" y="3512"/>
                  </a:lnTo>
                  <a:lnTo>
                    <a:pt x="2046" y="3512"/>
                  </a:lnTo>
                  <a:lnTo>
                    <a:pt x="2046" y="3576"/>
                  </a:lnTo>
                  <a:close/>
                  <a:moveTo>
                    <a:pt x="2046" y="3691"/>
                  </a:moveTo>
                  <a:lnTo>
                    <a:pt x="2111" y="3691"/>
                  </a:lnTo>
                  <a:lnTo>
                    <a:pt x="2111" y="3626"/>
                  </a:lnTo>
                  <a:lnTo>
                    <a:pt x="2046" y="3626"/>
                  </a:lnTo>
                  <a:lnTo>
                    <a:pt x="2046" y="3691"/>
                  </a:lnTo>
                  <a:close/>
                  <a:moveTo>
                    <a:pt x="2158" y="1084"/>
                  </a:moveTo>
                  <a:lnTo>
                    <a:pt x="2223" y="1084"/>
                  </a:lnTo>
                  <a:lnTo>
                    <a:pt x="2223" y="1019"/>
                  </a:lnTo>
                  <a:lnTo>
                    <a:pt x="2158" y="1019"/>
                  </a:lnTo>
                  <a:lnTo>
                    <a:pt x="2158" y="1084"/>
                  </a:lnTo>
                  <a:close/>
                  <a:moveTo>
                    <a:pt x="2158" y="1308"/>
                  </a:moveTo>
                  <a:lnTo>
                    <a:pt x="2223" y="1308"/>
                  </a:lnTo>
                  <a:lnTo>
                    <a:pt x="2223" y="1244"/>
                  </a:lnTo>
                  <a:lnTo>
                    <a:pt x="2158" y="1244"/>
                  </a:lnTo>
                  <a:lnTo>
                    <a:pt x="2158" y="1308"/>
                  </a:lnTo>
                  <a:close/>
                  <a:moveTo>
                    <a:pt x="2158" y="1422"/>
                  </a:moveTo>
                  <a:lnTo>
                    <a:pt x="2223" y="1422"/>
                  </a:lnTo>
                  <a:lnTo>
                    <a:pt x="2223" y="1357"/>
                  </a:lnTo>
                  <a:lnTo>
                    <a:pt x="2158" y="1357"/>
                  </a:lnTo>
                  <a:lnTo>
                    <a:pt x="2158" y="1422"/>
                  </a:lnTo>
                  <a:close/>
                  <a:moveTo>
                    <a:pt x="2158" y="1536"/>
                  </a:moveTo>
                  <a:lnTo>
                    <a:pt x="2223" y="1536"/>
                  </a:lnTo>
                  <a:lnTo>
                    <a:pt x="2223" y="1471"/>
                  </a:lnTo>
                  <a:lnTo>
                    <a:pt x="2158" y="1471"/>
                  </a:lnTo>
                  <a:lnTo>
                    <a:pt x="2158" y="1536"/>
                  </a:lnTo>
                  <a:close/>
                  <a:moveTo>
                    <a:pt x="2158" y="1649"/>
                  </a:moveTo>
                  <a:lnTo>
                    <a:pt x="2223" y="1649"/>
                  </a:lnTo>
                  <a:lnTo>
                    <a:pt x="2223" y="1585"/>
                  </a:lnTo>
                  <a:lnTo>
                    <a:pt x="2158" y="1585"/>
                  </a:lnTo>
                  <a:lnTo>
                    <a:pt x="2158" y="1649"/>
                  </a:lnTo>
                  <a:close/>
                  <a:moveTo>
                    <a:pt x="2158" y="1880"/>
                  </a:moveTo>
                  <a:lnTo>
                    <a:pt x="2223" y="1880"/>
                  </a:lnTo>
                  <a:lnTo>
                    <a:pt x="2223" y="1816"/>
                  </a:lnTo>
                  <a:lnTo>
                    <a:pt x="2158" y="1816"/>
                  </a:lnTo>
                  <a:lnTo>
                    <a:pt x="2158" y="1880"/>
                  </a:lnTo>
                  <a:close/>
                  <a:moveTo>
                    <a:pt x="2158" y="1994"/>
                  </a:moveTo>
                  <a:lnTo>
                    <a:pt x="2223" y="1994"/>
                  </a:lnTo>
                  <a:lnTo>
                    <a:pt x="2223" y="1929"/>
                  </a:lnTo>
                  <a:lnTo>
                    <a:pt x="2158" y="1929"/>
                  </a:lnTo>
                  <a:lnTo>
                    <a:pt x="2158" y="1994"/>
                  </a:lnTo>
                  <a:close/>
                  <a:moveTo>
                    <a:pt x="2158" y="2105"/>
                  </a:moveTo>
                  <a:lnTo>
                    <a:pt x="2223" y="2105"/>
                  </a:lnTo>
                  <a:lnTo>
                    <a:pt x="2223" y="2040"/>
                  </a:lnTo>
                  <a:lnTo>
                    <a:pt x="2158" y="2040"/>
                  </a:lnTo>
                  <a:lnTo>
                    <a:pt x="2158" y="2105"/>
                  </a:lnTo>
                  <a:close/>
                  <a:moveTo>
                    <a:pt x="2158" y="2218"/>
                  </a:moveTo>
                  <a:lnTo>
                    <a:pt x="2223" y="2218"/>
                  </a:lnTo>
                  <a:lnTo>
                    <a:pt x="2223" y="2153"/>
                  </a:lnTo>
                  <a:lnTo>
                    <a:pt x="2158" y="2153"/>
                  </a:lnTo>
                  <a:lnTo>
                    <a:pt x="2158" y="2218"/>
                  </a:lnTo>
                  <a:close/>
                  <a:moveTo>
                    <a:pt x="2158" y="2332"/>
                  </a:moveTo>
                  <a:lnTo>
                    <a:pt x="2223" y="2332"/>
                  </a:lnTo>
                  <a:lnTo>
                    <a:pt x="2223" y="2268"/>
                  </a:lnTo>
                  <a:lnTo>
                    <a:pt x="2158" y="2268"/>
                  </a:lnTo>
                  <a:lnTo>
                    <a:pt x="2158" y="2332"/>
                  </a:lnTo>
                  <a:close/>
                  <a:moveTo>
                    <a:pt x="2158" y="2445"/>
                  </a:moveTo>
                  <a:lnTo>
                    <a:pt x="2223" y="2445"/>
                  </a:lnTo>
                  <a:lnTo>
                    <a:pt x="2223" y="2381"/>
                  </a:lnTo>
                  <a:lnTo>
                    <a:pt x="2158" y="2381"/>
                  </a:lnTo>
                  <a:lnTo>
                    <a:pt x="2158" y="2445"/>
                  </a:lnTo>
                  <a:close/>
                  <a:moveTo>
                    <a:pt x="2158" y="2557"/>
                  </a:moveTo>
                  <a:lnTo>
                    <a:pt x="2223" y="2557"/>
                  </a:lnTo>
                  <a:lnTo>
                    <a:pt x="2223" y="2493"/>
                  </a:lnTo>
                  <a:lnTo>
                    <a:pt x="2158" y="2493"/>
                  </a:lnTo>
                  <a:lnTo>
                    <a:pt x="2158" y="2557"/>
                  </a:lnTo>
                  <a:close/>
                  <a:moveTo>
                    <a:pt x="2158" y="2670"/>
                  </a:moveTo>
                  <a:lnTo>
                    <a:pt x="2223" y="2670"/>
                  </a:lnTo>
                  <a:lnTo>
                    <a:pt x="2223" y="2606"/>
                  </a:lnTo>
                  <a:lnTo>
                    <a:pt x="2158" y="2606"/>
                  </a:lnTo>
                  <a:lnTo>
                    <a:pt x="2158" y="2670"/>
                  </a:lnTo>
                  <a:close/>
                  <a:moveTo>
                    <a:pt x="2158" y="2785"/>
                  </a:moveTo>
                  <a:lnTo>
                    <a:pt x="2223" y="2785"/>
                  </a:lnTo>
                  <a:lnTo>
                    <a:pt x="2223" y="2720"/>
                  </a:lnTo>
                  <a:lnTo>
                    <a:pt x="2158" y="2720"/>
                  </a:lnTo>
                  <a:lnTo>
                    <a:pt x="2158" y="2785"/>
                  </a:lnTo>
                  <a:close/>
                  <a:moveTo>
                    <a:pt x="2158" y="2898"/>
                  </a:moveTo>
                  <a:lnTo>
                    <a:pt x="2223" y="2898"/>
                  </a:lnTo>
                  <a:lnTo>
                    <a:pt x="2223" y="2834"/>
                  </a:lnTo>
                  <a:lnTo>
                    <a:pt x="2158" y="2834"/>
                  </a:lnTo>
                  <a:lnTo>
                    <a:pt x="2158" y="2898"/>
                  </a:lnTo>
                  <a:close/>
                  <a:moveTo>
                    <a:pt x="2158" y="3009"/>
                  </a:moveTo>
                  <a:lnTo>
                    <a:pt x="2223" y="3009"/>
                  </a:lnTo>
                  <a:lnTo>
                    <a:pt x="2223" y="2945"/>
                  </a:lnTo>
                  <a:lnTo>
                    <a:pt x="2158" y="2945"/>
                  </a:lnTo>
                  <a:lnTo>
                    <a:pt x="2158" y="3009"/>
                  </a:lnTo>
                  <a:close/>
                  <a:moveTo>
                    <a:pt x="2158" y="3122"/>
                  </a:moveTo>
                  <a:lnTo>
                    <a:pt x="2223" y="3122"/>
                  </a:lnTo>
                  <a:lnTo>
                    <a:pt x="2223" y="3058"/>
                  </a:lnTo>
                  <a:lnTo>
                    <a:pt x="2158" y="3058"/>
                  </a:lnTo>
                  <a:lnTo>
                    <a:pt x="2158" y="3122"/>
                  </a:lnTo>
                  <a:close/>
                  <a:moveTo>
                    <a:pt x="2158" y="3237"/>
                  </a:moveTo>
                  <a:lnTo>
                    <a:pt x="2223" y="3237"/>
                  </a:lnTo>
                  <a:lnTo>
                    <a:pt x="2223" y="3172"/>
                  </a:lnTo>
                  <a:lnTo>
                    <a:pt x="2158" y="3172"/>
                  </a:lnTo>
                  <a:lnTo>
                    <a:pt x="2158" y="3237"/>
                  </a:lnTo>
                  <a:close/>
                  <a:moveTo>
                    <a:pt x="2158" y="3350"/>
                  </a:moveTo>
                  <a:lnTo>
                    <a:pt x="2223" y="3350"/>
                  </a:lnTo>
                  <a:lnTo>
                    <a:pt x="2223" y="3285"/>
                  </a:lnTo>
                  <a:lnTo>
                    <a:pt x="2158" y="3285"/>
                  </a:lnTo>
                  <a:lnTo>
                    <a:pt x="2158" y="3350"/>
                  </a:lnTo>
                  <a:close/>
                  <a:moveTo>
                    <a:pt x="2158" y="3463"/>
                  </a:moveTo>
                  <a:lnTo>
                    <a:pt x="2223" y="3463"/>
                  </a:lnTo>
                  <a:lnTo>
                    <a:pt x="2223" y="3399"/>
                  </a:lnTo>
                  <a:lnTo>
                    <a:pt x="2158" y="3399"/>
                  </a:lnTo>
                  <a:lnTo>
                    <a:pt x="2158" y="3463"/>
                  </a:lnTo>
                  <a:close/>
                  <a:moveTo>
                    <a:pt x="2158" y="3576"/>
                  </a:moveTo>
                  <a:lnTo>
                    <a:pt x="2223" y="3576"/>
                  </a:lnTo>
                  <a:lnTo>
                    <a:pt x="2223" y="3512"/>
                  </a:lnTo>
                  <a:lnTo>
                    <a:pt x="2158" y="3512"/>
                  </a:lnTo>
                  <a:lnTo>
                    <a:pt x="2158" y="3576"/>
                  </a:lnTo>
                  <a:close/>
                  <a:moveTo>
                    <a:pt x="2158" y="3691"/>
                  </a:moveTo>
                  <a:lnTo>
                    <a:pt x="2223" y="3691"/>
                  </a:lnTo>
                  <a:lnTo>
                    <a:pt x="2223" y="3626"/>
                  </a:lnTo>
                  <a:lnTo>
                    <a:pt x="2158" y="3626"/>
                  </a:lnTo>
                  <a:lnTo>
                    <a:pt x="2158" y="3691"/>
                  </a:lnTo>
                  <a:close/>
                  <a:moveTo>
                    <a:pt x="2158" y="3804"/>
                  </a:moveTo>
                  <a:lnTo>
                    <a:pt x="2223" y="3804"/>
                  </a:lnTo>
                  <a:lnTo>
                    <a:pt x="2223" y="3739"/>
                  </a:lnTo>
                  <a:lnTo>
                    <a:pt x="2158" y="3739"/>
                  </a:lnTo>
                  <a:lnTo>
                    <a:pt x="2158" y="3804"/>
                  </a:lnTo>
                  <a:close/>
                  <a:moveTo>
                    <a:pt x="2158" y="3915"/>
                  </a:moveTo>
                  <a:lnTo>
                    <a:pt x="2223" y="3915"/>
                  </a:lnTo>
                  <a:lnTo>
                    <a:pt x="2223" y="3850"/>
                  </a:lnTo>
                  <a:lnTo>
                    <a:pt x="2158" y="3850"/>
                  </a:lnTo>
                  <a:lnTo>
                    <a:pt x="2158" y="3915"/>
                  </a:lnTo>
                  <a:close/>
                  <a:moveTo>
                    <a:pt x="2272" y="969"/>
                  </a:moveTo>
                  <a:lnTo>
                    <a:pt x="2337" y="969"/>
                  </a:lnTo>
                  <a:lnTo>
                    <a:pt x="2337" y="905"/>
                  </a:lnTo>
                  <a:lnTo>
                    <a:pt x="2272" y="905"/>
                  </a:lnTo>
                  <a:lnTo>
                    <a:pt x="2272" y="969"/>
                  </a:lnTo>
                  <a:close/>
                  <a:moveTo>
                    <a:pt x="2272" y="1084"/>
                  </a:moveTo>
                  <a:lnTo>
                    <a:pt x="2337" y="1084"/>
                  </a:lnTo>
                  <a:lnTo>
                    <a:pt x="2337" y="1019"/>
                  </a:lnTo>
                  <a:lnTo>
                    <a:pt x="2272" y="1019"/>
                  </a:lnTo>
                  <a:lnTo>
                    <a:pt x="2272" y="1084"/>
                  </a:lnTo>
                  <a:close/>
                  <a:moveTo>
                    <a:pt x="2272" y="1197"/>
                  </a:moveTo>
                  <a:lnTo>
                    <a:pt x="2337" y="1197"/>
                  </a:lnTo>
                  <a:lnTo>
                    <a:pt x="2337" y="1132"/>
                  </a:lnTo>
                  <a:lnTo>
                    <a:pt x="2272" y="1132"/>
                  </a:lnTo>
                  <a:lnTo>
                    <a:pt x="2272" y="1197"/>
                  </a:lnTo>
                  <a:close/>
                  <a:moveTo>
                    <a:pt x="2272" y="1422"/>
                  </a:moveTo>
                  <a:lnTo>
                    <a:pt x="2337" y="1422"/>
                  </a:lnTo>
                  <a:lnTo>
                    <a:pt x="2337" y="1357"/>
                  </a:lnTo>
                  <a:lnTo>
                    <a:pt x="2272" y="1357"/>
                  </a:lnTo>
                  <a:lnTo>
                    <a:pt x="2272" y="1422"/>
                  </a:lnTo>
                  <a:close/>
                  <a:moveTo>
                    <a:pt x="2272" y="1536"/>
                  </a:moveTo>
                  <a:lnTo>
                    <a:pt x="2337" y="1536"/>
                  </a:lnTo>
                  <a:lnTo>
                    <a:pt x="2337" y="1471"/>
                  </a:lnTo>
                  <a:lnTo>
                    <a:pt x="2272" y="1471"/>
                  </a:lnTo>
                  <a:lnTo>
                    <a:pt x="2272" y="1536"/>
                  </a:lnTo>
                  <a:close/>
                  <a:moveTo>
                    <a:pt x="2272" y="1649"/>
                  </a:moveTo>
                  <a:lnTo>
                    <a:pt x="2337" y="1649"/>
                  </a:lnTo>
                  <a:lnTo>
                    <a:pt x="2337" y="1585"/>
                  </a:lnTo>
                  <a:lnTo>
                    <a:pt x="2272" y="1585"/>
                  </a:lnTo>
                  <a:lnTo>
                    <a:pt x="2272" y="1649"/>
                  </a:lnTo>
                  <a:close/>
                  <a:moveTo>
                    <a:pt x="2272" y="1766"/>
                  </a:moveTo>
                  <a:lnTo>
                    <a:pt x="2337" y="1766"/>
                  </a:lnTo>
                  <a:lnTo>
                    <a:pt x="2337" y="1701"/>
                  </a:lnTo>
                  <a:lnTo>
                    <a:pt x="2272" y="1701"/>
                  </a:lnTo>
                  <a:lnTo>
                    <a:pt x="2272" y="1766"/>
                  </a:lnTo>
                  <a:close/>
                  <a:moveTo>
                    <a:pt x="2272" y="1880"/>
                  </a:moveTo>
                  <a:lnTo>
                    <a:pt x="2337" y="1880"/>
                  </a:lnTo>
                  <a:lnTo>
                    <a:pt x="2337" y="1816"/>
                  </a:lnTo>
                  <a:lnTo>
                    <a:pt x="2272" y="1816"/>
                  </a:lnTo>
                  <a:lnTo>
                    <a:pt x="2272" y="1880"/>
                  </a:lnTo>
                  <a:close/>
                  <a:moveTo>
                    <a:pt x="2272" y="1994"/>
                  </a:moveTo>
                  <a:lnTo>
                    <a:pt x="2337" y="1994"/>
                  </a:lnTo>
                  <a:lnTo>
                    <a:pt x="2337" y="1929"/>
                  </a:lnTo>
                  <a:lnTo>
                    <a:pt x="2272" y="1929"/>
                  </a:lnTo>
                  <a:lnTo>
                    <a:pt x="2272" y="1994"/>
                  </a:lnTo>
                  <a:close/>
                  <a:moveTo>
                    <a:pt x="2272" y="2105"/>
                  </a:moveTo>
                  <a:lnTo>
                    <a:pt x="2337" y="2105"/>
                  </a:lnTo>
                  <a:lnTo>
                    <a:pt x="2337" y="2040"/>
                  </a:lnTo>
                  <a:lnTo>
                    <a:pt x="2272" y="2040"/>
                  </a:lnTo>
                  <a:lnTo>
                    <a:pt x="2272" y="2105"/>
                  </a:lnTo>
                  <a:close/>
                  <a:moveTo>
                    <a:pt x="2272" y="2218"/>
                  </a:moveTo>
                  <a:lnTo>
                    <a:pt x="2337" y="2218"/>
                  </a:lnTo>
                  <a:lnTo>
                    <a:pt x="2337" y="2153"/>
                  </a:lnTo>
                  <a:lnTo>
                    <a:pt x="2272" y="2153"/>
                  </a:lnTo>
                  <a:lnTo>
                    <a:pt x="2272" y="2218"/>
                  </a:lnTo>
                  <a:close/>
                  <a:moveTo>
                    <a:pt x="2272" y="2332"/>
                  </a:moveTo>
                  <a:lnTo>
                    <a:pt x="2337" y="2332"/>
                  </a:lnTo>
                  <a:lnTo>
                    <a:pt x="2337" y="2268"/>
                  </a:lnTo>
                  <a:lnTo>
                    <a:pt x="2272" y="2268"/>
                  </a:lnTo>
                  <a:lnTo>
                    <a:pt x="2272" y="2332"/>
                  </a:lnTo>
                  <a:close/>
                  <a:moveTo>
                    <a:pt x="2272" y="2445"/>
                  </a:moveTo>
                  <a:lnTo>
                    <a:pt x="2337" y="2445"/>
                  </a:lnTo>
                  <a:lnTo>
                    <a:pt x="2337" y="2381"/>
                  </a:lnTo>
                  <a:lnTo>
                    <a:pt x="2272" y="2381"/>
                  </a:lnTo>
                  <a:lnTo>
                    <a:pt x="2272" y="2445"/>
                  </a:lnTo>
                  <a:close/>
                  <a:moveTo>
                    <a:pt x="2272" y="2557"/>
                  </a:moveTo>
                  <a:lnTo>
                    <a:pt x="2337" y="2557"/>
                  </a:lnTo>
                  <a:lnTo>
                    <a:pt x="2337" y="2493"/>
                  </a:lnTo>
                  <a:lnTo>
                    <a:pt x="2272" y="2493"/>
                  </a:lnTo>
                  <a:lnTo>
                    <a:pt x="2272" y="2557"/>
                  </a:lnTo>
                  <a:close/>
                  <a:moveTo>
                    <a:pt x="2272" y="2670"/>
                  </a:moveTo>
                  <a:lnTo>
                    <a:pt x="2337" y="2670"/>
                  </a:lnTo>
                  <a:lnTo>
                    <a:pt x="2337" y="2606"/>
                  </a:lnTo>
                  <a:lnTo>
                    <a:pt x="2272" y="2606"/>
                  </a:lnTo>
                  <a:lnTo>
                    <a:pt x="2272" y="2670"/>
                  </a:lnTo>
                  <a:close/>
                  <a:moveTo>
                    <a:pt x="2272" y="2785"/>
                  </a:moveTo>
                  <a:lnTo>
                    <a:pt x="2337" y="2785"/>
                  </a:lnTo>
                  <a:lnTo>
                    <a:pt x="2337" y="2720"/>
                  </a:lnTo>
                  <a:lnTo>
                    <a:pt x="2272" y="2720"/>
                  </a:lnTo>
                  <a:lnTo>
                    <a:pt x="2272" y="2785"/>
                  </a:lnTo>
                  <a:close/>
                  <a:moveTo>
                    <a:pt x="2272" y="2898"/>
                  </a:moveTo>
                  <a:lnTo>
                    <a:pt x="2337" y="2898"/>
                  </a:lnTo>
                  <a:lnTo>
                    <a:pt x="2337" y="2834"/>
                  </a:lnTo>
                  <a:lnTo>
                    <a:pt x="2272" y="2834"/>
                  </a:lnTo>
                  <a:lnTo>
                    <a:pt x="2272" y="2898"/>
                  </a:lnTo>
                  <a:close/>
                  <a:moveTo>
                    <a:pt x="2272" y="3009"/>
                  </a:moveTo>
                  <a:lnTo>
                    <a:pt x="2337" y="3009"/>
                  </a:lnTo>
                  <a:lnTo>
                    <a:pt x="2337" y="2945"/>
                  </a:lnTo>
                  <a:lnTo>
                    <a:pt x="2272" y="2945"/>
                  </a:lnTo>
                  <a:lnTo>
                    <a:pt x="2272" y="3009"/>
                  </a:lnTo>
                  <a:close/>
                  <a:moveTo>
                    <a:pt x="2272" y="3122"/>
                  </a:moveTo>
                  <a:lnTo>
                    <a:pt x="2337" y="3122"/>
                  </a:lnTo>
                  <a:lnTo>
                    <a:pt x="2337" y="3058"/>
                  </a:lnTo>
                  <a:lnTo>
                    <a:pt x="2272" y="3058"/>
                  </a:lnTo>
                  <a:lnTo>
                    <a:pt x="2272" y="3122"/>
                  </a:lnTo>
                  <a:close/>
                  <a:moveTo>
                    <a:pt x="2272" y="3237"/>
                  </a:moveTo>
                  <a:lnTo>
                    <a:pt x="2337" y="3237"/>
                  </a:lnTo>
                  <a:lnTo>
                    <a:pt x="2337" y="3172"/>
                  </a:lnTo>
                  <a:lnTo>
                    <a:pt x="2272" y="3172"/>
                  </a:lnTo>
                  <a:lnTo>
                    <a:pt x="2272" y="3237"/>
                  </a:lnTo>
                  <a:close/>
                  <a:moveTo>
                    <a:pt x="2272" y="3350"/>
                  </a:moveTo>
                  <a:lnTo>
                    <a:pt x="2337" y="3350"/>
                  </a:lnTo>
                  <a:lnTo>
                    <a:pt x="2337" y="3285"/>
                  </a:lnTo>
                  <a:lnTo>
                    <a:pt x="2272" y="3285"/>
                  </a:lnTo>
                  <a:lnTo>
                    <a:pt x="2272" y="3350"/>
                  </a:lnTo>
                  <a:close/>
                  <a:moveTo>
                    <a:pt x="2272" y="3463"/>
                  </a:moveTo>
                  <a:lnTo>
                    <a:pt x="2337" y="3463"/>
                  </a:lnTo>
                  <a:lnTo>
                    <a:pt x="2337" y="3399"/>
                  </a:lnTo>
                  <a:lnTo>
                    <a:pt x="2272" y="3399"/>
                  </a:lnTo>
                  <a:lnTo>
                    <a:pt x="2272" y="3463"/>
                  </a:lnTo>
                  <a:close/>
                  <a:moveTo>
                    <a:pt x="2272" y="3576"/>
                  </a:moveTo>
                  <a:lnTo>
                    <a:pt x="2337" y="3576"/>
                  </a:lnTo>
                  <a:lnTo>
                    <a:pt x="2337" y="3512"/>
                  </a:lnTo>
                  <a:lnTo>
                    <a:pt x="2272" y="3512"/>
                  </a:lnTo>
                  <a:lnTo>
                    <a:pt x="2272" y="3576"/>
                  </a:lnTo>
                  <a:close/>
                  <a:moveTo>
                    <a:pt x="2272" y="3691"/>
                  </a:moveTo>
                  <a:lnTo>
                    <a:pt x="2337" y="3691"/>
                  </a:lnTo>
                  <a:lnTo>
                    <a:pt x="2337" y="3626"/>
                  </a:lnTo>
                  <a:lnTo>
                    <a:pt x="2272" y="3626"/>
                  </a:lnTo>
                  <a:lnTo>
                    <a:pt x="2272" y="3691"/>
                  </a:lnTo>
                  <a:close/>
                  <a:moveTo>
                    <a:pt x="2272" y="3804"/>
                  </a:moveTo>
                  <a:lnTo>
                    <a:pt x="2337" y="3804"/>
                  </a:lnTo>
                  <a:lnTo>
                    <a:pt x="2337" y="3739"/>
                  </a:lnTo>
                  <a:lnTo>
                    <a:pt x="2272" y="3739"/>
                  </a:lnTo>
                  <a:lnTo>
                    <a:pt x="2272" y="3804"/>
                  </a:lnTo>
                  <a:close/>
                  <a:moveTo>
                    <a:pt x="2272" y="3915"/>
                  </a:moveTo>
                  <a:lnTo>
                    <a:pt x="2337" y="3915"/>
                  </a:lnTo>
                  <a:lnTo>
                    <a:pt x="2337" y="3850"/>
                  </a:lnTo>
                  <a:lnTo>
                    <a:pt x="2272" y="3850"/>
                  </a:lnTo>
                  <a:lnTo>
                    <a:pt x="2272" y="3915"/>
                  </a:lnTo>
                  <a:close/>
                  <a:moveTo>
                    <a:pt x="2272" y="4028"/>
                  </a:moveTo>
                  <a:lnTo>
                    <a:pt x="2337" y="4028"/>
                  </a:lnTo>
                  <a:lnTo>
                    <a:pt x="2337" y="3964"/>
                  </a:lnTo>
                  <a:lnTo>
                    <a:pt x="2272" y="3964"/>
                  </a:lnTo>
                  <a:lnTo>
                    <a:pt x="2272" y="4028"/>
                  </a:lnTo>
                  <a:close/>
                  <a:moveTo>
                    <a:pt x="2386" y="1084"/>
                  </a:moveTo>
                  <a:lnTo>
                    <a:pt x="2451" y="1084"/>
                  </a:lnTo>
                  <a:lnTo>
                    <a:pt x="2451" y="1019"/>
                  </a:lnTo>
                  <a:lnTo>
                    <a:pt x="2386" y="1019"/>
                  </a:lnTo>
                  <a:lnTo>
                    <a:pt x="2386" y="1084"/>
                  </a:lnTo>
                  <a:close/>
                  <a:moveTo>
                    <a:pt x="2386" y="1197"/>
                  </a:moveTo>
                  <a:lnTo>
                    <a:pt x="2451" y="1197"/>
                  </a:lnTo>
                  <a:lnTo>
                    <a:pt x="2451" y="1132"/>
                  </a:lnTo>
                  <a:lnTo>
                    <a:pt x="2386" y="1132"/>
                  </a:lnTo>
                  <a:lnTo>
                    <a:pt x="2386" y="1197"/>
                  </a:lnTo>
                  <a:close/>
                  <a:moveTo>
                    <a:pt x="2386" y="1308"/>
                  </a:moveTo>
                  <a:lnTo>
                    <a:pt x="2451" y="1308"/>
                  </a:lnTo>
                  <a:lnTo>
                    <a:pt x="2451" y="1244"/>
                  </a:lnTo>
                  <a:lnTo>
                    <a:pt x="2386" y="1244"/>
                  </a:lnTo>
                  <a:lnTo>
                    <a:pt x="2386" y="1308"/>
                  </a:lnTo>
                  <a:close/>
                  <a:moveTo>
                    <a:pt x="2386" y="1422"/>
                  </a:moveTo>
                  <a:lnTo>
                    <a:pt x="2451" y="1422"/>
                  </a:lnTo>
                  <a:lnTo>
                    <a:pt x="2451" y="1357"/>
                  </a:lnTo>
                  <a:lnTo>
                    <a:pt x="2386" y="1357"/>
                  </a:lnTo>
                  <a:lnTo>
                    <a:pt x="2386" y="1422"/>
                  </a:lnTo>
                  <a:close/>
                  <a:moveTo>
                    <a:pt x="2386" y="1536"/>
                  </a:moveTo>
                  <a:lnTo>
                    <a:pt x="2451" y="1536"/>
                  </a:lnTo>
                  <a:lnTo>
                    <a:pt x="2451" y="1471"/>
                  </a:lnTo>
                  <a:lnTo>
                    <a:pt x="2386" y="1471"/>
                  </a:lnTo>
                  <a:lnTo>
                    <a:pt x="2386" y="1536"/>
                  </a:lnTo>
                  <a:close/>
                  <a:moveTo>
                    <a:pt x="2386" y="1649"/>
                  </a:moveTo>
                  <a:lnTo>
                    <a:pt x="2451" y="1649"/>
                  </a:lnTo>
                  <a:lnTo>
                    <a:pt x="2451" y="1585"/>
                  </a:lnTo>
                  <a:lnTo>
                    <a:pt x="2386" y="1585"/>
                  </a:lnTo>
                  <a:lnTo>
                    <a:pt x="2386" y="1649"/>
                  </a:lnTo>
                  <a:close/>
                  <a:moveTo>
                    <a:pt x="2386" y="1766"/>
                  </a:moveTo>
                  <a:lnTo>
                    <a:pt x="2451" y="1766"/>
                  </a:lnTo>
                  <a:lnTo>
                    <a:pt x="2451" y="1701"/>
                  </a:lnTo>
                  <a:lnTo>
                    <a:pt x="2386" y="1701"/>
                  </a:lnTo>
                  <a:lnTo>
                    <a:pt x="2386" y="1766"/>
                  </a:lnTo>
                  <a:close/>
                  <a:moveTo>
                    <a:pt x="2386" y="1880"/>
                  </a:moveTo>
                  <a:lnTo>
                    <a:pt x="2451" y="1880"/>
                  </a:lnTo>
                  <a:lnTo>
                    <a:pt x="2451" y="1816"/>
                  </a:lnTo>
                  <a:lnTo>
                    <a:pt x="2386" y="1816"/>
                  </a:lnTo>
                  <a:lnTo>
                    <a:pt x="2386" y="1880"/>
                  </a:lnTo>
                  <a:close/>
                  <a:moveTo>
                    <a:pt x="2386" y="1994"/>
                  </a:moveTo>
                  <a:lnTo>
                    <a:pt x="2451" y="1994"/>
                  </a:lnTo>
                  <a:lnTo>
                    <a:pt x="2451" y="1929"/>
                  </a:lnTo>
                  <a:lnTo>
                    <a:pt x="2386" y="1929"/>
                  </a:lnTo>
                  <a:lnTo>
                    <a:pt x="2386" y="1994"/>
                  </a:lnTo>
                  <a:close/>
                  <a:moveTo>
                    <a:pt x="2386" y="2105"/>
                  </a:moveTo>
                  <a:lnTo>
                    <a:pt x="2451" y="2105"/>
                  </a:lnTo>
                  <a:lnTo>
                    <a:pt x="2451" y="2040"/>
                  </a:lnTo>
                  <a:lnTo>
                    <a:pt x="2386" y="2040"/>
                  </a:lnTo>
                  <a:lnTo>
                    <a:pt x="2386" y="2105"/>
                  </a:lnTo>
                  <a:close/>
                  <a:moveTo>
                    <a:pt x="2386" y="2218"/>
                  </a:moveTo>
                  <a:lnTo>
                    <a:pt x="2451" y="2218"/>
                  </a:lnTo>
                  <a:lnTo>
                    <a:pt x="2451" y="2153"/>
                  </a:lnTo>
                  <a:lnTo>
                    <a:pt x="2386" y="2153"/>
                  </a:lnTo>
                  <a:lnTo>
                    <a:pt x="2386" y="2218"/>
                  </a:lnTo>
                  <a:close/>
                  <a:moveTo>
                    <a:pt x="2386" y="2332"/>
                  </a:moveTo>
                  <a:lnTo>
                    <a:pt x="2451" y="2332"/>
                  </a:lnTo>
                  <a:lnTo>
                    <a:pt x="2451" y="2268"/>
                  </a:lnTo>
                  <a:lnTo>
                    <a:pt x="2386" y="2268"/>
                  </a:lnTo>
                  <a:lnTo>
                    <a:pt x="2386" y="2332"/>
                  </a:lnTo>
                  <a:close/>
                  <a:moveTo>
                    <a:pt x="2386" y="2445"/>
                  </a:moveTo>
                  <a:lnTo>
                    <a:pt x="2451" y="2445"/>
                  </a:lnTo>
                  <a:lnTo>
                    <a:pt x="2451" y="2381"/>
                  </a:lnTo>
                  <a:lnTo>
                    <a:pt x="2386" y="2381"/>
                  </a:lnTo>
                  <a:lnTo>
                    <a:pt x="2386" y="2445"/>
                  </a:lnTo>
                  <a:close/>
                  <a:moveTo>
                    <a:pt x="2386" y="2557"/>
                  </a:moveTo>
                  <a:lnTo>
                    <a:pt x="2451" y="2557"/>
                  </a:lnTo>
                  <a:lnTo>
                    <a:pt x="2451" y="2493"/>
                  </a:lnTo>
                  <a:lnTo>
                    <a:pt x="2386" y="2493"/>
                  </a:lnTo>
                  <a:lnTo>
                    <a:pt x="2386" y="2557"/>
                  </a:lnTo>
                  <a:close/>
                  <a:moveTo>
                    <a:pt x="2386" y="2670"/>
                  </a:moveTo>
                  <a:lnTo>
                    <a:pt x="2451" y="2670"/>
                  </a:lnTo>
                  <a:lnTo>
                    <a:pt x="2451" y="2606"/>
                  </a:lnTo>
                  <a:lnTo>
                    <a:pt x="2386" y="2606"/>
                  </a:lnTo>
                  <a:lnTo>
                    <a:pt x="2386" y="2670"/>
                  </a:lnTo>
                  <a:close/>
                  <a:moveTo>
                    <a:pt x="2386" y="2785"/>
                  </a:moveTo>
                  <a:lnTo>
                    <a:pt x="2451" y="2785"/>
                  </a:lnTo>
                  <a:lnTo>
                    <a:pt x="2451" y="2720"/>
                  </a:lnTo>
                  <a:lnTo>
                    <a:pt x="2386" y="2720"/>
                  </a:lnTo>
                  <a:lnTo>
                    <a:pt x="2386" y="2785"/>
                  </a:lnTo>
                  <a:close/>
                  <a:moveTo>
                    <a:pt x="2386" y="2898"/>
                  </a:moveTo>
                  <a:lnTo>
                    <a:pt x="2451" y="2898"/>
                  </a:lnTo>
                  <a:lnTo>
                    <a:pt x="2451" y="2834"/>
                  </a:lnTo>
                  <a:lnTo>
                    <a:pt x="2386" y="2834"/>
                  </a:lnTo>
                  <a:lnTo>
                    <a:pt x="2386" y="2898"/>
                  </a:lnTo>
                  <a:close/>
                  <a:moveTo>
                    <a:pt x="2386" y="3009"/>
                  </a:moveTo>
                  <a:lnTo>
                    <a:pt x="2451" y="3009"/>
                  </a:lnTo>
                  <a:lnTo>
                    <a:pt x="2451" y="2945"/>
                  </a:lnTo>
                  <a:lnTo>
                    <a:pt x="2386" y="2945"/>
                  </a:lnTo>
                  <a:lnTo>
                    <a:pt x="2386" y="3009"/>
                  </a:lnTo>
                  <a:close/>
                  <a:moveTo>
                    <a:pt x="2386" y="3122"/>
                  </a:moveTo>
                  <a:lnTo>
                    <a:pt x="2451" y="3122"/>
                  </a:lnTo>
                  <a:lnTo>
                    <a:pt x="2451" y="3058"/>
                  </a:lnTo>
                  <a:lnTo>
                    <a:pt x="2386" y="3058"/>
                  </a:lnTo>
                  <a:lnTo>
                    <a:pt x="2386" y="3122"/>
                  </a:lnTo>
                  <a:close/>
                  <a:moveTo>
                    <a:pt x="2386" y="3237"/>
                  </a:moveTo>
                  <a:lnTo>
                    <a:pt x="2451" y="3237"/>
                  </a:lnTo>
                  <a:lnTo>
                    <a:pt x="2451" y="3172"/>
                  </a:lnTo>
                  <a:lnTo>
                    <a:pt x="2386" y="3172"/>
                  </a:lnTo>
                  <a:lnTo>
                    <a:pt x="2386" y="3237"/>
                  </a:lnTo>
                  <a:close/>
                  <a:moveTo>
                    <a:pt x="2386" y="3350"/>
                  </a:moveTo>
                  <a:lnTo>
                    <a:pt x="2451" y="3350"/>
                  </a:lnTo>
                  <a:lnTo>
                    <a:pt x="2451" y="3285"/>
                  </a:lnTo>
                  <a:lnTo>
                    <a:pt x="2386" y="3285"/>
                  </a:lnTo>
                  <a:lnTo>
                    <a:pt x="2386" y="3350"/>
                  </a:lnTo>
                  <a:close/>
                  <a:moveTo>
                    <a:pt x="2386" y="3463"/>
                  </a:moveTo>
                  <a:lnTo>
                    <a:pt x="2451" y="3463"/>
                  </a:lnTo>
                  <a:lnTo>
                    <a:pt x="2451" y="3399"/>
                  </a:lnTo>
                  <a:lnTo>
                    <a:pt x="2386" y="3399"/>
                  </a:lnTo>
                  <a:lnTo>
                    <a:pt x="2386" y="3463"/>
                  </a:lnTo>
                  <a:close/>
                  <a:moveTo>
                    <a:pt x="2386" y="3576"/>
                  </a:moveTo>
                  <a:lnTo>
                    <a:pt x="2451" y="3576"/>
                  </a:lnTo>
                  <a:lnTo>
                    <a:pt x="2451" y="3512"/>
                  </a:lnTo>
                  <a:lnTo>
                    <a:pt x="2386" y="3512"/>
                  </a:lnTo>
                  <a:lnTo>
                    <a:pt x="2386" y="3576"/>
                  </a:lnTo>
                  <a:close/>
                  <a:moveTo>
                    <a:pt x="2386" y="3691"/>
                  </a:moveTo>
                  <a:lnTo>
                    <a:pt x="2451" y="3691"/>
                  </a:lnTo>
                  <a:lnTo>
                    <a:pt x="2451" y="3626"/>
                  </a:lnTo>
                  <a:lnTo>
                    <a:pt x="2386" y="3626"/>
                  </a:lnTo>
                  <a:lnTo>
                    <a:pt x="2386" y="3691"/>
                  </a:lnTo>
                  <a:close/>
                  <a:moveTo>
                    <a:pt x="2386" y="3804"/>
                  </a:moveTo>
                  <a:lnTo>
                    <a:pt x="2451" y="3804"/>
                  </a:lnTo>
                  <a:lnTo>
                    <a:pt x="2451" y="3739"/>
                  </a:lnTo>
                  <a:lnTo>
                    <a:pt x="2386" y="3739"/>
                  </a:lnTo>
                  <a:lnTo>
                    <a:pt x="2386" y="3804"/>
                  </a:lnTo>
                  <a:close/>
                  <a:moveTo>
                    <a:pt x="2386" y="3915"/>
                  </a:moveTo>
                  <a:lnTo>
                    <a:pt x="2451" y="3915"/>
                  </a:lnTo>
                  <a:lnTo>
                    <a:pt x="2451" y="3850"/>
                  </a:lnTo>
                  <a:lnTo>
                    <a:pt x="2386" y="3850"/>
                  </a:lnTo>
                  <a:lnTo>
                    <a:pt x="2386" y="3915"/>
                  </a:lnTo>
                  <a:close/>
                  <a:moveTo>
                    <a:pt x="2386" y="4028"/>
                  </a:moveTo>
                  <a:lnTo>
                    <a:pt x="2451" y="4028"/>
                  </a:lnTo>
                  <a:lnTo>
                    <a:pt x="2451" y="3964"/>
                  </a:lnTo>
                  <a:lnTo>
                    <a:pt x="2386" y="3964"/>
                  </a:lnTo>
                  <a:lnTo>
                    <a:pt x="2386" y="4028"/>
                  </a:lnTo>
                  <a:close/>
                  <a:moveTo>
                    <a:pt x="2386" y="4142"/>
                  </a:moveTo>
                  <a:lnTo>
                    <a:pt x="2451" y="4142"/>
                  </a:lnTo>
                  <a:lnTo>
                    <a:pt x="2451" y="4078"/>
                  </a:lnTo>
                  <a:lnTo>
                    <a:pt x="2386" y="4078"/>
                  </a:lnTo>
                  <a:lnTo>
                    <a:pt x="2386" y="4142"/>
                  </a:lnTo>
                  <a:close/>
                  <a:moveTo>
                    <a:pt x="2386" y="4255"/>
                  </a:moveTo>
                  <a:lnTo>
                    <a:pt x="2451" y="4255"/>
                  </a:lnTo>
                  <a:lnTo>
                    <a:pt x="2451" y="4191"/>
                  </a:lnTo>
                  <a:lnTo>
                    <a:pt x="2386" y="4191"/>
                  </a:lnTo>
                  <a:lnTo>
                    <a:pt x="2386" y="4255"/>
                  </a:lnTo>
                  <a:close/>
                  <a:moveTo>
                    <a:pt x="2501" y="1084"/>
                  </a:moveTo>
                  <a:lnTo>
                    <a:pt x="2565" y="1084"/>
                  </a:lnTo>
                  <a:lnTo>
                    <a:pt x="2565" y="1019"/>
                  </a:lnTo>
                  <a:lnTo>
                    <a:pt x="2501" y="1019"/>
                  </a:lnTo>
                  <a:lnTo>
                    <a:pt x="2501" y="1084"/>
                  </a:lnTo>
                  <a:close/>
                  <a:moveTo>
                    <a:pt x="2501" y="1197"/>
                  </a:moveTo>
                  <a:lnTo>
                    <a:pt x="2565" y="1197"/>
                  </a:lnTo>
                  <a:lnTo>
                    <a:pt x="2565" y="1132"/>
                  </a:lnTo>
                  <a:lnTo>
                    <a:pt x="2501" y="1132"/>
                  </a:lnTo>
                  <a:lnTo>
                    <a:pt x="2501" y="1197"/>
                  </a:lnTo>
                  <a:close/>
                  <a:moveTo>
                    <a:pt x="2501" y="1308"/>
                  </a:moveTo>
                  <a:lnTo>
                    <a:pt x="2565" y="1308"/>
                  </a:lnTo>
                  <a:lnTo>
                    <a:pt x="2565" y="1244"/>
                  </a:lnTo>
                  <a:lnTo>
                    <a:pt x="2501" y="1244"/>
                  </a:lnTo>
                  <a:lnTo>
                    <a:pt x="2501" y="1308"/>
                  </a:lnTo>
                  <a:close/>
                  <a:moveTo>
                    <a:pt x="2501" y="1536"/>
                  </a:moveTo>
                  <a:lnTo>
                    <a:pt x="2565" y="1536"/>
                  </a:lnTo>
                  <a:lnTo>
                    <a:pt x="2565" y="1471"/>
                  </a:lnTo>
                  <a:lnTo>
                    <a:pt x="2501" y="1471"/>
                  </a:lnTo>
                  <a:lnTo>
                    <a:pt x="2501" y="1536"/>
                  </a:lnTo>
                  <a:close/>
                  <a:moveTo>
                    <a:pt x="2501" y="1649"/>
                  </a:moveTo>
                  <a:lnTo>
                    <a:pt x="2565" y="1649"/>
                  </a:lnTo>
                  <a:lnTo>
                    <a:pt x="2565" y="1585"/>
                  </a:lnTo>
                  <a:lnTo>
                    <a:pt x="2501" y="1585"/>
                  </a:lnTo>
                  <a:lnTo>
                    <a:pt x="2501" y="1649"/>
                  </a:lnTo>
                  <a:close/>
                  <a:moveTo>
                    <a:pt x="2501" y="1766"/>
                  </a:moveTo>
                  <a:lnTo>
                    <a:pt x="2565" y="1766"/>
                  </a:lnTo>
                  <a:lnTo>
                    <a:pt x="2565" y="1701"/>
                  </a:lnTo>
                  <a:lnTo>
                    <a:pt x="2501" y="1701"/>
                  </a:lnTo>
                  <a:lnTo>
                    <a:pt x="2501" y="1766"/>
                  </a:lnTo>
                  <a:close/>
                  <a:moveTo>
                    <a:pt x="2501" y="1880"/>
                  </a:moveTo>
                  <a:lnTo>
                    <a:pt x="2565" y="1880"/>
                  </a:lnTo>
                  <a:lnTo>
                    <a:pt x="2565" y="1816"/>
                  </a:lnTo>
                  <a:lnTo>
                    <a:pt x="2501" y="1816"/>
                  </a:lnTo>
                  <a:lnTo>
                    <a:pt x="2501" y="1880"/>
                  </a:lnTo>
                  <a:close/>
                  <a:moveTo>
                    <a:pt x="2501" y="1994"/>
                  </a:moveTo>
                  <a:lnTo>
                    <a:pt x="2565" y="1994"/>
                  </a:lnTo>
                  <a:lnTo>
                    <a:pt x="2565" y="1929"/>
                  </a:lnTo>
                  <a:lnTo>
                    <a:pt x="2501" y="1929"/>
                  </a:lnTo>
                  <a:lnTo>
                    <a:pt x="2501" y="1994"/>
                  </a:lnTo>
                  <a:close/>
                  <a:moveTo>
                    <a:pt x="2501" y="2105"/>
                  </a:moveTo>
                  <a:lnTo>
                    <a:pt x="2565" y="2105"/>
                  </a:lnTo>
                  <a:lnTo>
                    <a:pt x="2565" y="2040"/>
                  </a:lnTo>
                  <a:lnTo>
                    <a:pt x="2501" y="2040"/>
                  </a:lnTo>
                  <a:lnTo>
                    <a:pt x="2501" y="2105"/>
                  </a:lnTo>
                  <a:close/>
                  <a:moveTo>
                    <a:pt x="2501" y="2218"/>
                  </a:moveTo>
                  <a:lnTo>
                    <a:pt x="2565" y="2218"/>
                  </a:lnTo>
                  <a:lnTo>
                    <a:pt x="2565" y="2153"/>
                  </a:lnTo>
                  <a:lnTo>
                    <a:pt x="2501" y="2153"/>
                  </a:lnTo>
                  <a:lnTo>
                    <a:pt x="2501" y="2218"/>
                  </a:lnTo>
                  <a:close/>
                  <a:moveTo>
                    <a:pt x="2501" y="2332"/>
                  </a:moveTo>
                  <a:lnTo>
                    <a:pt x="2565" y="2332"/>
                  </a:lnTo>
                  <a:lnTo>
                    <a:pt x="2565" y="2268"/>
                  </a:lnTo>
                  <a:lnTo>
                    <a:pt x="2501" y="2268"/>
                  </a:lnTo>
                  <a:lnTo>
                    <a:pt x="2501" y="2332"/>
                  </a:lnTo>
                  <a:close/>
                  <a:moveTo>
                    <a:pt x="2501" y="2445"/>
                  </a:moveTo>
                  <a:lnTo>
                    <a:pt x="2565" y="2445"/>
                  </a:lnTo>
                  <a:lnTo>
                    <a:pt x="2565" y="2381"/>
                  </a:lnTo>
                  <a:lnTo>
                    <a:pt x="2501" y="2381"/>
                  </a:lnTo>
                  <a:lnTo>
                    <a:pt x="2501" y="2445"/>
                  </a:lnTo>
                  <a:close/>
                  <a:moveTo>
                    <a:pt x="2501" y="2557"/>
                  </a:moveTo>
                  <a:lnTo>
                    <a:pt x="2565" y="2557"/>
                  </a:lnTo>
                  <a:lnTo>
                    <a:pt x="2565" y="2493"/>
                  </a:lnTo>
                  <a:lnTo>
                    <a:pt x="2501" y="2493"/>
                  </a:lnTo>
                  <a:lnTo>
                    <a:pt x="2501" y="2557"/>
                  </a:lnTo>
                  <a:close/>
                  <a:moveTo>
                    <a:pt x="2501" y="2670"/>
                  </a:moveTo>
                  <a:lnTo>
                    <a:pt x="2565" y="2670"/>
                  </a:lnTo>
                  <a:lnTo>
                    <a:pt x="2565" y="2606"/>
                  </a:lnTo>
                  <a:lnTo>
                    <a:pt x="2501" y="2606"/>
                  </a:lnTo>
                  <a:lnTo>
                    <a:pt x="2501" y="2670"/>
                  </a:lnTo>
                  <a:close/>
                  <a:moveTo>
                    <a:pt x="2501" y="2785"/>
                  </a:moveTo>
                  <a:lnTo>
                    <a:pt x="2565" y="2785"/>
                  </a:lnTo>
                  <a:lnTo>
                    <a:pt x="2565" y="2720"/>
                  </a:lnTo>
                  <a:lnTo>
                    <a:pt x="2501" y="2720"/>
                  </a:lnTo>
                  <a:lnTo>
                    <a:pt x="2501" y="2785"/>
                  </a:lnTo>
                  <a:close/>
                  <a:moveTo>
                    <a:pt x="2501" y="2898"/>
                  </a:moveTo>
                  <a:lnTo>
                    <a:pt x="2565" y="2898"/>
                  </a:lnTo>
                  <a:lnTo>
                    <a:pt x="2565" y="2834"/>
                  </a:lnTo>
                  <a:lnTo>
                    <a:pt x="2501" y="2834"/>
                  </a:lnTo>
                  <a:lnTo>
                    <a:pt x="2501" y="2898"/>
                  </a:lnTo>
                  <a:close/>
                  <a:moveTo>
                    <a:pt x="2501" y="3009"/>
                  </a:moveTo>
                  <a:lnTo>
                    <a:pt x="2565" y="3009"/>
                  </a:lnTo>
                  <a:lnTo>
                    <a:pt x="2565" y="2945"/>
                  </a:lnTo>
                  <a:lnTo>
                    <a:pt x="2501" y="2945"/>
                  </a:lnTo>
                  <a:lnTo>
                    <a:pt x="2501" y="3009"/>
                  </a:lnTo>
                  <a:close/>
                  <a:moveTo>
                    <a:pt x="2501" y="3122"/>
                  </a:moveTo>
                  <a:lnTo>
                    <a:pt x="2565" y="3122"/>
                  </a:lnTo>
                  <a:lnTo>
                    <a:pt x="2565" y="3058"/>
                  </a:lnTo>
                  <a:lnTo>
                    <a:pt x="2501" y="3058"/>
                  </a:lnTo>
                  <a:lnTo>
                    <a:pt x="2501" y="3122"/>
                  </a:lnTo>
                  <a:close/>
                  <a:moveTo>
                    <a:pt x="2501" y="3237"/>
                  </a:moveTo>
                  <a:lnTo>
                    <a:pt x="2565" y="3237"/>
                  </a:lnTo>
                  <a:lnTo>
                    <a:pt x="2565" y="3172"/>
                  </a:lnTo>
                  <a:lnTo>
                    <a:pt x="2501" y="3172"/>
                  </a:lnTo>
                  <a:lnTo>
                    <a:pt x="2501" y="3237"/>
                  </a:lnTo>
                  <a:close/>
                  <a:moveTo>
                    <a:pt x="2501" y="3350"/>
                  </a:moveTo>
                  <a:lnTo>
                    <a:pt x="2565" y="3350"/>
                  </a:lnTo>
                  <a:lnTo>
                    <a:pt x="2565" y="3285"/>
                  </a:lnTo>
                  <a:lnTo>
                    <a:pt x="2501" y="3285"/>
                  </a:lnTo>
                  <a:lnTo>
                    <a:pt x="2501" y="3350"/>
                  </a:lnTo>
                  <a:close/>
                  <a:moveTo>
                    <a:pt x="2501" y="3463"/>
                  </a:moveTo>
                  <a:lnTo>
                    <a:pt x="2565" y="3463"/>
                  </a:lnTo>
                  <a:lnTo>
                    <a:pt x="2565" y="3399"/>
                  </a:lnTo>
                  <a:lnTo>
                    <a:pt x="2501" y="3399"/>
                  </a:lnTo>
                  <a:lnTo>
                    <a:pt x="2501" y="3463"/>
                  </a:lnTo>
                  <a:close/>
                  <a:moveTo>
                    <a:pt x="2501" y="3576"/>
                  </a:moveTo>
                  <a:lnTo>
                    <a:pt x="2565" y="3576"/>
                  </a:lnTo>
                  <a:lnTo>
                    <a:pt x="2565" y="3512"/>
                  </a:lnTo>
                  <a:lnTo>
                    <a:pt x="2501" y="3512"/>
                  </a:lnTo>
                  <a:lnTo>
                    <a:pt x="2501" y="3576"/>
                  </a:lnTo>
                  <a:close/>
                  <a:moveTo>
                    <a:pt x="2501" y="3691"/>
                  </a:moveTo>
                  <a:lnTo>
                    <a:pt x="2565" y="3691"/>
                  </a:lnTo>
                  <a:lnTo>
                    <a:pt x="2565" y="3626"/>
                  </a:lnTo>
                  <a:lnTo>
                    <a:pt x="2501" y="3626"/>
                  </a:lnTo>
                  <a:lnTo>
                    <a:pt x="2501" y="3691"/>
                  </a:lnTo>
                  <a:close/>
                  <a:moveTo>
                    <a:pt x="2501" y="3804"/>
                  </a:moveTo>
                  <a:lnTo>
                    <a:pt x="2565" y="3804"/>
                  </a:lnTo>
                  <a:lnTo>
                    <a:pt x="2565" y="3739"/>
                  </a:lnTo>
                  <a:lnTo>
                    <a:pt x="2501" y="3739"/>
                  </a:lnTo>
                  <a:lnTo>
                    <a:pt x="2501" y="3804"/>
                  </a:lnTo>
                  <a:close/>
                  <a:moveTo>
                    <a:pt x="2501" y="3915"/>
                  </a:moveTo>
                  <a:lnTo>
                    <a:pt x="2565" y="3915"/>
                  </a:lnTo>
                  <a:lnTo>
                    <a:pt x="2565" y="3850"/>
                  </a:lnTo>
                  <a:lnTo>
                    <a:pt x="2501" y="3850"/>
                  </a:lnTo>
                  <a:lnTo>
                    <a:pt x="2501" y="3915"/>
                  </a:lnTo>
                  <a:close/>
                  <a:moveTo>
                    <a:pt x="2501" y="4028"/>
                  </a:moveTo>
                  <a:lnTo>
                    <a:pt x="2565" y="4028"/>
                  </a:lnTo>
                  <a:lnTo>
                    <a:pt x="2565" y="3964"/>
                  </a:lnTo>
                  <a:lnTo>
                    <a:pt x="2501" y="3964"/>
                  </a:lnTo>
                  <a:lnTo>
                    <a:pt x="2501" y="4028"/>
                  </a:lnTo>
                  <a:close/>
                  <a:moveTo>
                    <a:pt x="2501" y="4142"/>
                  </a:moveTo>
                  <a:lnTo>
                    <a:pt x="2565" y="4142"/>
                  </a:lnTo>
                  <a:lnTo>
                    <a:pt x="2565" y="4078"/>
                  </a:lnTo>
                  <a:lnTo>
                    <a:pt x="2501" y="4078"/>
                  </a:lnTo>
                  <a:lnTo>
                    <a:pt x="2501" y="4142"/>
                  </a:lnTo>
                  <a:close/>
                  <a:moveTo>
                    <a:pt x="2501" y="4255"/>
                  </a:moveTo>
                  <a:lnTo>
                    <a:pt x="2565" y="4255"/>
                  </a:lnTo>
                  <a:lnTo>
                    <a:pt x="2565" y="4191"/>
                  </a:lnTo>
                  <a:lnTo>
                    <a:pt x="2501" y="4191"/>
                  </a:lnTo>
                  <a:lnTo>
                    <a:pt x="2501" y="4255"/>
                  </a:lnTo>
                  <a:close/>
                  <a:moveTo>
                    <a:pt x="2612" y="1084"/>
                  </a:moveTo>
                  <a:lnTo>
                    <a:pt x="2677" y="1084"/>
                  </a:lnTo>
                  <a:lnTo>
                    <a:pt x="2677" y="1019"/>
                  </a:lnTo>
                  <a:lnTo>
                    <a:pt x="2612" y="1019"/>
                  </a:lnTo>
                  <a:lnTo>
                    <a:pt x="2612" y="1084"/>
                  </a:lnTo>
                  <a:close/>
                  <a:moveTo>
                    <a:pt x="2612" y="1197"/>
                  </a:moveTo>
                  <a:lnTo>
                    <a:pt x="2677" y="1197"/>
                  </a:lnTo>
                  <a:lnTo>
                    <a:pt x="2677" y="1132"/>
                  </a:lnTo>
                  <a:lnTo>
                    <a:pt x="2612" y="1132"/>
                  </a:lnTo>
                  <a:lnTo>
                    <a:pt x="2612" y="1197"/>
                  </a:lnTo>
                  <a:close/>
                  <a:moveTo>
                    <a:pt x="2612" y="1649"/>
                  </a:moveTo>
                  <a:lnTo>
                    <a:pt x="2677" y="1649"/>
                  </a:lnTo>
                  <a:lnTo>
                    <a:pt x="2677" y="1585"/>
                  </a:lnTo>
                  <a:lnTo>
                    <a:pt x="2612" y="1585"/>
                  </a:lnTo>
                  <a:lnTo>
                    <a:pt x="2612" y="1649"/>
                  </a:lnTo>
                  <a:close/>
                  <a:moveTo>
                    <a:pt x="2612" y="1766"/>
                  </a:moveTo>
                  <a:lnTo>
                    <a:pt x="2677" y="1766"/>
                  </a:lnTo>
                  <a:lnTo>
                    <a:pt x="2677" y="1701"/>
                  </a:lnTo>
                  <a:lnTo>
                    <a:pt x="2612" y="1701"/>
                  </a:lnTo>
                  <a:lnTo>
                    <a:pt x="2612" y="1766"/>
                  </a:lnTo>
                  <a:close/>
                  <a:moveTo>
                    <a:pt x="2612" y="1880"/>
                  </a:moveTo>
                  <a:lnTo>
                    <a:pt x="2677" y="1880"/>
                  </a:lnTo>
                  <a:lnTo>
                    <a:pt x="2677" y="1816"/>
                  </a:lnTo>
                  <a:lnTo>
                    <a:pt x="2612" y="1816"/>
                  </a:lnTo>
                  <a:lnTo>
                    <a:pt x="2612" y="1880"/>
                  </a:lnTo>
                  <a:close/>
                  <a:moveTo>
                    <a:pt x="2612" y="1994"/>
                  </a:moveTo>
                  <a:lnTo>
                    <a:pt x="2677" y="1994"/>
                  </a:lnTo>
                  <a:lnTo>
                    <a:pt x="2677" y="1929"/>
                  </a:lnTo>
                  <a:lnTo>
                    <a:pt x="2612" y="1929"/>
                  </a:lnTo>
                  <a:lnTo>
                    <a:pt x="2612" y="1994"/>
                  </a:lnTo>
                  <a:close/>
                  <a:moveTo>
                    <a:pt x="2612" y="2105"/>
                  </a:moveTo>
                  <a:lnTo>
                    <a:pt x="2677" y="2105"/>
                  </a:lnTo>
                  <a:lnTo>
                    <a:pt x="2677" y="2040"/>
                  </a:lnTo>
                  <a:lnTo>
                    <a:pt x="2612" y="2040"/>
                  </a:lnTo>
                  <a:lnTo>
                    <a:pt x="2612" y="2105"/>
                  </a:lnTo>
                  <a:close/>
                  <a:moveTo>
                    <a:pt x="2612" y="2218"/>
                  </a:moveTo>
                  <a:lnTo>
                    <a:pt x="2677" y="2218"/>
                  </a:lnTo>
                  <a:lnTo>
                    <a:pt x="2677" y="2153"/>
                  </a:lnTo>
                  <a:lnTo>
                    <a:pt x="2612" y="2153"/>
                  </a:lnTo>
                  <a:lnTo>
                    <a:pt x="2612" y="2218"/>
                  </a:lnTo>
                  <a:close/>
                  <a:moveTo>
                    <a:pt x="2612" y="2332"/>
                  </a:moveTo>
                  <a:lnTo>
                    <a:pt x="2677" y="2332"/>
                  </a:lnTo>
                  <a:lnTo>
                    <a:pt x="2677" y="2268"/>
                  </a:lnTo>
                  <a:lnTo>
                    <a:pt x="2612" y="2268"/>
                  </a:lnTo>
                  <a:lnTo>
                    <a:pt x="2612" y="2332"/>
                  </a:lnTo>
                  <a:close/>
                  <a:moveTo>
                    <a:pt x="2612" y="2445"/>
                  </a:moveTo>
                  <a:lnTo>
                    <a:pt x="2677" y="2445"/>
                  </a:lnTo>
                  <a:lnTo>
                    <a:pt x="2677" y="2381"/>
                  </a:lnTo>
                  <a:lnTo>
                    <a:pt x="2612" y="2381"/>
                  </a:lnTo>
                  <a:lnTo>
                    <a:pt x="2612" y="2445"/>
                  </a:lnTo>
                  <a:close/>
                  <a:moveTo>
                    <a:pt x="2612" y="2557"/>
                  </a:moveTo>
                  <a:lnTo>
                    <a:pt x="2677" y="2557"/>
                  </a:lnTo>
                  <a:lnTo>
                    <a:pt x="2677" y="2493"/>
                  </a:lnTo>
                  <a:lnTo>
                    <a:pt x="2612" y="2493"/>
                  </a:lnTo>
                  <a:lnTo>
                    <a:pt x="2612" y="2557"/>
                  </a:lnTo>
                  <a:close/>
                  <a:moveTo>
                    <a:pt x="2612" y="2670"/>
                  </a:moveTo>
                  <a:lnTo>
                    <a:pt x="2677" y="2670"/>
                  </a:lnTo>
                  <a:lnTo>
                    <a:pt x="2677" y="2606"/>
                  </a:lnTo>
                  <a:lnTo>
                    <a:pt x="2612" y="2606"/>
                  </a:lnTo>
                  <a:lnTo>
                    <a:pt x="2612" y="2670"/>
                  </a:lnTo>
                  <a:close/>
                  <a:moveTo>
                    <a:pt x="2612" y="2785"/>
                  </a:moveTo>
                  <a:lnTo>
                    <a:pt x="2677" y="2785"/>
                  </a:lnTo>
                  <a:lnTo>
                    <a:pt x="2677" y="2720"/>
                  </a:lnTo>
                  <a:lnTo>
                    <a:pt x="2612" y="2720"/>
                  </a:lnTo>
                  <a:lnTo>
                    <a:pt x="2612" y="2785"/>
                  </a:lnTo>
                  <a:close/>
                  <a:moveTo>
                    <a:pt x="2612" y="2898"/>
                  </a:moveTo>
                  <a:lnTo>
                    <a:pt x="2677" y="2898"/>
                  </a:lnTo>
                  <a:lnTo>
                    <a:pt x="2677" y="2834"/>
                  </a:lnTo>
                  <a:lnTo>
                    <a:pt x="2612" y="2834"/>
                  </a:lnTo>
                  <a:lnTo>
                    <a:pt x="2612" y="2898"/>
                  </a:lnTo>
                  <a:close/>
                  <a:moveTo>
                    <a:pt x="2612" y="3009"/>
                  </a:moveTo>
                  <a:lnTo>
                    <a:pt x="2677" y="3009"/>
                  </a:lnTo>
                  <a:lnTo>
                    <a:pt x="2677" y="2945"/>
                  </a:lnTo>
                  <a:lnTo>
                    <a:pt x="2612" y="2945"/>
                  </a:lnTo>
                  <a:lnTo>
                    <a:pt x="2612" y="3009"/>
                  </a:lnTo>
                  <a:close/>
                  <a:moveTo>
                    <a:pt x="2612" y="3122"/>
                  </a:moveTo>
                  <a:lnTo>
                    <a:pt x="2677" y="3122"/>
                  </a:lnTo>
                  <a:lnTo>
                    <a:pt x="2677" y="3058"/>
                  </a:lnTo>
                  <a:lnTo>
                    <a:pt x="2612" y="3058"/>
                  </a:lnTo>
                  <a:lnTo>
                    <a:pt x="2612" y="3122"/>
                  </a:lnTo>
                  <a:close/>
                  <a:moveTo>
                    <a:pt x="2612" y="3237"/>
                  </a:moveTo>
                  <a:lnTo>
                    <a:pt x="2677" y="3237"/>
                  </a:lnTo>
                  <a:lnTo>
                    <a:pt x="2677" y="3172"/>
                  </a:lnTo>
                  <a:lnTo>
                    <a:pt x="2612" y="3172"/>
                  </a:lnTo>
                  <a:lnTo>
                    <a:pt x="2612" y="3237"/>
                  </a:lnTo>
                  <a:close/>
                  <a:moveTo>
                    <a:pt x="2612" y="3350"/>
                  </a:moveTo>
                  <a:lnTo>
                    <a:pt x="2677" y="3350"/>
                  </a:lnTo>
                  <a:lnTo>
                    <a:pt x="2677" y="3285"/>
                  </a:lnTo>
                  <a:lnTo>
                    <a:pt x="2612" y="3285"/>
                  </a:lnTo>
                  <a:lnTo>
                    <a:pt x="2612" y="3350"/>
                  </a:lnTo>
                  <a:close/>
                  <a:moveTo>
                    <a:pt x="2612" y="3463"/>
                  </a:moveTo>
                  <a:lnTo>
                    <a:pt x="2677" y="3463"/>
                  </a:lnTo>
                  <a:lnTo>
                    <a:pt x="2677" y="3399"/>
                  </a:lnTo>
                  <a:lnTo>
                    <a:pt x="2612" y="3399"/>
                  </a:lnTo>
                  <a:lnTo>
                    <a:pt x="2612" y="3463"/>
                  </a:lnTo>
                  <a:close/>
                  <a:moveTo>
                    <a:pt x="2612" y="3576"/>
                  </a:moveTo>
                  <a:lnTo>
                    <a:pt x="2677" y="3576"/>
                  </a:lnTo>
                  <a:lnTo>
                    <a:pt x="2677" y="3512"/>
                  </a:lnTo>
                  <a:lnTo>
                    <a:pt x="2612" y="3512"/>
                  </a:lnTo>
                  <a:lnTo>
                    <a:pt x="2612" y="3576"/>
                  </a:lnTo>
                  <a:close/>
                  <a:moveTo>
                    <a:pt x="2612" y="3691"/>
                  </a:moveTo>
                  <a:lnTo>
                    <a:pt x="2677" y="3691"/>
                  </a:lnTo>
                  <a:lnTo>
                    <a:pt x="2677" y="3626"/>
                  </a:lnTo>
                  <a:lnTo>
                    <a:pt x="2612" y="3626"/>
                  </a:lnTo>
                  <a:lnTo>
                    <a:pt x="2612" y="3691"/>
                  </a:lnTo>
                  <a:close/>
                  <a:moveTo>
                    <a:pt x="2612" y="3804"/>
                  </a:moveTo>
                  <a:lnTo>
                    <a:pt x="2677" y="3804"/>
                  </a:lnTo>
                  <a:lnTo>
                    <a:pt x="2677" y="3739"/>
                  </a:lnTo>
                  <a:lnTo>
                    <a:pt x="2612" y="3739"/>
                  </a:lnTo>
                  <a:lnTo>
                    <a:pt x="2612" y="3804"/>
                  </a:lnTo>
                  <a:close/>
                  <a:moveTo>
                    <a:pt x="2612" y="3915"/>
                  </a:moveTo>
                  <a:lnTo>
                    <a:pt x="2677" y="3915"/>
                  </a:lnTo>
                  <a:lnTo>
                    <a:pt x="2677" y="3850"/>
                  </a:lnTo>
                  <a:lnTo>
                    <a:pt x="2612" y="3850"/>
                  </a:lnTo>
                  <a:lnTo>
                    <a:pt x="2612" y="3915"/>
                  </a:lnTo>
                  <a:close/>
                  <a:moveTo>
                    <a:pt x="2612" y="4028"/>
                  </a:moveTo>
                  <a:lnTo>
                    <a:pt x="2677" y="4028"/>
                  </a:lnTo>
                  <a:lnTo>
                    <a:pt x="2677" y="3964"/>
                  </a:lnTo>
                  <a:lnTo>
                    <a:pt x="2612" y="3964"/>
                  </a:lnTo>
                  <a:lnTo>
                    <a:pt x="2612" y="4028"/>
                  </a:lnTo>
                  <a:close/>
                  <a:moveTo>
                    <a:pt x="2612" y="4142"/>
                  </a:moveTo>
                  <a:lnTo>
                    <a:pt x="2677" y="4142"/>
                  </a:lnTo>
                  <a:lnTo>
                    <a:pt x="2677" y="4078"/>
                  </a:lnTo>
                  <a:lnTo>
                    <a:pt x="2612" y="4078"/>
                  </a:lnTo>
                  <a:lnTo>
                    <a:pt x="2612" y="4142"/>
                  </a:lnTo>
                  <a:close/>
                  <a:moveTo>
                    <a:pt x="2612" y="4255"/>
                  </a:moveTo>
                  <a:lnTo>
                    <a:pt x="2677" y="4255"/>
                  </a:lnTo>
                  <a:lnTo>
                    <a:pt x="2677" y="4191"/>
                  </a:lnTo>
                  <a:lnTo>
                    <a:pt x="2612" y="4191"/>
                  </a:lnTo>
                  <a:lnTo>
                    <a:pt x="2612" y="4255"/>
                  </a:lnTo>
                  <a:close/>
                  <a:moveTo>
                    <a:pt x="2727" y="517"/>
                  </a:moveTo>
                  <a:lnTo>
                    <a:pt x="2791" y="517"/>
                  </a:lnTo>
                  <a:lnTo>
                    <a:pt x="2791" y="452"/>
                  </a:lnTo>
                  <a:lnTo>
                    <a:pt x="2727" y="452"/>
                  </a:lnTo>
                  <a:lnTo>
                    <a:pt x="2727" y="517"/>
                  </a:lnTo>
                  <a:close/>
                  <a:moveTo>
                    <a:pt x="2727" y="631"/>
                  </a:moveTo>
                  <a:lnTo>
                    <a:pt x="2791" y="631"/>
                  </a:lnTo>
                  <a:lnTo>
                    <a:pt x="2791" y="566"/>
                  </a:lnTo>
                  <a:lnTo>
                    <a:pt x="2727" y="566"/>
                  </a:lnTo>
                  <a:lnTo>
                    <a:pt x="2727" y="631"/>
                  </a:lnTo>
                  <a:close/>
                  <a:moveTo>
                    <a:pt x="2727" y="744"/>
                  </a:moveTo>
                  <a:lnTo>
                    <a:pt x="2791" y="744"/>
                  </a:lnTo>
                  <a:lnTo>
                    <a:pt x="2791" y="680"/>
                  </a:lnTo>
                  <a:lnTo>
                    <a:pt x="2727" y="680"/>
                  </a:lnTo>
                  <a:lnTo>
                    <a:pt x="2727" y="744"/>
                  </a:lnTo>
                  <a:close/>
                  <a:moveTo>
                    <a:pt x="2727" y="856"/>
                  </a:moveTo>
                  <a:lnTo>
                    <a:pt x="2791" y="856"/>
                  </a:lnTo>
                  <a:lnTo>
                    <a:pt x="2791" y="792"/>
                  </a:lnTo>
                  <a:lnTo>
                    <a:pt x="2727" y="792"/>
                  </a:lnTo>
                  <a:lnTo>
                    <a:pt x="2727" y="856"/>
                  </a:lnTo>
                  <a:close/>
                  <a:moveTo>
                    <a:pt x="2727" y="969"/>
                  </a:moveTo>
                  <a:lnTo>
                    <a:pt x="2791" y="969"/>
                  </a:lnTo>
                  <a:lnTo>
                    <a:pt x="2791" y="905"/>
                  </a:lnTo>
                  <a:lnTo>
                    <a:pt x="2727" y="905"/>
                  </a:lnTo>
                  <a:lnTo>
                    <a:pt x="2727" y="969"/>
                  </a:lnTo>
                  <a:close/>
                  <a:moveTo>
                    <a:pt x="2727" y="1084"/>
                  </a:moveTo>
                  <a:lnTo>
                    <a:pt x="2791" y="1084"/>
                  </a:lnTo>
                  <a:lnTo>
                    <a:pt x="2791" y="1019"/>
                  </a:lnTo>
                  <a:lnTo>
                    <a:pt x="2727" y="1019"/>
                  </a:lnTo>
                  <a:lnTo>
                    <a:pt x="2727" y="1084"/>
                  </a:lnTo>
                  <a:close/>
                  <a:moveTo>
                    <a:pt x="2727" y="1536"/>
                  </a:moveTo>
                  <a:lnTo>
                    <a:pt x="2791" y="1536"/>
                  </a:lnTo>
                  <a:lnTo>
                    <a:pt x="2791" y="1471"/>
                  </a:lnTo>
                  <a:lnTo>
                    <a:pt x="2727" y="1471"/>
                  </a:lnTo>
                  <a:lnTo>
                    <a:pt x="2727" y="1536"/>
                  </a:lnTo>
                  <a:close/>
                  <a:moveTo>
                    <a:pt x="2727" y="1766"/>
                  </a:moveTo>
                  <a:lnTo>
                    <a:pt x="2791" y="1766"/>
                  </a:lnTo>
                  <a:lnTo>
                    <a:pt x="2791" y="1701"/>
                  </a:lnTo>
                  <a:lnTo>
                    <a:pt x="2727" y="1701"/>
                  </a:lnTo>
                  <a:lnTo>
                    <a:pt x="2727" y="1766"/>
                  </a:lnTo>
                  <a:close/>
                  <a:moveTo>
                    <a:pt x="2727" y="1880"/>
                  </a:moveTo>
                  <a:lnTo>
                    <a:pt x="2791" y="1880"/>
                  </a:lnTo>
                  <a:lnTo>
                    <a:pt x="2791" y="1816"/>
                  </a:lnTo>
                  <a:lnTo>
                    <a:pt x="2727" y="1816"/>
                  </a:lnTo>
                  <a:lnTo>
                    <a:pt x="2727" y="1880"/>
                  </a:lnTo>
                  <a:close/>
                  <a:moveTo>
                    <a:pt x="2727" y="1994"/>
                  </a:moveTo>
                  <a:lnTo>
                    <a:pt x="2791" y="1994"/>
                  </a:lnTo>
                  <a:lnTo>
                    <a:pt x="2791" y="1929"/>
                  </a:lnTo>
                  <a:lnTo>
                    <a:pt x="2727" y="1929"/>
                  </a:lnTo>
                  <a:lnTo>
                    <a:pt x="2727" y="1994"/>
                  </a:lnTo>
                  <a:close/>
                  <a:moveTo>
                    <a:pt x="2727" y="2105"/>
                  </a:moveTo>
                  <a:lnTo>
                    <a:pt x="2791" y="2105"/>
                  </a:lnTo>
                  <a:lnTo>
                    <a:pt x="2791" y="2040"/>
                  </a:lnTo>
                  <a:lnTo>
                    <a:pt x="2727" y="2040"/>
                  </a:lnTo>
                  <a:lnTo>
                    <a:pt x="2727" y="2105"/>
                  </a:lnTo>
                  <a:close/>
                  <a:moveTo>
                    <a:pt x="2727" y="2218"/>
                  </a:moveTo>
                  <a:lnTo>
                    <a:pt x="2791" y="2218"/>
                  </a:lnTo>
                  <a:lnTo>
                    <a:pt x="2791" y="2153"/>
                  </a:lnTo>
                  <a:lnTo>
                    <a:pt x="2727" y="2153"/>
                  </a:lnTo>
                  <a:lnTo>
                    <a:pt x="2727" y="2218"/>
                  </a:lnTo>
                  <a:close/>
                  <a:moveTo>
                    <a:pt x="2727" y="2332"/>
                  </a:moveTo>
                  <a:lnTo>
                    <a:pt x="2791" y="2332"/>
                  </a:lnTo>
                  <a:lnTo>
                    <a:pt x="2791" y="2268"/>
                  </a:lnTo>
                  <a:lnTo>
                    <a:pt x="2727" y="2268"/>
                  </a:lnTo>
                  <a:lnTo>
                    <a:pt x="2727" y="2332"/>
                  </a:lnTo>
                  <a:close/>
                  <a:moveTo>
                    <a:pt x="2727" y="2445"/>
                  </a:moveTo>
                  <a:lnTo>
                    <a:pt x="2791" y="2445"/>
                  </a:lnTo>
                  <a:lnTo>
                    <a:pt x="2791" y="2381"/>
                  </a:lnTo>
                  <a:lnTo>
                    <a:pt x="2727" y="2381"/>
                  </a:lnTo>
                  <a:lnTo>
                    <a:pt x="2727" y="2445"/>
                  </a:lnTo>
                  <a:close/>
                  <a:moveTo>
                    <a:pt x="2727" y="2557"/>
                  </a:moveTo>
                  <a:lnTo>
                    <a:pt x="2791" y="2557"/>
                  </a:lnTo>
                  <a:lnTo>
                    <a:pt x="2791" y="2493"/>
                  </a:lnTo>
                  <a:lnTo>
                    <a:pt x="2727" y="2493"/>
                  </a:lnTo>
                  <a:lnTo>
                    <a:pt x="2727" y="2557"/>
                  </a:lnTo>
                  <a:close/>
                  <a:moveTo>
                    <a:pt x="2727" y="2670"/>
                  </a:moveTo>
                  <a:lnTo>
                    <a:pt x="2791" y="2670"/>
                  </a:lnTo>
                  <a:lnTo>
                    <a:pt x="2791" y="2606"/>
                  </a:lnTo>
                  <a:lnTo>
                    <a:pt x="2727" y="2606"/>
                  </a:lnTo>
                  <a:lnTo>
                    <a:pt x="2727" y="2670"/>
                  </a:lnTo>
                  <a:close/>
                  <a:moveTo>
                    <a:pt x="2727" y="2785"/>
                  </a:moveTo>
                  <a:lnTo>
                    <a:pt x="2791" y="2785"/>
                  </a:lnTo>
                  <a:lnTo>
                    <a:pt x="2791" y="2720"/>
                  </a:lnTo>
                  <a:lnTo>
                    <a:pt x="2727" y="2720"/>
                  </a:lnTo>
                  <a:lnTo>
                    <a:pt x="2727" y="2785"/>
                  </a:lnTo>
                  <a:close/>
                  <a:moveTo>
                    <a:pt x="2727" y="2898"/>
                  </a:moveTo>
                  <a:lnTo>
                    <a:pt x="2791" y="2898"/>
                  </a:lnTo>
                  <a:lnTo>
                    <a:pt x="2791" y="2834"/>
                  </a:lnTo>
                  <a:lnTo>
                    <a:pt x="2727" y="2834"/>
                  </a:lnTo>
                  <a:lnTo>
                    <a:pt x="2727" y="2898"/>
                  </a:lnTo>
                  <a:close/>
                  <a:moveTo>
                    <a:pt x="2727" y="3009"/>
                  </a:moveTo>
                  <a:lnTo>
                    <a:pt x="2791" y="3009"/>
                  </a:lnTo>
                  <a:lnTo>
                    <a:pt x="2791" y="2945"/>
                  </a:lnTo>
                  <a:lnTo>
                    <a:pt x="2727" y="2945"/>
                  </a:lnTo>
                  <a:lnTo>
                    <a:pt x="2727" y="3009"/>
                  </a:lnTo>
                  <a:close/>
                  <a:moveTo>
                    <a:pt x="2727" y="3122"/>
                  </a:moveTo>
                  <a:lnTo>
                    <a:pt x="2791" y="3122"/>
                  </a:lnTo>
                  <a:lnTo>
                    <a:pt x="2791" y="3058"/>
                  </a:lnTo>
                  <a:lnTo>
                    <a:pt x="2727" y="3058"/>
                  </a:lnTo>
                  <a:lnTo>
                    <a:pt x="2727" y="3122"/>
                  </a:lnTo>
                  <a:close/>
                  <a:moveTo>
                    <a:pt x="2727" y="3237"/>
                  </a:moveTo>
                  <a:lnTo>
                    <a:pt x="2791" y="3237"/>
                  </a:lnTo>
                  <a:lnTo>
                    <a:pt x="2791" y="3172"/>
                  </a:lnTo>
                  <a:lnTo>
                    <a:pt x="2727" y="3172"/>
                  </a:lnTo>
                  <a:lnTo>
                    <a:pt x="2727" y="3237"/>
                  </a:lnTo>
                  <a:close/>
                  <a:moveTo>
                    <a:pt x="2727" y="3350"/>
                  </a:moveTo>
                  <a:lnTo>
                    <a:pt x="2791" y="3350"/>
                  </a:lnTo>
                  <a:lnTo>
                    <a:pt x="2791" y="3285"/>
                  </a:lnTo>
                  <a:lnTo>
                    <a:pt x="2727" y="3285"/>
                  </a:lnTo>
                  <a:lnTo>
                    <a:pt x="2727" y="3350"/>
                  </a:lnTo>
                  <a:close/>
                  <a:moveTo>
                    <a:pt x="2727" y="3463"/>
                  </a:moveTo>
                  <a:lnTo>
                    <a:pt x="2791" y="3463"/>
                  </a:lnTo>
                  <a:lnTo>
                    <a:pt x="2791" y="3399"/>
                  </a:lnTo>
                  <a:lnTo>
                    <a:pt x="2727" y="3399"/>
                  </a:lnTo>
                  <a:lnTo>
                    <a:pt x="2727" y="3463"/>
                  </a:lnTo>
                  <a:close/>
                  <a:moveTo>
                    <a:pt x="2727" y="3576"/>
                  </a:moveTo>
                  <a:lnTo>
                    <a:pt x="2791" y="3576"/>
                  </a:lnTo>
                  <a:lnTo>
                    <a:pt x="2791" y="3512"/>
                  </a:lnTo>
                  <a:lnTo>
                    <a:pt x="2727" y="3512"/>
                  </a:lnTo>
                  <a:lnTo>
                    <a:pt x="2727" y="3576"/>
                  </a:lnTo>
                  <a:close/>
                  <a:moveTo>
                    <a:pt x="2727" y="3691"/>
                  </a:moveTo>
                  <a:lnTo>
                    <a:pt x="2791" y="3691"/>
                  </a:lnTo>
                  <a:lnTo>
                    <a:pt x="2791" y="3626"/>
                  </a:lnTo>
                  <a:lnTo>
                    <a:pt x="2727" y="3626"/>
                  </a:lnTo>
                  <a:lnTo>
                    <a:pt x="2727" y="3691"/>
                  </a:lnTo>
                  <a:close/>
                  <a:moveTo>
                    <a:pt x="2727" y="3804"/>
                  </a:moveTo>
                  <a:lnTo>
                    <a:pt x="2791" y="3804"/>
                  </a:lnTo>
                  <a:lnTo>
                    <a:pt x="2791" y="3739"/>
                  </a:lnTo>
                  <a:lnTo>
                    <a:pt x="2727" y="3739"/>
                  </a:lnTo>
                  <a:lnTo>
                    <a:pt x="2727" y="3804"/>
                  </a:lnTo>
                  <a:close/>
                  <a:moveTo>
                    <a:pt x="2727" y="3915"/>
                  </a:moveTo>
                  <a:lnTo>
                    <a:pt x="2791" y="3915"/>
                  </a:lnTo>
                  <a:lnTo>
                    <a:pt x="2791" y="3850"/>
                  </a:lnTo>
                  <a:lnTo>
                    <a:pt x="2727" y="3850"/>
                  </a:lnTo>
                  <a:lnTo>
                    <a:pt x="2727" y="3915"/>
                  </a:lnTo>
                  <a:close/>
                  <a:moveTo>
                    <a:pt x="2727" y="4028"/>
                  </a:moveTo>
                  <a:lnTo>
                    <a:pt x="2791" y="4028"/>
                  </a:lnTo>
                  <a:lnTo>
                    <a:pt x="2791" y="3964"/>
                  </a:lnTo>
                  <a:lnTo>
                    <a:pt x="2727" y="3964"/>
                  </a:lnTo>
                  <a:lnTo>
                    <a:pt x="2727" y="4028"/>
                  </a:lnTo>
                  <a:close/>
                  <a:moveTo>
                    <a:pt x="2727" y="4142"/>
                  </a:moveTo>
                  <a:lnTo>
                    <a:pt x="2791" y="4142"/>
                  </a:lnTo>
                  <a:lnTo>
                    <a:pt x="2791" y="4078"/>
                  </a:lnTo>
                  <a:lnTo>
                    <a:pt x="2727" y="4078"/>
                  </a:lnTo>
                  <a:lnTo>
                    <a:pt x="2727" y="4142"/>
                  </a:lnTo>
                  <a:close/>
                  <a:moveTo>
                    <a:pt x="2727" y="4255"/>
                  </a:moveTo>
                  <a:lnTo>
                    <a:pt x="2791" y="4255"/>
                  </a:lnTo>
                  <a:lnTo>
                    <a:pt x="2791" y="4191"/>
                  </a:lnTo>
                  <a:lnTo>
                    <a:pt x="2727" y="4191"/>
                  </a:lnTo>
                  <a:lnTo>
                    <a:pt x="2727" y="4255"/>
                  </a:lnTo>
                  <a:close/>
                  <a:moveTo>
                    <a:pt x="2727" y="4368"/>
                  </a:moveTo>
                  <a:lnTo>
                    <a:pt x="2791" y="4368"/>
                  </a:lnTo>
                  <a:lnTo>
                    <a:pt x="2791" y="4303"/>
                  </a:lnTo>
                  <a:lnTo>
                    <a:pt x="2727" y="4303"/>
                  </a:lnTo>
                  <a:lnTo>
                    <a:pt x="2727" y="4368"/>
                  </a:lnTo>
                  <a:close/>
                  <a:moveTo>
                    <a:pt x="2727" y="4481"/>
                  </a:moveTo>
                  <a:lnTo>
                    <a:pt x="2791" y="4481"/>
                  </a:lnTo>
                  <a:lnTo>
                    <a:pt x="2791" y="4417"/>
                  </a:lnTo>
                  <a:lnTo>
                    <a:pt x="2727" y="4417"/>
                  </a:lnTo>
                  <a:lnTo>
                    <a:pt x="2727" y="4481"/>
                  </a:lnTo>
                  <a:close/>
                  <a:moveTo>
                    <a:pt x="2841" y="744"/>
                  </a:moveTo>
                  <a:lnTo>
                    <a:pt x="2905" y="744"/>
                  </a:lnTo>
                  <a:lnTo>
                    <a:pt x="2905" y="680"/>
                  </a:lnTo>
                  <a:lnTo>
                    <a:pt x="2841" y="680"/>
                  </a:lnTo>
                  <a:lnTo>
                    <a:pt x="2841" y="744"/>
                  </a:lnTo>
                  <a:close/>
                  <a:moveTo>
                    <a:pt x="2841" y="856"/>
                  </a:moveTo>
                  <a:lnTo>
                    <a:pt x="2905" y="856"/>
                  </a:lnTo>
                  <a:lnTo>
                    <a:pt x="2905" y="792"/>
                  </a:lnTo>
                  <a:lnTo>
                    <a:pt x="2841" y="792"/>
                  </a:lnTo>
                  <a:lnTo>
                    <a:pt x="2841" y="856"/>
                  </a:lnTo>
                  <a:close/>
                  <a:moveTo>
                    <a:pt x="2841" y="969"/>
                  </a:moveTo>
                  <a:lnTo>
                    <a:pt x="2905" y="969"/>
                  </a:lnTo>
                  <a:lnTo>
                    <a:pt x="2905" y="905"/>
                  </a:lnTo>
                  <a:lnTo>
                    <a:pt x="2841" y="905"/>
                  </a:lnTo>
                  <a:lnTo>
                    <a:pt x="2841" y="969"/>
                  </a:lnTo>
                  <a:close/>
                  <a:moveTo>
                    <a:pt x="2841" y="1084"/>
                  </a:moveTo>
                  <a:lnTo>
                    <a:pt x="2905" y="1084"/>
                  </a:lnTo>
                  <a:lnTo>
                    <a:pt x="2905" y="1019"/>
                  </a:lnTo>
                  <a:lnTo>
                    <a:pt x="2841" y="1019"/>
                  </a:lnTo>
                  <a:lnTo>
                    <a:pt x="2841" y="1084"/>
                  </a:lnTo>
                  <a:close/>
                  <a:moveTo>
                    <a:pt x="2841" y="1197"/>
                  </a:moveTo>
                  <a:lnTo>
                    <a:pt x="2905" y="1197"/>
                  </a:lnTo>
                  <a:lnTo>
                    <a:pt x="2905" y="1132"/>
                  </a:lnTo>
                  <a:lnTo>
                    <a:pt x="2841" y="1132"/>
                  </a:lnTo>
                  <a:lnTo>
                    <a:pt x="2841" y="1197"/>
                  </a:lnTo>
                  <a:close/>
                  <a:moveTo>
                    <a:pt x="2841" y="1422"/>
                  </a:moveTo>
                  <a:lnTo>
                    <a:pt x="2905" y="1422"/>
                  </a:lnTo>
                  <a:lnTo>
                    <a:pt x="2905" y="1357"/>
                  </a:lnTo>
                  <a:lnTo>
                    <a:pt x="2841" y="1357"/>
                  </a:lnTo>
                  <a:lnTo>
                    <a:pt x="2841" y="1422"/>
                  </a:lnTo>
                  <a:close/>
                  <a:moveTo>
                    <a:pt x="2841" y="1536"/>
                  </a:moveTo>
                  <a:lnTo>
                    <a:pt x="2905" y="1536"/>
                  </a:lnTo>
                  <a:lnTo>
                    <a:pt x="2905" y="1471"/>
                  </a:lnTo>
                  <a:lnTo>
                    <a:pt x="2841" y="1471"/>
                  </a:lnTo>
                  <a:lnTo>
                    <a:pt x="2841" y="1536"/>
                  </a:lnTo>
                  <a:close/>
                  <a:moveTo>
                    <a:pt x="2841" y="1649"/>
                  </a:moveTo>
                  <a:lnTo>
                    <a:pt x="2905" y="1649"/>
                  </a:lnTo>
                  <a:lnTo>
                    <a:pt x="2905" y="1585"/>
                  </a:lnTo>
                  <a:lnTo>
                    <a:pt x="2841" y="1585"/>
                  </a:lnTo>
                  <a:lnTo>
                    <a:pt x="2841" y="1649"/>
                  </a:lnTo>
                  <a:close/>
                  <a:moveTo>
                    <a:pt x="2841" y="2105"/>
                  </a:moveTo>
                  <a:lnTo>
                    <a:pt x="2905" y="2105"/>
                  </a:lnTo>
                  <a:lnTo>
                    <a:pt x="2905" y="2040"/>
                  </a:lnTo>
                  <a:lnTo>
                    <a:pt x="2841" y="2040"/>
                  </a:lnTo>
                  <a:lnTo>
                    <a:pt x="2841" y="2105"/>
                  </a:lnTo>
                  <a:close/>
                  <a:moveTo>
                    <a:pt x="2841" y="2218"/>
                  </a:moveTo>
                  <a:lnTo>
                    <a:pt x="2905" y="2218"/>
                  </a:lnTo>
                  <a:lnTo>
                    <a:pt x="2905" y="2153"/>
                  </a:lnTo>
                  <a:lnTo>
                    <a:pt x="2841" y="2153"/>
                  </a:lnTo>
                  <a:lnTo>
                    <a:pt x="2841" y="2218"/>
                  </a:lnTo>
                  <a:close/>
                  <a:moveTo>
                    <a:pt x="2841" y="2332"/>
                  </a:moveTo>
                  <a:lnTo>
                    <a:pt x="2905" y="2332"/>
                  </a:lnTo>
                  <a:lnTo>
                    <a:pt x="2905" y="2268"/>
                  </a:lnTo>
                  <a:lnTo>
                    <a:pt x="2841" y="2268"/>
                  </a:lnTo>
                  <a:lnTo>
                    <a:pt x="2841" y="2332"/>
                  </a:lnTo>
                  <a:close/>
                  <a:moveTo>
                    <a:pt x="2841" y="2445"/>
                  </a:moveTo>
                  <a:lnTo>
                    <a:pt x="2905" y="2445"/>
                  </a:lnTo>
                  <a:lnTo>
                    <a:pt x="2905" y="2381"/>
                  </a:lnTo>
                  <a:lnTo>
                    <a:pt x="2841" y="2381"/>
                  </a:lnTo>
                  <a:lnTo>
                    <a:pt x="2841" y="2445"/>
                  </a:lnTo>
                  <a:close/>
                  <a:moveTo>
                    <a:pt x="2841" y="2557"/>
                  </a:moveTo>
                  <a:lnTo>
                    <a:pt x="2905" y="2557"/>
                  </a:lnTo>
                  <a:lnTo>
                    <a:pt x="2905" y="2493"/>
                  </a:lnTo>
                  <a:lnTo>
                    <a:pt x="2841" y="2493"/>
                  </a:lnTo>
                  <a:lnTo>
                    <a:pt x="2841" y="2557"/>
                  </a:lnTo>
                  <a:close/>
                  <a:moveTo>
                    <a:pt x="2841" y="2670"/>
                  </a:moveTo>
                  <a:lnTo>
                    <a:pt x="2905" y="2670"/>
                  </a:lnTo>
                  <a:lnTo>
                    <a:pt x="2905" y="2606"/>
                  </a:lnTo>
                  <a:lnTo>
                    <a:pt x="2841" y="2606"/>
                  </a:lnTo>
                  <a:lnTo>
                    <a:pt x="2841" y="2670"/>
                  </a:lnTo>
                  <a:close/>
                  <a:moveTo>
                    <a:pt x="2841" y="2785"/>
                  </a:moveTo>
                  <a:lnTo>
                    <a:pt x="2905" y="2785"/>
                  </a:lnTo>
                  <a:lnTo>
                    <a:pt x="2905" y="2720"/>
                  </a:lnTo>
                  <a:lnTo>
                    <a:pt x="2841" y="2720"/>
                  </a:lnTo>
                  <a:lnTo>
                    <a:pt x="2841" y="2785"/>
                  </a:lnTo>
                  <a:close/>
                  <a:moveTo>
                    <a:pt x="2841" y="2898"/>
                  </a:moveTo>
                  <a:lnTo>
                    <a:pt x="2905" y="2898"/>
                  </a:lnTo>
                  <a:lnTo>
                    <a:pt x="2905" y="2834"/>
                  </a:lnTo>
                  <a:lnTo>
                    <a:pt x="2841" y="2834"/>
                  </a:lnTo>
                  <a:lnTo>
                    <a:pt x="2841" y="2898"/>
                  </a:lnTo>
                  <a:close/>
                  <a:moveTo>
                    <a:pt x="2841" y="3009"/>
                  </a:moveTo>
                  <a:lnTo>
                    <a:pt x="2905" y="3009"/>
                  </a:lnTo>
                  <a:lnTo>
                    <a:pt x="2905" y="2945"/>
                  </a:lnTo>
                  <a:lnTo>
                    <a:pt x="2841" y="2945"/>
                  </a:lnTo>
                  <a:lnTo>
                    <a:pt x="2841" y="3009"/>
                  </a:lnTo>
                  <a:close/>
                  <a:moveTo>
                    <a:pt x="2841" y="3122"/>
                  </a:moveTo>
                  <a:lnTo>
                    <a:pt x="2905" y="3122"/>
                  </a:lnTo>
                  <a:lnTo>
                    <a:pt x="2905" y="3058"/>
                  </a:lnTo>
                  <a:lnTo>
                    <a:pt x="2841" y="3058"/>
                  </a:lnTo>
                  <a:lnTo>
                    <a:pt x="2841" y="3122"/>
                  </a:lnTo>
                  <a:close/>
                  <a:moveTo>
                    <a:pt x="2841" y="3237"/>
                  </a:moveTo>
                  <a:lnTo>
                    <a:pt x="2905" y="3237"/>
                  </a:lnTo>
                  <a:lnTo>
                    <a:pt x="2905" y="3172"/>
                  </a:lnTo>
                  <a:lnTo>
                    <a:pt x="2841" y="3172"/>
                  </a:lnTo>
                  <a:lnTo>
                    <a:pt x="2841" y="3237"/>
                  </a:lnTo>
                  <a:close/>
                  <a:moveTo>
                    <a:pt x="2841" y="3350"/>
                  </a:moveTo>
                  <a:lnTo>
                    <a:pt x="2905" y="3350"/>
                  </a:lnTo>
                  <a:lnTo>
                    <a:pt x="2905" y="3285"/>
                  </a:lnTo>
                  <a:lnTo>
                    <a:pt x="2841" y="3285"/>
                  </a:lnTo>
                  <a:lnTo>
                    <a:pt x="2841" y="3350"/>
                  </a:lnTo>
                  <a:close/>
                  <a:moveTo>
                    <a:pt x="2841" y="3463"/>
                  </a:moveTo>
                  <a:lnTo>
                    <a:pt x="2905" y="3463"/>
                  </a:lnTo>
                  <a:lnTo>
                    <a:pt x="2905" y="3399"/>
                  </a:lnTo>
                  <a:lnTo>
                    <a:pt x="2841" y="3399"/>
                  </a:lnTo>
                  <a:lnTo>
                    <a:pt x="2841" y="3463"/>
                  </a:lnTo>
                  <a:close/>
                  <a:moveTo>
                    <a:pt x="2841" y="3576"/>
                  </a:moveTo>
                  <a:lnTo>
                    <a:pt x="2905" y="3576"/>
                  </a:lnTo>
                  <a:lnTo>
                    <a:pt x="2905" y="3512"/>
                  </a:lnTo>
                  <a:lnTo>
                    <a:pt x="2841" y="3512"/>
                  </a:lnTo>
                  <a:lnTo>
                    <a:pt x="2841" y="3576"/>
                  </a:lnTo>
                  <a:close/>
                  <a:moveTo>
                    <a:pt x="2841" y="3691"/>
                  </a:moveTo>
                  <a:lnTo>
                    <a:pt x="2905" y="3691"/>
                  </a:lnTo>
                  <a:lnTo>
                    <a:pt x="2905" y="3626"/>
                  </a:lnTo>
                  <a:lnTo>
                    <a:pt x="2841" y="3626"/>
                  </a:lnTo>
                  <a:lnTo>
                    <a:pt x="2841" y="3691"/>
                  </a:lnTo>
                  <a:close/>
                  <a:moveTo>
                    <a:pt x="2841" y="3804"/>
                  </a:moveTo>
                  <a:lnTo>
                    <a:pt x="2905" y="3804"/>
                  </a:lnTo>
                  <a:lnTo>
                    <a:pt x="2905" y="3739"/>
                  </a:lnTo>
                  <a:lnTo>
                    <a:pt x="2841" y="3739"/>
                  </a:lnTo>
                  <a:lnTo>
                    <a:pt x="2841" y="3804"/>
                  </a:lnTo>
                  <a:close/>
                  <a:moveTo>
                    <a:pt x="2841" y="3915"/>
                  </a:moveTo>
                  <a:lnTo>
                    <a:pt x="2905" y="3915"/>
                  </a:lnTo>
                  <a:lnTo>
                    <a:pt x="2905" y="3850"/>
                  </a:lnTo>
                  <a:lnTo>
                    <a:pt x="2841" y="3850"/>
                  </a:lnTo>
                  <a:lnTo>
                    <a:pt x="2841" y="3915"/>
                  </a:lnTo>
                  <a:close/>
                  <a:moveTo>
                    <a:pt x="2841" y="4028"/>
                  </a:moveTo>
                  <a:lnTo>
                    <a:pt x="2905" y="4028"/>
                  </a:lnTo>
                  <a:lnTo>
                    <a:pt x="2905" y="3964"/>
                  </a:lnTo>
                  <a:lnTo>
                    <a:pt x="2841" y="3964"/>
                  </a:lnTo>
                  <a:lnTo>
                    <a:pt x="2841" y="4028"/>
                  </a:lnTo>
                  <a:close/>
                  <a:moveTo>
                    <a:pt x="2841" y="4142"/>
                  </a:moveTo>
                  <a:lnTo>
                    <a:pt x="2905" y="4142"/>
                  </a:lnTo>
                  <a:lnTo>
                    <a:pt x="2905" y="4078"/>
                  </a:lnTo>
                  <a:lnTo>
                    <a:pt x="2841" y="4078"/>
                  </a:lnTo>
                  <a:lnTo>
                    <a:pt x="2841" y="4142"/>
                  </a:lnTo>
                  <a:close/>
                  <a:moveTo>
                    <a:pt x="2841" y="4255"/>
                  </a:moveTo>
                  <a:lnTo>
                    <a:pt x="2905" y="4255"/>
                  </a:lnTo>
                  <a:lnTo>
                    <a:pt x="2905" y="4191"/>
                  </a:lnTo>
                  <a:lnTo>
                    <a:pt x="2841" y="4191"/>
                  </a:lnTo>
                  <a:lnTo>
                    <a:pt x="2841" y="4255"/>
                  </a:lnTo>
                  <a:close/>
                  <a:moveTo>
                    <a:pt x="2841" y="4368"/>
                  </a:moveTo>
                  <a:lnTo>
                    <a:pt x="2905" y="4368"/>
                  </a:lnTo>
                  <a:lnTo>
                    <a:pt x="2905" y="4303"/>
                  </a:lnTo>
                  <a:lnTo>
                    <a:pt x="2841" y="4303"/>
                  </a:lnTo>
                  <a:lnTo>
                    <a:pt x="2841" y="4368"/>
                  </a:lnTo>
                  <a:close/>
                  <a:moveTo>
                    <a:pt x="2841" y="4481"/>
                  </a:moveTo>
                  <a:lnTo>
                    <a:pt x="2905" y="4481"/>
                  </a:lnTo>
                  <a:lnTo>
                    <a:pt x="2905" y="4417"/>
                  </a:lnTo>
                  <a:lnTo>
                    <a:pt x="2841" y="4417"/>
                  </a:lnTo>
                  <a:lnTo>
                    <a:pt x="2841" y="4481"/>
                  </a:lnTo>
                  <a:close/>
                  <a:moveTo>
                    <a:pt x="2841" y="4595"/>
                  </a:moveTo>
                  <a:lnTo>
                    <a:pt x="2905" y="4595"/>
                  </a:lnTo>
                  <a:lnTo>
                    <a:pt x="2905" y="4531"/>
                  </a:lnTo>
                  <a:lnTo>
                    <a:pt x="2841" y="4531"/>
                  </a:lnTo>
                  <a:lnTo>
                    <a:pt x="2841" y="4595"/>
                  </a:lnTo>
                  <a:close/>
                  <a:moveTo>
                    <a:pt x="2955" y="403"/>
                  </a:moveTo>
                  <a:lnTo>
                    <a:pt x="3019" y="403"/>
                  </a:lnTo>
                  <a:lnTo>
                    <a:pt x="3019" y="339"/>
                  </a:lnTo>
                  <a:lnTo>
                    <a:pt x="2955" y="339"/>
                  </a:lnTo>
                  <a:lnTo>
                    <a:pt x="2955" y="403"/>
                  </a:lnTo>
                  <a:close/>
                  <a:moveTo>
                    <a:pt x="2955" y="517"/>
                  </a:moveTo>
                  <a:lnTo>
                    <a:pt x="3019" y="517"/>
                  </a:lnTo>
                  <a:lnTo>
                    <a:pt x="3019" y="452"/>
                  </a:lnTo>
                  <a:lnTo>
                    <a:pt x="2955" y="452"/>
                  </a:lnTo>
                  <a:lnTo>
                    <a:pt x="2955" y="517"/>
                  </a:lnTo>
                  <a:close/>
                  <a:moveTo>
                    <a:pt x="2955" y="744"/>
                  </a:moveTo>
                  <a:lnTo>
                    <a:pt x="3019" y="744"/>
                  </a:lnTo>
                  <a:lnTo>
                    <a:pt x="3019" y="680"/>
                  </a:lnTo>
                  <a:lnTo>
                    <a:pt x="2955" y="680"/>
                  </a:lnTo>
                  <a:lnTo>
                    <a:pt x="2955" y="744"/>
                  </a:lnTo>
                  <a:close/>
                  <a:moveTo>
                    <a:pt x="2955" y="856"/>
                  </a:moveTo>
                  <a:lnTo>
                    <a:pt x="3019" y="856"/>
                  </a:lnTo>
                  <a:lnTo>
                    <a:pt x="3019" y="792"/>
                  </a:lnTo>
                  <a:lnTo>
                    <a:pt x="2955" y="792"/>
                  </a:lnTo>
                  <a:lnTo>
                    <a:pt x="2955" y="856"/>
                  </a:lnTo>
                  <a:close/>
                  <a:moveTo>
                    <a:pt x="2955" y="969"/>
                  </a:moveTo>
                  <a:lnTo>
                    <a:pt x="3019" y="969"/>
                  </a:lnTo>
                  <a:lnTo>
                    <a:pt x="3019" y="905"/>
                  </a:lnTo>
                  <a:lnTo>
                    <a:pt x="2955" y="905"/>
                  </a:lnTo>
                  <a:lnTo>
                    <a:pt x="2955" y="969"/>
                  </a:lnTo>
                  <a:close/>
                  <a:moveTo>
                    <a:pt x="2955" y="1084"/>
                  </a:moveTo>
                  <a:lnTo>
                    <a:pt x="3019" y="1084"/>
                  </a:lnTo>
                  <a:lnTo>
                    <a:pt x="3019" y="1019"/>
                  </a:lnTo>
                  <a:lnTo>
                    <a:pt x="2955" y="1019"/>
                  </a:lnTo>
                  <a:lnTo>
                    <a:pt x="2955" y="1084"/>
                  </a:lnTo>
                  <a:close/>
                  <a:moveTo>
                    <a:pt x="2955" y="1197"/>
                  </a:moveTo>
                  <a:lnTo>
                    <a:pt x="3019" y="1197"/>
                  </a:lnTo>
                  <a:lnTo>
                    <a:pt x="3019" y="1132"/>
                  </a:lnTo>
                  <a:lnTo>
                    <a:pt x="2955" y="1132"/>
                  </a:lnTo>
                  <a:lnTo>
                    <a:pt x="2955" y="1197"/>
                  </a:lnTo>
                  <a:close/>
                  <a:moveTo>
                    <a:pt x="2955" y="1422"/>
                  </a:moveTo>
                  <a:lnTo>
                    <a:pt x="3019" y="1422"/>
                  </a:lnTo>
                  <a:lnTo>
                    <a:pt x="3019" y="1357"/>
                  </a:lnTo>
                  <a:lnTo>
                    <a:pt x="2955" y="1357"/>
                  </a:lnTo>
                  <a:lnTo>
                    <a:pt x="2955" y="1422"/>
                  </a:lnTo>
                  <a:close/>
                  <a:moveTo>
                    <a:pt x="2955" y="1536"/>
                  </a:moveTo>
                  <a:lnTo>
                    <a:pt x="3019" y="1536"/>
                  </a:lnTo>
                  <a:lnTo>
                    <a:pt x="3019" y="1471"/>
                  </a:lnTo>
                  <a:lnTo>
                    <a:pt x="2955" y="1471"/>
                  </a:lnTo>
                  <a:lnTo>
                    <a:pt x="2955" y="1536"/>
                  </a:lnTo>
                  <a:close/>
                  <a:moveTo>
                    <a:pt x="2955" y="1649"/>
                  </a:moveTo>
                  <a:lnTo>
                    <a:pt x="3019" y="1649"/>
                  </a:lnTo>
                  <a:lnTo>
                    <a:pt x="3019" y="1585"/>
                  </a:lnTo>
                  <a:lnTo>
                    <a:pt x="2955" y="1585"/>
                  </a:lnTo>
                  <a:lnTo>
                    <a:pt x="2955" y="1649"/>
                  </a:lnTo>
                  <a:close/>
                  <a:moveTo>
                    <a:pt x="2955" y="1766"/>
                  </a:moveTo>
                  <a:lnTo>
                    <a:pt x="3019" y="1766"/>
                  </a:lnTo>
                  <a:lnTo>
                    <a:pt x="3019" y="1701"/>
                  </a:lnTo>
                  <a:lnTo>
                    <a:pt x="2955" y="1701"/>
                  </a:lnTo>
                  <a:lnTo>
                    <a:pt x="2955" y="1766"/>
                  </a:lnTo>
                  <a:close/>
                  <a:moveTo>
                    <a:pt x="2955" y="1880"/>
                  </a:moveTo>
                  <a:lnTo>
                    <a:pt x="3019" y="1880"/>
                  </a:lnTo>
                  <a:lnTo>
                    <a:pt x="3019" y="1816"/>
                  </a:lnTo>
                  <a:lnTo>
                    <a:pt x="2955" y="1816"/>
                  </a:lnTo>
                  <a:lnTo>
                    <a:pt x="2955" y="1880"/>
                  </a:lnTo>
                  <a:close/>
                  <a:moveTo>
                    <a:pt x="2955" y="1994"/>
                  </a:moveTo>
                  <a:lnTo>
                    <a:pt x="3019" y="1994"/>
                  </a:lnTo>
                  <a:lnTo>
                    <a:pt x="3019" y="1929"/>
                  </a:lnTo>
                  <a:lnTo>
                    <a:pt x="2955" y="1929"/>
                  </a:lnTo>
                  <a:lnTo>
                    <a:pt x="2955" y="1994"/>
                  </a:lnTo>
                  <a:close/>
                  <a:moveTo>
                    <a:pt x="2955" y="2105"/>
                  </a:moveTo>
                  <a:lnTo>
                    <a:pt x="3019" y="2105"/>
                  </a:lnTo>
                  <a:lnTo>
                    <a:pt x="3019" y="2040"/>
                  </a:lnTo>
                  <a:lnTo>
                    <a:pt x="2955" y="2040"/>
                  </a:lnTo>
                  <a:lnTo>
                    <a:pt x="2955" y="2105"/>
                  </a:lnTo>
                  <a:close/>
                  <a:moveTo>
                    <a:pt x="2955" y="2218"/>
                  </a:moveTo>
                  <a:lnTo>
                    <a:pt x="3019" y="2218"/>
                  </a:lnTo>
                  <a:lnTo>
                    <a:pt x="3019" y="2153"/>
                  </a:lnTo>
                  <a:lnTo>
                    <a:pt x="2955" y="2153"/>
                  </a:lnTo>
                  <a:lnTo>
                    <a:pt x="2955" y="2218"/>
                  </a:lnTo>
                  <a:close/>
                  <a:moveTo>
                    <a:pt x="2955" y="2332"/>
                  </a:moveTo>
                  <a:lnTo>
                    <a:pt x="3019" y="2332"/>
                  </a:lnTo>
                  <a:lnTo>
                    <a:pt x="3019" y="2268"/>
                  </a:lnTo>
                  <a:lnTo>
                    <a:pt x="2955" y="2268"/>
                  </a:lnTo>
                  <a:lnTo>
                    <a:pt x="2955" y="2332"/>
                  </a:lnTo>
                  <a:close/>
                  <a:moveTo>
                    <a:pt x="2955" y="2445"/>
                  </a:moveTo>
                  <a:lnTo>
                    <a:pt x="3019" y="2445"/>
                  </a:lnTo>
                  <a:lnTo>
                    <a:pt x="3019" y="2381"/>
                  </a:lnTo>
                  <a:lnTo>
                    <a:pt x="2955" y="2381"/>
                  </a:lnTo>
                  <a:lnTo>
                    <a:pt x="2955" y="2445"/>
                  </a:lnTo>
                  <a:close/>
                  <a:moveTo>
                    <a:pt x="2955" y="2557"/>
                  </a:moveTo>
                  <a:lnTo>
                    <a:pt x="3019" y="2557"/>
                  </a:lnTo>
                  <a:lnTo>
                    <a:pt x="3019" y="2493"/>
                  </a:lnTo>
                  <a:lnTo>
                    <a:pt x="2955" y="2493"/>
                  </a:lnTo>
                  <a:lnTo>
                    <a:pt x="2955" y="2557"/>
                  </a:lnTo>
                  <a:close/>
                  <a:moveTo>
                    <a:pt x="2955" y="2670"/>
                  </a:moveTo>
                  <a:lnTo>
                    <a:pt x="3019" y="2670"/>
                  </a:lnTo>
                  <a:lnTo>
                    <a:pt x="3019" y="2606"/>
                  </a:lnTo>
                  <a:lnTo>
                    <a:pt x="2955" y="2606"/>
                  </a:lnTo>
                  <a:lnTo>
                    <a:pt x="2955" y="2670"/>
                  </a:lnTo>
                  <a:close/>
                  <a:moveTo>
                    <a:pt x="2955" y="2785"/>
                  </a:moveTo>
                  <a:lnTo>
                    <a:pt x="3019" y="2785"/>
                  </a:lnTo>
                  <a:lnTo>
                    <a:pt x="3019" y="2720"/>
                  </a:lnTo>
                  <a:lnTo>
                    <a:pt x="2955" y="2720"/>
                  </a:lnTo>
                  <a:lnTo>
                    <a:pt x="2955" y="2785"/>
                  </a:lnTo>
                  <a:close/>
                  <a:moveTo>
                    <a:pt x="2955" y="2898"/>
                  </a:moveTo>
                  <a:lnTo>
                    <a:pt x="3019" y="2898"/>
                  </a:lnTo>
                  <a:lnTo>
                    <a:pt x="3019" y="2834"/>
                  </a:lnTo>
                  <a:lnTo>
                    <a:pt x="2955" y="2834"/>
                  </a:lnTo>
                  <a:lnTo>
                    <a:pt x="2955" y="2898"/>
                  </a:lnTo>
                  <a:close/>
                  <a:moveTo>
                    <a:pt x="2955" y="3009"/>
                  </a:moveTo>
                  <a:lnTo>
                    <a:pt x="3019" y="3009"/>
                  </a:lnTo>
                  <a:lnTo>
                    <a:pt x="3019" y="2945"/>
                  </a:lnTo>
                  <a:lnTo>
                    <a:pt x="2955" y="2945"/>
                  </a:lnTo>
                  <a:lnTo>
                    <a:pt x="2955" y="3009"/>
                  </a:lnTo>
                  <a:close/>
                  <a:moveTo>
                    <a:pt x="2955" y="3122"/>
                  </a:moveTo>
                  <a:lnTo>
                    <a:pt x="3019" y="3122"/>
                  </a:lnTo>
                  <a:lnTo>
                    <a:pt x="3019" y="3058"/>
                  </a:lnTo>
                  <a:lnTo>
                    <a:pt x="2955" y="3058"/>
                  </a:lnTo>
                  <a:lnTo>
                    <a:pt x="2955" y="3122"/>
                  </a:lnTo>
                  <a:close/>
                  <a:moveTo>
                    <a:pt x="2955" y="3237"/>
                  </a:moveTo>
                  <a:lnTo>
                    <a:pt x="3019" y="3237"/>
                  </a:lnTo>
                  <a:lnTo>
                    <a:pt x="3019" y="3172"/>
                  </a:lnTo>
                  <a:lnTo>
                    <a:pt x="2955" y="3172"/>
                  </a:lnTo>
                  <a:lnTo>
                    <a:pt x="2955" y="3237"/>
                  </a:lnTo>
                  <a:close/>
                  <a:moveTo>
                    <a:pt x="2955" y="3350"/>
                  </a:moveTo>
                  <a:lnTo>
                    <a:pt x="3019" y="3350"/>
                  </a:lnTo>
                  <a:lnTo>
                    <a:pt x="3019" y="3285"/>
                  </a:lnTo>
                  <a:lnTo>
                    <a:pt x="2955" y="3285"/>
                  </a:lnTo>
                  <a:lnTo>
                    <a:pt x="2955" y="3350"/>
                  </a:lnTo>
                  <a:close/>
                  <a:moveTo>
                    <a:pt x="2955" y="3463"/>
                  </a:moveTo>
                  <a:lnTo>
                    <a:pt x="3019" y="3463"/>
                  </a:lnTo>
                  <a:lnTo>
                    <a:pt x="3019" y="3399"/>
                  </a:lnTo>
                  <a:lnTo>
                    <a:pt x="2955" y="3399"/>
                  </a:lnTo>
                  <a:lnTo>
                    <a:pt x="2955" y="3463"/>
                  </a:lnTo>
                  <a:close/>
                  <a:moveTo>
                    <a:pt x="2955" y="3576"/>
                  </a:moveTo>
                  <a:lnTo>
                    <a:pt x="3019" y="3576"/>
                  </a:lnTo>
                  <a:lnTo>
                    <a:pt x="3019" y="3512"/>
                  </a:lnTo>
                  <a:lnTo>
                    <a:pt x="2955" y="3512"/>
                  </a:lnTo>
                  <a:lnTo>
                    <a:pt x="2955" y="3576"/>
                  </a:lnTo>
                  <a:close/>
                  <a:moveTo>
                    <a:pt x="2955" y="3691"/>
                  </a:moveTo>
                  <a:lnTo>
                    <a:pt x="3019" y="3691"/>
                  </a:lnTo>
                  <a:lnTo>
                    <a:pt x="3019" y="3626"/>
                  </a:lnTo>
                  <a:lnTo>
                    <a:pt x="2955" y="3626"/>
                  </a:lnTo>
                  <a:lnTo>
                    <a:pt x="2955" y="3691"/>
                  </a:lnTo>
                  <a:close/>
                  <a:moveTo>
                    <a:pt x="2955" y="3804"/>
                  </a:moveTo>
                  <a:lnTo>
                    <a:pt x="3019" y="3804"/>
                  </a:lnTo>
                  <a:lnTo>
                    <a:pt x="3019" y="3739"/>
                  </a:lnTo>
                  <a:lnTo>
                    <a:pt x="2955" y="3739"/>
                  </a:lnTo>
                  <a:lnTo>
                    <a:pt x="2955" y="3804"/>
                  </a:lnTo>
                  <a:close/>
                  <a:moveTo>
                    <a:pt x="2955" y="3915"/>
                  </a:moveTo>
                  <a:lnTo>
                    <a:pt x="3019" y="3915"/>
                  </a:lnTo>
                  <a:lnTo>
                    <a:pt x="3019" y="3850"/>
                  </a:lnTo>
                  <a:lnTo>
                    <a:pt x="2955" y="3850"/>
                  </a:lnTo>
                  <a:lnTo>
                    <a:pt x="2955" y="3915"/>
                  </a:lnTo>
                  <a:close/>
                  <a:moveTo>
                    <a:pt x="2955" y="4028"/>
                  </a:moveTo>
                  <a:lnTo>
                    <a:pt x="3019" y="4028"/>
                  </a:lnTo>
                  <a:lnTo>
                    <a:pt x="3019" y="3964"/>
                  </a:lnTo>
                  <a:lnTo>
                    <a:pt x="2955" y="3964"/>
                  </a:lnTo>
                  <a:lnTo>
                    <a:pt x="2955" y="4028"/>
                  </a:lnTo>
                  <a:close/>
                  <a:moveTo>
                    <a:pt x="2955" y="4142"/>
                  </a:moveTo>
                  <a:lnTo>
                    <a:pt x="3019" y="4142"/>
                  </a:lnTo>
                  <a:lnTo>
                    <a:pt x="3019" y="4078"/>
                  </a:lnTo>
                  <a:lnTo>
                    <a:pt x="2955" y="4078"/>
                  </a:lnTo>
                  <a:lnTo>
                    <a:pt x="2955" y="4142"/>
                  </a:lnTo>
                  <a:close/>
                  <a:moveTo>
                    <a:pt x="2955" y="4368"/>
                  </a:moveTo>
                  <a:lnTo>
                    <a:pt x="3019" y="4368"/>
                  </a:lnTo>
                  <a:lnTo>
                    <a:pt x="3019" y="4303"/>
                  </a:lnTo>
                  <a:lnTo>
                    <a:pt x="2955" y="4303"/>
                  </a:lnTo>
                  <a:lnTo>
                    <a:pt x="2955" y="4368"/>
                  </a:lnTo>
                  <a:close/>
                  <a:moveTo>
                    <a:pt x="2955" y="4481"/>
                  </a:moveTo>
                  <a:lnTo>
                    <a:pt x="3019" y="4481"/>
                  </a:lnTo>
                  <a:lnTo>
                    <a:pt x="3019" y="4417"/>
                  </a:lnTo>
                  <a:lnTo>
                    <a:pt x="2955" y="4417"/>
                  </a:lnTo>
                  <a:lnTo>
                    <a:pt x="2955" y="4481"/>
                  </a:lnTo>
                  <a:close/>
                  <a:moveTo>
                    <a:pt x="2955" y="4595"/>
                  </a:moveTo>
                  <a:lnTo>
                    <a:pt x="3019" y="4595"/>
                  </a:lnTo>
                  <a:lnTo>
                    <a:pt x="3019" y="4531"/>
                  </a:lnTo>
                  <a:lnTo>
                    <a:pt x="2955" y="4531"/>
                  </a:lnTo>
                  <a:lnTo>
                    <a:pt x="2955" y="4595"/>
                  </a:lnTo>
                  <a:close/>
                  <a:moveTo>
                    <a:pt x="3070" y="292"/>
                  </a:moveTo>
                  <a:lnTo>
                    <a:pt x="3134" y="292"/>
                  </a:lnTo>
                  <a:lnTo>
                    <a:pt x="3134" y="228"/>
                  </a:lnTo>
                  <a:lnTo>
                    <a:pt x="3070" y="228"/>
                  </a:lnTo>
                  <a:lnTo>
                    <a:pt x="3070" y="292"/>
                  </a:lnTo>
                  <a:close/>
                  <a:moveTo>
                    <a:pt x="3070" y="403"/>
                  </a:moveTo>
                  <a:lnTo>
                    <a:pt x="3134" y="403"/>
                  </a:lnTo>
                  <a:lnTo>
                    <a:pt x="3134" y="339"/>
                  </a:lnTo>
                  <a:lnTo>
                    <a:pt x="3070" y="339"/>
                  </a:lnTo>
                  <a:lnTo>
                    <a:pt x="3070" y="403"/>
                  </a:lnTo>
                  <a:close/>
                  <a:moveTo>
                    <a:pt x="3070" y="517"/>
                  </a:moveTo>
                  <a:lnTo>
                    <a:pt x="3134" y="517"/>
                  </a:lnTo>
                  <a:lnTo>
                    <a:pt x="3134" y="452"/>
                  </a:lnTo>
                  <a:lnTo>
                    <a:pt x="3070" y="452"/>
                  </a:lnTo>
                  <a:lnTo>
                    <a:pt x="3070" y="517"/>
                  </a:lnTo>
                  <a:close/>
                  <a:moveTo>
                    <a:pt x="3070" y="631"/>
                  </a:moveTo>
                  <a:lnTo>
                    <a:pt x="3134" y="631"/>
                  </a:lnTo>
                  <a:lnTo>
                    <a:pt x="3134" y="566"/>
                  </a:lnTo>
                  <a:lnTo>
                    <a:pt x="3070" y="566"/>
                  </a:lnTo>
                  <a:lnTo>
                    <a:pt x="3070" y="631"/>
                  </a:lnTo>
                  <a:close/>
                  <a:moveTo>
                    <a:pt x="3070" y="744"/>
                  </a:moveTo>
                  <a:lnTo>
                    <a:pt x="3134" y="744"/>
                  </a:lnTo>
                  <a:lnTo>
                    <a:pt x="3134" y="680"/>
                  </a:lnTo>
                  <a:lnTo>
                    <a:pt x="3070" y="680"/>
                  </a:lnTo>
                  <a:lnTo>
                    <a:pt x="3070" y="744"/>
                  </a:lnTo>
                  <a:close/>
                  <a:moveTo>
                    <a:pt x="3070" y="856"/>
                  </a:moveTo>
                  <a:lnTo>
                    <a:pt x="3134" y="856"/>
                  </a:lnTo>
                  <a:lnTo>
                    <a:pt x="3134" y="792"/>
                  </a:lnTo>
                  <a:lnTo>
                    <a:pt x="3070" y="792"/>
                  </a:lnTo>
                  <a:lnTo>
                    <a:pt x="3070" y="856"/>
                  </a:lnTo>
                  <a:close/>
                  <a:moveTo>
                    <a:pt x="3070" y="1084"/>
                  </a:moveTo>
                  <a:lnTo>
                    <a:pt x="3134" y="1084"/>
                  </a:lnTo>
                  <a:lnTo>
                    <a:pt x="3134" y="1019"/>
                  </a:lnTo>
                  <a:lnTo>
                    <a:pt x="3070" y="1019"/>
                  </a:lnTo>
                  <a:lnTo>
                    <a:pt x="3070" y="1084"/>
                  </a:lnTo>
                  <a:close/>
                  <a:moveTo>
                    <a:pt x="3070" y="1197"/>
                  </a:moveTo>
                  <a:lnTo>
                    <a:pt x="3134" y="1197"/>
                  </a:lnTo>
                  <a:lnTo>
                    <a:pt x="3134" y="1132"/>
                  </a:lnTo>
                  <a:lnTo>
                    <a:pt x="3070" y="1132"/>
                  </a:lnTo>
                  <a:lnTo>
                    <a:pt x="3070" y="1197"/>
                  </a:lnTo>
                  <a:close/>
                  <a:moveTo>
                    <a:pt x="3070" y="1308"/>
                  </a:moveTo>
                  <a:lnTo>
                    <a:pt x="3134" y="1308"/>
                  </a:lnTo>
                  <a:lnTo>
                    <a:pt x="3134" y="1244"/>
                  </a:lnTo>
                  <a:lnTo>
                    <a:pt x="3070" y="1244"/>
                  </a:lnTo>
                  <a:lnTo>
                    <a:pt x="3070" y="1308"/>
                  </a:lnTo>
                  <a:close/>
                  <a:moveTo>
                    <a:pt x="3070" y="1422"/>
                  </a:moveTo>
                  <a:lnTo>
                    <a:pt x="3134" y="1422"/>
                  </a:lnTo>
                  <a:lnTo>
                    <a:pt x="3134" y="1357"/>
                  </a:lnTo>
                  <a:lnTo>
                    <a:pt x="3070" y="1357"/>
                  </a:lnTo>
                  <a:lnTo>
                    <a:pt x="3070" y="1422"/>
                  </a:lnTo>
                  <a:close/>
                  <a:moveTo>
                    <a:pt x="3070" y="1536"/>
                  </a:moveTo>
                  <a:lnTo>
                    <a:pt x="3134" y="1536"/>
                  </a:lnTo>
                  <a:lnTo>
                    <a:pt x="3134" y="1471"/>
                  </a:lnTo>
                  <a:lnTo>
                    <a:pt x="3070" y="1471"/>
                  </a:lnTo>
                  <a:lnTo>
                    <a:pt x="3070" y="1536"/>
                  </a:lnTo>
                  <a:close/>
                  <a:moveTo>
                    <a:pt x="3070" y="1766"/>
                  </a:moveTo>
                  <a:lnTo>
                    <a:pt x="3134" y="1766"/>
                  </a:lnTo>
                  <a:lnTo>
                    <a:pt x="3134" y="1701"/>
                  </a:lnTo>
                  <a:lnTo>
                    <a:pt x="3070" y="1701"/>
                  </a:lnTo>
                  <a:lnTo>
                    <a:pt x="3070" y="1766"/>
                  </a:lnTo>
                  <a:close/>
                  <a:moveTo>
                    <a:pt x="3070" y="1880"/>
                  </a:moveTo>
                  <a:lnTo>
                    <a:pt x="3134" y="1880"/>
                  </a:lnTo>
                  <a:lnTo>
                    <a:pt x="3134" y="1816"/>
                  </a:lnTo>
                  <a:lnTo>
                    <a:pt x="3070" y="1816"/>
                  </a:lnTo>
                  <a:lnTo>
                    <a:pt x="3070" y="1880"/>
                  </a:lnTo>
                  <a:close/>
                  <a:moveTo>
                    <a:pt x="3070" y="1994"/>
                  </a:moveTo>
                  <a:lnTo>
                    <a:pt x="3134" y="1994"/>
                  </a:lnTo>
                  <a:lnTo>
                    <a:pt x="3134" y="1929"/>
                  </a:lnTo>
                  <a:lnTo>
                    <a:pt x="3070" y="1929"/>
                  </a:lnTo>
                  <a:lnTo>
                    <a:pt x="3070" y="1994"/>
                  </a:lnTo>
                  <a:close/>
                  <a:moveTo>
                    <a:pt x="3070" y="2105"/>
                  </a:moveTo>
                  <a:lnTo>
                    <a:pt x="3134" y="2105"/>
                  </a:lnTo>
                  <a:lnTo>
                    <a:pt x="3134" y="2040"/>
                  </a:lnTo>
                  <a:lnTo>
                    <a:pt x="3070" y="2040"/>
                  </a:lnTo>
                  <a:lnTo>
                    <a:pt x="3070" y="2105"/>
                  </a:lnTo>
                  <a:close/>
                  <a:moveTo>
                    <a:pt x="3070" y="2218"/>
                  </a:moveTo>
                  <a:lnTo>
                    <a:pt x="3134" y="2218"/>
                  </a:lnTo>
                  <a:lnTo>
                    <a:pt x="3134" y="2153"/>
                  </a:lnTo>
                  <a:lnTo>
                    <a:pt x="3070" y="2153"/>
                  </a:lnTo>
                  <a:lnTo>
                    <a:pt x="3070" y="2218"/>
                  </a:lnTo>
                  <a:close/>
                  <a:moveTo>
                    <a:pt x="3070" y="2332"/>
                  </a:moveTo>
                  <a:lnTo>
                    <a:pt x="3134" y="2332"/>
                  </a:lnTo>
                  <a:lnTo>
                    <a:pt x="3134" y="2268"/>
                  </a:lnTo>
                  <a:lnTo>
                    <a:pt x="3070" y="2268"/>
                  </a:lnTo>
                  <a:lnTo>
                    <a:pt x="3070" y="2332"/>
                  </a:lnTo>
                  <a:close/>
                  <a:moveTo>
                    <a:pt x="3070" y="2445"/>
                  </a:moveTo>
                  <a:lnTo>
                    <a:pt x="3134" y="2445"/>
                  </a:lnTo>
                  <a:lnTo>
                    <a:pt x="3134" y="2381"/>
                  </a:lnTo>
                  <a:lnTo>
                    <a:pt x="3070" y="2381"/>
                  </a:lnTo>
                  <a:lnTo>
                    <a:pt x="3070" y="2445"/>
                  </a:lnTo>
                  <a:close/>
                  <a:moveTo>
                    <a:pt x="3070" y="2785"/>
                  </a:moveTo>
                  <a:lnTo>
                    <a:pt x="3134" y="2785"/>
                  </a:lnTo>
                  <a:lnTo>
                    <a:pt x="3134" y="2720"/>
                  </a:lnTo>
                  <a:lnTo>
                    <a:pt x="3070" y="2720"/>
                  </a:lnTo>
                  <a:lnTo>
                    <a:pt x="3070" y="2785"/>
                  </a:lnTo>
                  <a:close/>
                  <a:moveTo>
                    <a:pt x="3070" y="2898"/>
                  </a:moveTo>
                  <a:lnTo>
                    <a:pt x="3134" y="2898"/>
                  </a:lnTo>
                  <a:lnTo>
                    <a:pt x="3134" y="2834"/>
                  </a:lnTo>
                  <a:lnTo>
                    <a:pt x="3070" y="2834"/>
                  </a:lnTo>
                  <a:lnTo>
                    <a:pt x="3070" y="2898"/>
                  </a:lnTo>
                  <a:close/>
                  <a:moveTo>
                    <a:pt x="3070" y="3009"/>
                  </a:moveTo>
                  <a:lnTo>
                    <a:pt x="3134" y="3009"/>
                  </a:lnTo>
                  <a:lnTo>
                    <a:pt x="3134" y="2945"/>
                  </a:lnTo>
                  <a:lnTo>
                    <a:pt x="3070" y="2945"/>
                  </a:lnTo>
                  <a:lnTo>
                    <a:pt x="3070" y="3009"/>
                  </a:lnTo>
                  <a:close/>
                  <a:moveTo>
                    <a:pt x="3070" y="3122"/>
                  </a:moveTo>
                  <a:lnTo>
                    <a:pt x="3134" y="3122"/>
                  </a:lnTo>
                  <a:lnTo>
                    <a:pt x="3134" y="3058"/>
                  </a:lnTo>
                  <a:lnTo>
                    <a:pt x="3070" y="3058"/>
                  </a:lnTo>
                  <a:lnTo>
                    <a:pt x="3070" y="3122"/>
                  </a:lnTo>
                  <a:close/>
                  <a:moveTo>
                    <a:pt x="3070" y="3237"/>
                  </a:moveTo>
                  <a:lnTo>
                    <a:pt x="3134" y="3237"/>
                  </a:lnTo>
                  <a:lnTo>
                    <a:pt x="3134" y="3172"/>
                  </a:lnTo>
                  <a:lnTo>
                    <a:pt x="3070" y="3172"/>
                  </a:lnTo>
                  <a:lnTo>
                    <a:pt x="3070" y="3237"/>
                  </a:lnTo>
                  <a:close/>
                  <a:moveTo>
                    <a:pt x="3070" y="3350"/>
                  </a:moveTo>
                  <a:lnTo>
                    <a:pt x="3134" y="3350"/>
                  </a:lnTo>
                  <a:lnTo>
                    <a:pt x="3134" y="3285"/>
                  </a:lnTo>
                  <a:lnTo>
                    <a:pt x="3070" y="3285"/>
                  </a:lnTo>
                  <a:lnTo>
                    <a:pt x="3070" y="3350"/>
                  </a:lnTo>
                  <a:close/>
                  <a:moveTo>
                    <a:pt x="3070" y="3463"/>
                  </a:moveTo>
                  <a:lnTo>
                    <a:pt x="3134" y="3463"/>
                  </a:lnTo>
                  <a:lnTo>
                    <a:pt x="3134" y="3399"/>
                  </a:lnTo>
                  <a:lnTo>
                    <a:pt x="3070" y="3399"/>
                  </a:lnTo>
                  <a:lnTo>
                    <a:pt x="3070" y="3463"/>
                  </a:lnTo>
                  <a:close/>
                  <a:moveTo>
                    <a:pt x="3070" y="3576"/>
                  </a:moveTo>
                  <a:lnTo>
                    <a:pt x="3134" y="3576"/>
                  </a:lnTo>
                  <a:lnTo>
                    <a:pt x="3134" y="3512"/>
                  </a:lnTo>
                  <a:lnTo>
                    <a:pt x="3070" y="3512"/>
                  </a:lnTo>
                  <a:lnTo>
                    <a:pt x="3070" y="3576"/>
                  </a:lnTo>
                  <a:close/>
                  <a:moveTo>
                    <a:pt x="3070" y="3691"/>
                  </a:moveTo>
                  <a:lnTo>
                    <a:pt x="3134" y="3691"/>
                  </a:lnTo>
                  <a:lnTo>
                    <a:pt x="3134" y="3626"/>
                  </a:lnTo>
                  <a:lnTo>
                    <a:pt x="3070" y="3626"/>
                  </a:lnTo>
                  <a:lnTo>
                    <a:pt x="3070" y="3691"/>
                  </a:lnTo>
                  <a:close/>
                  <a:moveTo>
                    <a:pt x="3070" y="3804"/>
                  </a:moveTo>
                  <a:lnTo>
                    <a:pt x="3134" y="3804"/>
                  </a:lnTo>
                  <a:lnTo>
                    <a:pt x="3134" y="3739"/>
                  </a:lnTo>
                  <a:lnTo>
                    <a:pt x="3070" y="3739"/>
                  </a:lnTo>
                  <a:lnTo>
                    <a:pt x="3070" y="3804"/>
                  </a:lnTo>
                  <a:close/>
                  <a:moveTo>
                    <a:pt x="3070" y="3915"/>
                  </a:moveTo>
                  <a:lnTo>
                    <a:pt x="3134" y="3915"/>
                  </a:lnTo>
                  <a:lnTo>
                    <a:pt x="3134" y="3850"/>
                  </a:lnTo>
                  <a:lnTo>
                    <a:pt x="3070" y="3850"/>
                  </a:lnTo>
                  <a:lnTo>
                    <a:pt x="3070" y="3915"/>
                  </a:lnTo>
                  <a:close/>
                  <a:moveTo>
                    <a:pt x="3070" y="4028"/>
                  </a:moveTo>
                  <a:lnTo>
                    <a:pt x="3134" y="4028"/>
                  </a:lnTo>
                  <a:lnTo>
                    <a:pt x="3134" y="3964"/>
                  </a:lnTo>
                  <a:lnTo>
                    <a:pt x="3070" y="3964"/>
                  </a:lnTo>
                  <a:lnTo>
                    <a:pt x="3070" y="4028"/>
                  </a:lnTo>
                  <a:close/>
                  <a:moveTo>
                    <a:pt x="3070" y="4481"/>
                  </a:moveTo>
                  <a:lnTo>
                    <a:pt x="3134" y="4481"/>
                  </a:lnTo>
                  <a:lnTo>
                    <a:pt x="3134" y="4417"/>
                  </a:lnTo>
                  <a:lnTo>
                    <a:pt x="3070" y="4417"/>
                  </a:lnTo>
                  <a:lnTo>
                    <a:pt x="3070" y="4481"/>
                  </a:lnTo>
                  <a:close/>
                  <a:moveTo>
                    <a:pt x="3070" y="4595"/>
                  </a:moveTo>
                  <a:lnTo>
                    <a:pt x="3134" y="4595"/>
                  </a:lnTo>
                  <a:lnTo>
                    <a:pt x="3134" y="4531"/>
                  </a:lnTo>
                  <a:lnTo>
                    <a:pt x="3070" y="4531"/>
                  </a:lnTo>
                  <a:lnTo>
                    <a:pt x="3070" y="4595"/>
                  </a:lnTo>
                  <a:close/>
                  <a:moveTo>
                    <a:pt x="3184" y="403"/>
                  </a:moveTo>
                  <a:lnTo>
                    <a:pt x="3249" y="403"/>
                  </a:lnTo>
                  <a:lnTo>
                    <a:pt x="3249" y="339"/>
                  </a:lnTo>
                  <a:lnTo>
                    <a:pt x="3184" y="339"/>
                  </a:lnTo>
                  <a:lnTo>
                    <a:pt x="3184" y="403"/>
                  </a:lnTo>
                  <a:close/>
                  <a:moveTo>
                    <a:pt x="3184" y="517"/>
                  </a:moveTo>
                  <a:lnTo>
                    <a:pt x="3249" y="517"/>
                  </a:lnTo>
                  <a:lnTo>
                    <a:pt x="3249" y="452"/>
                  </a:lnTo>
                  <a:lnTo>
                    <a:pt x="3184" y="452"/>
                  </a:lnTo>
                  <a:lnTo>
                    <a:pt x="3184" y="517"/>
                  </a:lnTo>
                  <a:close/>
                  <a:moveTo>
                    <a:pt x="3184" y="631"/>
                  </a:moveTo>
                  <a:lnTo>
                    <a:pt x="3249" y="631"/>
                  </a:lnTo>
                  <a:lnTo>
                    <a:pt x="3249" y="566"/>
                  </a:lnTo>
                  <a:lnTo>
                    <a:pt x="3184" y="566"/>
                  </a:lnTo>
                  <a:lnTo>
                    <a:pt x="3184" y="631"/>
                  </a:lnTo>
                  <a:close/>
                  <a:moveTo>
                    <a:pt x="3184" y="744"/>
                  </a:moveTo>
                  <a:lnTo>
                    <a:pt x="3249" y="744"/>
                  </a:lnTo>
                  <a:lnTo>
                    <a:pt x="3249" y="680"/>
                  </a:lnTo>
                  <a:lnTo>
                    <a:pt x="3184" y="680"/>
                  </a:lnTo>
                  <a:lnTo>
                    <a:pt x="3184" y="744"/>
                  </a:lnTo>
                  <a:close/>
                  <a:moveTo>
                    <a:pt x="3184" y="856"/>
                  </a:moveTo>
                  <a:lnTo>
                    <a:pt x="3249" y="856"/>
                  </a:lnTo>
                  <a:lnTo>
                    <a:pt x="3249" y="792"/>
                  </a:lnTo>
                  <a:lnTo>
                    <a:pt x="3184" y="792"/>
                  </a:lnTo>
                  <a:lnTo>
                    <a:pt x="3184" y="856"/>
                  </a:lnTo>
                  <a:close/>
                  <a:moveTo>
                    <a:pt x="3184" y="969"/>
                  </a:moveTo>
                  <a:lnTo>
                    <a:pt x="3249" y="969"/>
                  </a:lnTo>
                  <a:lnTo>
                    <a:pt x="3249" y="905"/>
                  </a:lnTo>
                  <a:lnTo>
                    <a:pt x="3184" y="905"/>
                  </a:lnTo>
                  <a:lnTo>
                    <a:pt x="3184" y="969"/>
                  </a:lnTo>
                  <a:close/>
                  <a:moveTo>
                    <a:pt x="3184" y="1084"/>
                  </a:moveTo>
                  <a:lnTo>
                    <a:pt x="3249" y="1084"/>
                  </a:lnTo>
                  <a:lnTo>
                    <a:pt x="3249" y="1019"/>
                  </a:lnTo>
                  <a:lnTo>
                    <a:pt x="3184" y="1019"/>
                  </a:lnTo>
                  <a:lnTo>
                    <a:pt x="3184" y="1084"/>
                  </a:lnTo>
                  <a:close/>
                  <a:moveTo>
                    <a:pt x="3184" y="1197"/>
                  </a:moveTo>
                  <a:lnTo>
                    <a:pt x="3249" y="1197"/>
                  </a:lnTo>
                  <a:lnTo>
                    <a:pt x="3249" y="1132"/>
                  </a:lnTo>
                  <a:lnTo>
                    <a:pt x="3184" y="1132"/>
                  </a:lnTo>
                  <a:lnTo>
                    <a:pt x="3184" y="1197"/>
                  </a:lnTo>
                  <a:close/>
                  <a:moveTo>
                    <a:pt x="3184" y="1308"/>
                  </a:moveTo>
                  <a:lnTo>
                    <a:pt x="3249" y="1308"/>
                  </a:lnTo>
                  <a:lnTo>
                    <a:pt x="3249" y="1244"/>
                  </a:lnTo>
                  <a:lnTo>
                    <a:pt x="3184" y="1244"/>
                  </a:lnTo>
                  <a:lnTo>
                    <a:pt x="3184" y="1308"/>
                  </a:lnTo>
                  <a:close/>
                  <a:moveTo>
                    <a:pt x="3184" y="1422"/>
                  </a:moveTo>
                  <a:lnTo>
                    <a:pt x="3249" y="1422"/>
                  </a:lnTo>
                  <a:lnTo>
                    <a:pt x="3249" y="1357"/>
                  </a:lnTo>
                  <a:lnTo>
                    <a:pt x="3184" y="1357"/>
                  </a:lnTo>
                  <a:lnTo>
                    <a:pt x="3184" y="1422"/>
                  </a:lnTo>
                  <a:close/>
                  <a:moveTo>
                    <a:pt x="3184" y="1536"/>
                  </a:moveTo>
                  <a:lnTo>
                    <a:pt x="3249" y="1536"/>
                  </a:lnTo>
                  <a:lnTo>
                    <a:pt x="3249" y="1471"/>
                  </a:lnTo>
                  <a:lnTo>
                    <a:pt x="3184" y="1471"/>
                  </a:lnTo>
                  <a:lnTo>
                    <a:pt x="3184" y="1536"/>
                  </a:lnTo>
                  <a:close/>
                  <a:moveTo>
                    <a:pt x="3184" y="1994"/>
                  </a:moveTo>
                  <a:lnTo>
                    <a:pt x="3249" y="1994"/>
                  </a:lnTo>
                  <a:lnTo>
                    <a:pt x="3249" y="1929"/>
                  </a:lnTo>
                  <a:lnTo>
                    <a:pt x="3184" y="1929"/>
                  </a:lnTo>
                  <a:lnTo>
                    <a:pt x="3184" y="1994"/>
                  </a:lnTo>
                  <a:close/>
                  <a:moveTo>
                    <a:pt x="3184" y="2105"/>
                  </a:moveTo>
                  <a:lnTo>
                    <a:pt x="3249" y="2105"/>
                  </a:lnTo>
                  <a:lnTo>
                    <a:pt x="3249" y="2040"/>
                  </a:lnTo>
                  <a:lnTo>
                    <a:pt x="3184" y="2040"/>
                  </a:lnTo>
                  <a:lnTo>
                    <a:pt x="3184" y="2105"/>
                  </a:lnTo>
                  <a:close/>
                  <a:moveTo>
                    <a:pt x="3184" y="2218"/>
                  </a:moveTo>
                  <a:lnTo>
                    <a:pt x="3249" y="2218"/>
                  </a:lnTo>
                  <a:lnTo>
                    <a:pt x="3249" y="2153"/>
                  </a:lnTo>
                  <a:lnTo>
                    <a:pt x="3184" y="2153"/>
                  </a:lnTo>
                  <a:lnTo>
                    <a:pt x="3184" y="2218"/>
                  </a:lnTo>
                  <a:close/>
                  <a:moveTo>
                    <a:pt x="3184" y="2332"/>
                  </a:moveTo>
                  <a:lnTo>
                    <a:pt x="3249" y="2332"/>
                  </a:lnTo>
                  <a:lnTo>
                    <a:pt x="3249" y="2268"/>
                  </a:lnTo>
                  <a:lnTo>
                    <a:pt x="3184" y="2268"/>
                  </a:lnTo>
                  <a:lnTo>
                    <a:pt x="3184" y="2332"/>
                  </a:lnTo>
                  <a:close/>
                  <a:moveTo>
                    <a:pt x="3184" y="2898"/>
                  </a:moveTo>
                  <a:lnTo>
                    <a:pt x="3249" y="2898"/>
                  </a:lnTo>
                  <a:lnTo>
                    <a:pt x="3249" y="2834"/>
                  </a:lnTo>
                  <a:lnTo>
                    <a:pt x="3184" y="2834"/>
                  </a:lnTo>
                  <a:lnTo>
                    <a:pt x="3184" y="2898"/>
                  </a:lnTo>
                  <a:close/>
                  <a:moveTo>
                    <a:pt x="3184" y="3009"/>
                  </a:moveTo>
                  <a:lnTo>
                    <a:pt x="3249" y="3009"/>
                  </a:lnTo>
                  <a:lnTo>
                    <a:pt x="3249" y="2945"/>
                  </a:lnTo>
                  <a:lnTo>
                    <a:pt x="3184" y="2945"/>
                  </a:lnTo>
                  <a:lnTo>
                    <a:pt x="3184" y="3009"/>
                  </a:lnTo>
                  <a:close/>
                  <a:moveTo>
                    <a:pt x="3184" y="3122"/>
                  </a:moveTo>
                  <a:lnTo>
                    <a:pt x="3249" y="3122"/>
                  </a:lnTo>
                  <a:lnTo>
                    <a:pt x="3249" y="3058"/>
                  </a:lnTo>
                  <a:lnTo>
                    <a:pt x="3184" y="3058"/>
                  </a:lnTo>
                  <a:lnTo>
                    <a:pt x="3184" y="3122"/>
                  </a:lnTo>
                  <a:close/>
                  <a:moveTo>
                    <a:pt x="3184" y="3237"/>
                  </a:moveTo>
                  <a:lnTo>
                    <a:pt x="3249" y="3237"/>
                  </a:lnTo>
                  <a:lnTo>
                    <a:pt x="3249" y="3172"/>
                  </a:lnTo>
                  <a:lnTo>
                    <a:pt x="3184" y="3172"/>
                  </a:lnTo>
                  <a:lnTo>
                    <a:pt x="3184" y="3237"/>
                  </a:lnTo>
                  <a:close/>
                  <a:moveTo>
                    <a:pt x="3184" y="3350"/>
                  </a:moveTo>
                  <a:lnTo>
                    <a:pt x="3249" y="3350"/>
                  </a:lnTo>
                  <a:lnTo>
                    <a:pt x="3249" y="3285"/>
                  </a:lnTo>
                  <a:lnTo>
                    <a:pt x="3184" y="3285"/>
                  </a:lnTo>
                  <a:lnTo>
                    <a:pt x="3184" y="3350"/>
                  </a:lnTo>
                  <a:close/>
                  <a:moveTo>
                    <a:pt x="3184" y="3463"/>
                  </a:moveTo>
                  <a:lnTo>
                    <a:pt x="3249" y="3463"/>
                  </a:lnTo>
                  <a:lnTo>
                    <a:pt x="3249" y="3399"/>
                  </a:lnTo>
                  <a:lnTo>
                    <a:pt x="3184" y="3399"/>
                  </a:lnTo>
                  <a:lnTo>
                    <a:pt x="3184" y="3463"/>
                  </a:lnTo>
                  <a:close/>
                  <a:moveTo>
                    <a:pt x="3184" y="3576"/>
                  </a:moveTo>
                  <a:lnTo>
                    <a:pt x="3249" y="3576"/>
                  </a:lnTo>
                  <a:lnTo>
                    <a:pt x="3249" y="3512"/>
                  </a:lnTo>
                  <a:lnTo>
                    <a:pt x="3184" y="3512"/>
                  </a:lnTo>
                  <a:lnTo>
                    <a:pt x="3184" y="3576"/>
                  </a:lnTo>
                  <a:close/>
                  <a:moveTo>
                    <a:pt x="3184" y="3691"/>
                  </a:moveTo>
                  <a:lnTo>
                    <a:pt x="3249" y="3691"/>
                  </a:lnTo>
                  <a:lnTo>
                    <a:pt x="3249" y="3626"/>
                  </a:lnTo>
                  <a:lnTo>
                    <a:pt x="3184" y="3626"/>
                  </a:lnTo>
                  <a:lnTo>
                    <a:pt x="3184" y="3691"/>
                  </a:lnTo>
                  <a:close/>
                  <a:moveTo>
                    <a:pt x="3184" y="3804"/>
                  </a:moveTo>
                  <a:lnTo>
                    <a:pt x="3249" y="3804"/>
                  </a:lnTo>
                  <a:lnTo>
                    <a:pt x="3249" y="3739"/>
                  </a:lnTo>
                  <a:lnTo>
                    <a:pt x="3184" y="3739"/>
                  </a:lnTo>
                  <a:lnTo>
                    <a:pt x="3184" y="3804"/>
                  </a:lnTo>
                  <a:close/>
                  <a:moveTo>
                    <a:pt x="3184" y="3915"/>
                  </a:moveTo>
                  <a:lnTo>
                    <a:pt x="3249" y="3915"/>
                  </a:lnTo>
                  <a:lnTo>
                    <a:pt x="3249" y="3850"/>
                  </a:lnTo>
                  <a:lnTo>
                    <a:pt x="3184" y="3850"/>
                  </a:lnTo>
                  <a:lnTo>
                    <a:pt x="3184" y="3915"/>
                  </a:lnTo>
                  <a:close/>
                  <a:moveTo>
                    <a:pt x="3184" y="4028"/>
                  </a:moveTo>
                  <a:lnTo>
                    <a:pt x="3249" y="4028"/>
                  </a:lnTo>
                  <a:lnTo>
                    <a:pt x="3249" y="3964"/>
                  </a:lnTo>
                  <a:lnTo>
                    <a:pt x="3184" y="3964"/>
                  </a:lnTo>
                  <a:lnTo>
                    <a:pt x="3184" y="4028"/>
                  </a:lnTo>
                  <a:close/>
                  <a:moveTo>
                    <a:pt x="3184" y="4368"/>
                  </a:moveTo>
                  <a:lnTo>
                    <a:pt x="3249" y="4368"/>
                  </a:lnTo>
                  <a:lnTo>
                    <a:pt x="3249" y="4303"/>
                  </a:lnTo>
                  <a:lnTo>
                    <a:pt x="3184" y="4303"/>
                  </a:lnTo>
                  <a:lnTo>
                    <a:pt x="3184" y="4368"/>
                  </a:lnTo>
                  <a:close/>
                  <a:moveTo>
                    <a:pt x="3184" y="4481"/>
                  </a:moveTo>
                  <a:lnTo>
                    <a:pt x="3249" y="4481"/>
                  </a:lnTo>
                  <a:lnTo>
                    <a:pt x="3249" y="4417"/>
                  </a:lnTo>
                  <a:lnTo>
                    <a:pt x="3184" y="4417"/>
                  </a:lnTo>
                  <a:lnTo>
                    <a:pt x="3184" y="4481"/>
                  </a:lnTo>
                  <a:close/>
                  <a:moveTo>
                    <a:pt x="3184" y="4595"/>
                  </a:moveTo>
                  <a:lnTo>
                    <a:pt x="3249" y="4595"/>
                  </a:lnTo>
                  <a:lnTo>
                    <a:pt x="3249" y="4531"/>
                  </a:lnTo>
                  <a:lnTo>
                    <a:pt x="3184" y="4531"/>
                  </a:lnTo>
                  <a:lnTo>
                    <a:pt x="3184" y="4595"/>
                  </a:lnTo>
                  <a:close/>
                  <a:moveTo>
                    <a:pt x="3298" y="292"/>
                  </a:moveTo>
                  <a:lnTo>
                    <a:pt x="3362" y="292"/>
                  </a:lnTo>
                  <a:lnTo>
                    <a:pt x="3362" y="228"/>
                  </a:lnTo>
                  <a:lnTo>
                    <a:pt x="3298" y="228"/>
                  </a:lnTo>
                  <a:lnTo>
                    <a:pt x="3298" y="292"/>
                  </a:lnTo>
                  <a:close/>
                  <a:moveTo>
                    <a:pt x="3298" y="403"/>
                  </a:moveTo>
                  <a:lnTo>
                    <a:pt x="3362" y="403"/>
                  </a:lnTo>
                  <a:lnTo>
                    <a:pt x="3362" y="339"/>
                  </a:lnTo>
                  <a:lnTo>
                    <a:pt x="3298" y="339"/>
                  </a:lnTo>
                  <a:lnTo>
                    <a:pt x="3298" y="403"/>
                  </a:lnTo>
                  <a:close/>
                  <a:moveTo>
                    <a:pt x="3298" y="517"/>
                  </a:moveTo>
                  <a:lnTo>
                    <a:pt x="3362" y="517"/>
                  </a:lnTo>
                  <a:lnTo>
                    <a:pt x="3362" y="452"/>
                  </a:lnTo>
                  <a:lnTo>
                    <a:pt x="3298" y="452"/>
                  </a:lnTo>
                  <a:lnTo>
                    <a:pt x="3298" y="517"/>
                  </a:lnTo>
                  <a:close/>
                  <a:moveTo>
                    <a:pt x="3298" y="631"/>
                  </a:moveTo>
                  <a:lnTo>
                    <a:pt x="3362" y="631"/>
                  </a:lnTo>
                  <a:lnTo>
                    <a:pt x="3362" y="566"/>
                  </a:lnTo>
                  <a:lnTo>
                    <a:pt x="3298" y="566"/>
                  </a:lnTo>
                  <a:lnTo>
                    <a:pt x="3298" y="631"/>
                  </a:lnTo>
                  <a:close/>
                  <a:moveTo>
                    <a:pt x="3298" y="744"/>
                  </a:moveTo>
                  <a:lnTo>
                    <a:pt x="3362" y="744"/>
                  </a:lnTo>
                  <a:lnTo>
                    <a:pt x="3362" y="680"/>
                  </a:lnTo>
                  <a:lnTo>
                    <a:pt x="3298" y="680"/>
                  </a:lnTo>
                  <a:lnTo>
                    <a:pt x="3298" y="744"/>
                  </a:lnTo>
                  <a:close/>
                  <a:moveTo>
                    <a:pt x="3298" y="856"/>
                  </a:moveTo>
                  <a:lnTo>
                    <a:pt x="3362" y="856"/>
                  </a:lnTo>
                  <a:lnTo>
                    <a:pt x="3362" y="792"/>
                  </a:lnTo>
                  <a:lnTo>
                    <a:pt x="3298" y="792"/>
                  </a:lnTo>
                  <a:lnTo>
                    <a:pt x="3298" y="856"/>
                  </a:lnTo>
                  <a:close/>
                  <a:moveTo>
                    <a:pt x="3298" y="969"/>
                  </a:moveTo>
                  <a:lnTo>
                    <a:pt x="3362" y="969"/>
                  </a:lnTo>
                  <a:lnTo>
                    <a:pt x="3362" y="905"/>
                  </a:lnTo>
                  <a:lnTo>
                    <a:pt x="3298" y="905"/>
                  </a:lnTo>
                  <a:lnTo>
                    <a:pt x="3298" y="969"/>
                  </a:lnTo>
                  <a:close/>
                  <a:moveTo>
                    <a:pt x="3298" y="1197"/>
                  </a:moveTo>
                  <a:lnTo>
                    <a:pt x="3362" y="1197"/>
                  </a:lnTo>
                  <a:lnTo>
                    <a:pt x="3362" y="1132"/>
                  </a:lnTo>
                  <a:lnTo>
                    <a:pt x="3298" y="1132"/>
                  </a:lnTo>
                  <a:lnTo>
                    <a:pt x="3298" y="1197"/>
                  </a:lnTo>
                  <a:close/>
                  <a:moveTo>
                    <a:pt x="3298" y="1308"/>
                  </a:moveTo>
                  <a:lnTo>
                    <a:pt x="3362" y="1308"/>
                  </a:lnTo>
                  <a:lnTo>
                    <a:pt x="3362" y="1244"/>
                  </a:lnTo>
                  <a:lnTo>
                    <a:pt x="3298" y="1244"/>
                  </a:lnTo>
                  <a:lnTo>
                    <a:pt x="3298" y="1308"/>
                  </a:lnTo>
                  <a:close/>
                  <a:moveTo>
                    <a:pt x="3298" y="1422"/>
                  </a:moveTo>
                  <a:lnTo>
                    <a:pt x="3362" y="1422"/>
                  </a:lnTo>
                  <a:lnTo>
                    <a:pt x="3362" y="1357"/>
                  </a:lnTo>
                  <a:lnTo>
                    <a:pt x="3298" y="1357"/>
                  </a:lnTo>
                  <a:lnTo>
                    <a:pt x="3298" y="1422"/>
                  </a:lnTo>
                  <a:close/>
                  <a:moveTo>
                    <a:pt x="3298" y="1536"/>
                  </a:moveTo>
                  <a:lnTo>
                    <a:pt x="3362" y="1536"/>
                  </a:lnTo>
                  <a:lnTo>
                    <a:pt x="3362" y="1471"/>
                  </a:lnTo>
                  <a:lnTo>
                    <a:pt x="3298" y="1471"/>
                  </a:lnTo>
                  <a:lnTo>
                    <a:pt x="3298" y="1536"/>
                  </a:lnTo>
                  <a:close/>
                  <a:moveTo>
                    <a:pt x="3298" y="1649"/>
                  </a:moveTo>
                  <a:lnTo>
                    <a:pt x="3362" y="1649"/>
                  </a:lnTo>
                  <a:lnTo>
                    <a:pt x="3362" y="1585"/>
                  </a:lnTo>
                  <a:lnTo>
                    <a:pt x="3298" y="1585"/>
                  </a:lnTo>
                  <a:lnTo>
                    <a:pt x="3298" y="1649"/>
                  </a:lnTo>
                  <a:close/>
                  <a:moveTo>
                    <a:pt x="3298" y="1766"/>
                  </a:moveTo>
                  <a:lnTo>
                    <a:pt x="3362" y="1766"/>
                  </a:lnTo>
                  <a:lnTo>
                    <a:pt x="3362" y="1701"/>
                  </a:lnTo>
                  <a:lnTo>
                    <a:pt x="3298" y="1701"/>
                  </a:lnTo>
                  <a:lnTo>
                    <a:pt x="3298" y="1766"/>
                  </a:lnTo>
                  <a:close/>
                  <a:moveTo>
                    <a:pt x="3298" y="1994"/>
                  </a:moveTo>
                  <a:lnTo>
                    <a:pt x="3362" y="1994"/>
                  </a:lnTo>
                  <a:lnTo>
                    <a:pt x="3362" y="1929"/>
                  </a:lnTo>
                  <a:lnTo>
                    <a:pt x="3298" y="1929"/>
                  </a:lnTo>
                  <a:lnTo>
                    <a:pt x="3298" y="1994"/>
                  </a:lnTo>
                  <a:close/>
                  <a:moveTo>
                    <a:pt x="3298" y="2105"/>
                  </a:moveTo>
                  <a:lnTo>
                    <a:pt x="3362" y="2105"/>
                  </a:lnTo>
                  <a:lnTo>
                    <a:pt x="3362" y="2040"/>
                  </a:lnTo>
                  <a:lnTo>
                    <a:pt x="3298" y="2040"/>
                  </a:lnTo>
                  <a:lnTo>
                    <a:pt x="3298" y="2105"/>
                  </a:lnTo>
                  <a:close/>
                  <a:moveTo>
                    <a:pt x="3298" y="2218"/>
                  </a:moveTo>
                  <a:lnTo>
                    <a:pt x="3362" y="2218"/>
                  </a:lnTo>
                  <a:lnTo>
                    <a:pt x="3362" y="2153"/>
                  </a:lnTo>
                  <a:lnTo>
                    <a:pt x="3298" y="2153"/>
                  </a:lnTo>
                  <a:lnTo>
                    <a:pt x="3298" y="2218"/>
                  </a:lnTo>
                  <a:close/>
                  <a:moveTo>
                    <a:pt x="3298" y="2332"/>
                  </a:moveTo>
                  <a:lnTo>
                    <a:pt x="3362" y="2332"/>
                  </a:lnTo>
                  <a:lnTo>
                    <a:pt x="3362" y="2268"/>
                  </a:lnTo>
                  <a:lnTo>
                    <a:pt x="3298" y="2268"/>
                  </a:lnTo>
                  <a:lnTo>
                    <a:pt x="3298" y="2332"/>
                  </a:lnTo>
                  <a:close/>
                  <a:moveTo>
                    <a:pt x="3298" y="2898"/>
                  </a:moveTo>
                  <a:lnTo>
                    <a:pt x="3362" y="2898"/>
                  </a:lnTo>
                  <a:lnTo>
                    <a:pt x="3362" y="2834"/>
                  </a:lnTo>
                  <a:lnTo>
                    <a:pt x="3298" y="2834"/>
                  </a:lnTo>
                  <a:lnTo>
                    <a:pt x="3298" y="2898"/>
                  </a:lnTo>
                  <a:close/>
                  <a:moveTo>
                    <a:pt x="3298" y="3009"/>
                  </a:moveTo>
                  <a:lnTo>
                    <a:pt x="3362" y="3009"/>
                  </a:lnTo>
                  <a:lnTo>
                    <a:pt x="3362" y="2945"/>
                  </a:lnTo>
                  <a:lnTo>
                    <a:pt x="3298" y="2945"/>
                  </a:lnTo>
                  <a:lnTo>
                    <a:pt x="3298" y="3009"/>
                  </a:lnTo>
                  <a:close/>
                  <a:moveTo>
                    <a:pt x="3298" y="3122"/>
                  </a:moveTo>
                  <a:lnTo>
                    <a:pt x="3362" y="3122"/>
                  </a:lnTo>
                  <a:lnTo>
                    <a:pt x="3362" y="3058"/>
                  </a:lnTo>
                  <a:lnTo>
                    <a:pt x="3298" y="3058"/>
                  </a:lnTo>
                  <a:lnTo>
                    <a:pt x="3298" y="3122"/>
                  </a:lnTo>
                  <a:close/>
                  <a:moveTo>
                    <a:pt x="3298" y="3237"/>
                  </a:moveTo>
                  <a:lnTo>
                    <a:pt x="3362" y="3237"/>
                  </a:lnTo>
                  <a:lnTo>
                    <a:pt x="3362" y="3172"/>
                  </a:lnTo>
                  <a:lnTo>
                    <a:pt x="3298" y="3172"/>
                  </a:lnTo>
                  <a:lnTo>
                    <a:pt x="3298" y="3237"/>
                  </a:lnTo>
                  <a:close/>
                  <a:moveTo>
                    <a:pt x="3298" y="3350"/>
                  </a:moveTo>
                  <a:lnTo>
                    <a:pt x="3362" y="3350"/>
                  </a:lnTo>
                  <a:lnTo>
                    <a:pt x="3362" y="3285"/>
                  </a:lnTo>
                  <a:lnTo>
                    <a:pt x="3298" y="3285"/>
                  </a:lnTo>
                  <a:lnTo>
                    <a:pt x="3298" y="3350"/>
                  </a:lnTo>
                  <a:close/>
                  <a:moveTo>
                    <a:pt x="3298" y="3463"/>
                  </a:moveTo>
                  <a:lnTo>
                    <a:pt x="3362" y="3463"/>
                  </a:lnTo>
                  <a:lnTo>
                    <a:pt x="3362" y="3399"/>
                  </a:lnTo>
                  <a:lnTo>
                    <a:pt x="3298" y="3399"/>
                  </a:lnTo>
                  <a:lnTo>
                    <a:pt x="3298" y="3463"/>
                  </a:lnTo>
                  <a:close/>
                  <a:moveTo>
                    <a:pt x="3298" y="3576"/>
                  </a:moveTo>
                  <a:lnTo>
                    <a:pt x="3362" y="3576"/>
                  </a:lnTo>
                  <a:lnTo>
                    <a:pt x="3362" y="3512"/>
                  </a:lnTo>
                  <a:lnTo>
                    <a:pt x="3298" y="3512"/>
                  </a:lnTo>
                  <a:lnTo>
                    <a:pt x="3298" y="3576"/>
                  </a:lnTo>
                  <a:close/>
                  <a:moveTo>
                    <a:pt x="3298" y="3691"/>
                  </a:moveTo>
                  <a:lnTo>
                    <a:pt x="3362" y="3691"/>
                  </a:lnTo>
                  <a:lnTo>
                    <a:pt x="3362" y="3626"/>
                  </a:lnTo>
                  <a:lnTo>
                    <a:pt x="3298" y="3626"/>
                  </a:lnTo>
                  <a:lnTo>
                    <a:pt x="3298" y="3691"/>
                  </a:lnTo>
                  <a:close/>
                  <a:moveTo>
                    <a:pt x="3298" y="3804"/>
                  </a:moveTo>
                  <a:lnTo>
                    <a:pt x="3362" y="3804"/>
                  </a:lnTo>
                  <a:lnTo>
                    <a:pt x="3362" y="3739"/>
                  </a:lnTo>
                  <a:lnTo>
                    <a:pt x="3298" y="3739"/>
                  </a:lnTo>
                  <a:lnTo>
                    <a:pt x="3298" y="3804"/>
                  </a:lnTo>
                  <a:close/>
                  <a:moveTo>
                    <a:pt x="3298" y="3915"/>
                  </a:moveTo>
                  <a:lnTo>
                    <a:pt x="3362" y="3915"/>
                  </a:lnTo>
                  <a:lnTo>
                    <a:pt x="3362" y="3850"/>
                  </a:lnTo>
                  <a:lnTo>
                    <a:pt x="3298" y="3850"/>
                  </a:lnTo>
                  <a:lnTo>
                    <a:pt x="3298" y="3915"/>
                  </a:lnTo>
                  <a:close/>
                  <a:moveTo>
                    <a:pt x="3298" y="4028"/>
                  </a:moveTo>
                  <a:lnTo>
                    <a:pt x="3362" y="4028"/>
                  </a:lnTo>
                  <a:lnTo>
                    <a:pt x="3362" y="3964"/>
                  </a:lnTo>
                  <a:lnTo>
                    <a:pt x="3298" y="3964"/>
                  </a:lnTo>
                  <a:lnTo>
                    <a:pt x="3298" y="4028"/>
                  </a:lnTo>
                  <a:close/>
                  <a:moveTo>
                    <a:pt x="3298" y="4368"/>
                  </a:moveTo>
                  <a:lnTo>
                    <a:pt x="3362" y="4368"/>
                  </a:lnTo>
                  <a:lnTo>
                    <a:pt x="3362" y="4303"/>
                  </a:lnTo>
                  <a:lnTo>
                    <a:pt x="3298" y="4303"/>
                  </a:lnTo>
                  <a:lnTo>
                    <a:pt x="3298" y="4368"/>
                  </a:lnTo>
                  <a:close/>
                  <a:moveTo>
                    <a:pt x="3298" y="4481"/>
                  </a:moveTo>
                  <a:lnTo>
                    <a:pt x="3362" y="4481"/>
                  </a:lnTo>
                  <a:lnTo>
                    <a:pt x="3362" y="4417"/>
                  </a:lnTo>
                  <a:lnTo>
                    <a:pt x="3298" y="4417"/>
                  </a:lnTo>
                  <a:lnTo>
                    <a:pt x="3298" y="4481"/>
                  </a:lnTo>
                  <a:close/>
                  <a:moveTo>
                    <a:pt x="3298" y="4595"/>
                  </a:moveTo>
                  <a:lnTo>
                    <a:pt x="3362" y="4595"/>
                  </a:lnTo>
                  <a:lnTo>
                    <a:pt x="3362" y="4531"/>
                  </a:lnTo>
                  <a:lnTo>
                    <a:pt x="3298" y="4531"/>
                  </a:lnTo>
                  <a:lnTo>
                    <a:pt x="3298" y="4595"/>
                  </a:lnTo>
                  <a:close/>
                  <a:moveTo>
                    <a:pt x="3298" y="4708"/>
                  </a:moveTo>
                  <a:lnTo>
                    <a:pt x="3362" y="4708"/>
                  </a:lnTo>
                  <a:lnTo>
                    <a:pt x="3362" y="4644"/>
                  </a:lnTo>
                  <a:lnTo>
                    <a:pt x="3298" y="4644"/>
                  </a:lnTo>
                  <a:lnTo>
                    <a:pt x="3298" y="4708"/>
                  </a:lnTo>
                  <a:close/>
                  <a:moveTo>
                    <a:pt x="3413" y="65"/>
                  </a:moveTo>
                  <a:lnTo>
                    <a:pt x="3477" y="65"/>
                  </a:lnTo>
                  <a:lnTo>
                    <a:pt x="3477" y="0"/>
                  </a:lnTo>
                  <a:lnTo>
                    <a:pt x="3413" y="0"/>
                  </a:lnTo>
                  <a:lnTo>
                    <a:pt x="3413" y="65"/>
                  </a:lnTo>
                  <a:close/>
                  <a:moveTo>
                    <a:pt x="3413" y="179"/>
                  </a:moveTo>
                  <a:lnTo>
                    <a:pt x="3477" y="179"/>
                  </a:lnTo>
                  <a:lnTo>
                    <a:pt x="3477" y="115"/>
                  </a:lnTo>
                  <a:lnTo>
                    <a:pt x="3413" y="115"/>
                  </a:lnTo>
                  <a:lnTo>
                    <a:pt x="3413" y="179"/>
                  </a:lnTo>
                  <a:close/>
                  <a:moveTo>
                    <a:pt x="3413" y="292"/>
                  </a:moveTo>
                  <a:lnTo>
                    <a:pt x="3477" y="292"/>
                  </a:lnTo>
                  <a:lnTo>
                    <a:pt x="3477" y="228"/>
                  </a:lnTo>
                  <a:lnTo>
                    <a:pt x="3413" y="228"/>
                  </a:lnTo>
                  <a:lnTo>
                    <a:pt x="3413" y="292"/>
                  </a:lnTo>
                  <a:close/>
                  <a:moveTo>
                    <a:pt x="3413" y="403"/>
                  </a:moveTo>
                  <a:lnTo>
                    <a:pt x="3477" y="403"/>
                  </a:lnTo>
                  <a:lnTo>
                    <a:pt x="3477" y="339"/>
                  </a:lnTo>
                  <a:lnTo>
                    <a:pt x="3413" y="339"/>
                  </a:lnTo>
                  <a:lnTo>
                    <a:pt x="3413" y="403"/>
                  </a:lnTo>
                  <a:close/>
                  <a:moveTo>
                    <a:pt x="3413" y="517"/>
                  </a:moveTo>
                  <a:lnTo>
                    <a:pt x="3477" y="517"/>
                  </a:lnTo>
                  <a:lnTo>
                    <a:pt x="3477" y="452"/>
                  </a:lnTo>
                  <a:lnTo>
                    <a:pt x="3413" y="452"/>
                  </a:lnTo>
                  <a:lnTo>
                    <a:pt x="3413" y="517"/>
                  </a:lnTo>
                  <a:close/>
                  <a:moveTo>
                    <a:pt x="3413" y="631"/>
                  </a:moveTo>
                  <a:lnTo>
                    <a:pt x="3477" y="631"/>
                  </a:lnTo>
                  <a:lnTo>
                    <a:pt x="3477" y="566"/>
                  </a:lnTo>
                  <a:lnTo>
                    <a:pt x="3413" y="566"/>
                  </a:lnTo>
                  <a:lnTo>
                    <a:pt x="3413" y="631"/>
                  </a:lnTo>
                  <a:close/>
                  <a:moveTo>
                    <a:pt x="3413" y="744"/>
                  </a:moveTo>
                  <a:lnTo>
                    <a:pt x="3477" y="744"/>
                  </a:lnTo>
                  <a:lnTo>
                    <a:pt x="3477" y="680"/>
                  </a:lnTo>
                  <a:lnTo>
                    <a:pt x="3413" y="680"/>
                  </a:lnTo>
                  <a:lnTo>
                    <a:pt x="3413" y="744"/>
                  </a:lnTo>
                  <a:close/>
                  <a:moveTo>
                    <a:pt x="3413" y="856"/>
                  </a:moveTo>
                  <a:lnTo>
                    <a:pt x="3477" y="856"/>
                  </a:lnTo>
                  <a:lnTo>
                    <a:pt x="3477" y="792"/>
                  </a:lnTo>
                  <a:lnTo>
                    <a:pt x="3413" y="792"/>
                  </a:lnTo>
                  <a:lnTo>
                    <a:pt x="3413" y="856"/>
                  </a:lnTo>
                  <a:close/>
                  <a:moveTo>
                    <a:pt x="3413" y="969"/>
                  </a:moveTo>
                  <a:lnTo>
                    <a:pt x="3477" y="969"/>
                  </a:lnTo>
                  <a:lnTo>
                    <a:pt x="3477" y="905"/>
                  </a:lnTo>
                  <a:lnTo>
                    <a:pt x="3413" y="905"/>
                  </a:lnTo>
                  <a:lnTo>
                    <a:pt x="3413" y="969"/>
                  </a:lnTo>
                  <a:close/>
                  <a:moveTo>
                    <a:pt x="3413" y="1084"/>
                  </a:moveTo>
                  <a:lnTo>
                    <a:pt x="3477" y="1084"/>
                  </a:lnTo>
                  <a:lnTo>
                    <a:pt x="3477" y="1019"/>
                  </a:lnTo>
                  <a:lnTo>
                    <a:pt x="3413" y="1019"/>
                  </a:lnTo>
                  <a:lnTo>
                    <a:pt x="3413" y="1084"/>
                  </a:lnTo>
                  <a:close/>
                  <a:moveTo>
                    <a:pt x="3413" y="1197"/>
                  </a:moveTo>
                  <a:lnTo>
                    <a:pt x="3477" y="1197"/>
                  </a:lnTo>
                  <a:lnTo>
                    <a:pt x="3477" y="1132"/>
                  </a:lnTo>
                  <a:lnTo>
                    <a:pt x="3413" y="1132"/>
                  </a:lnTo>
                  <a:lnTo>
                    <a:pt x="3413" y="1197"/>
                  </a:lnTo>
                  <a:close/>
                  <a:moveTo>
                    <a:pt x="3413" y="1308"/>
                  </a:moveTo>
                  <a:lnTo>
                    <a:pt x="3477" y="1308"/>
                  </a:lnTo>
                  <a:lnTo>
                    <a:pt x="3477" y="1244"/>
                  </a:lnTo>
                  <a:lnTo>
                    <a:pt x="3413" y="1244"/>
                  </a:lnTo>
                  <a:lnTo>
                    <a:pt x="3413" y="1308"/>
                  </a:lnTo>
                  <a:close/>
                  <a:moveTo>
                    <a:pt x="3413" y="1422"/>
                  </a:moveTo>
                  <a:lnTo>
                    <a:pt x="3477" y="1422"/>
                  </a:lnTo>
                  <a:lnTo>
                    <a:pt x="3477" y="1357"/>
                  </a:lnTo>
                  <a:lnTo>
                    <a:pt x="3413" y="1357"/>
                  </a:lnTo>
                  <a:lnTo>
                    <a:pt x="3413" y="1422"/>
                  </a:lnTo>
                  <a:close/>
                  <a:moveTo>
                    <a:pt x="3413" y="1536"/>
                  </a:moveTo>
                  <a:lnTo>
                    <a:pt x="3477" y="1536"/>
                  </a:lnTo>
                  <a:lnTo>
                    <a:pt x="3477" y="1471"/>
                  </a:lnTo>
                  <a:lnTo>
                    <a:pt x="3413" y="1471"/>
                  </a:lnTo>
                  <a:lnTo>
                    <a:pt x="3413" y="1536"/>
                  </a:lnTo>
                  <a:close/>
                  <a:moveTo>
                    <a:pt x="3413" y="1649"/>
                  </a:moveTo>
                  <a:lnTo>
                    <a:pt x="3477" y="1649"/>
                  </a:lnTo>
                  <a:lnTo>
                    <a:pt x="3477" y="1585"/>
                  </a:lnTo>
                  <a:lnTo>
                    <a:pt x="3413" y="1585"/>
                  </a:lnTo>
                  <a:lnTo>
                    <a:pt x="3413" y="1649"/>
                  </a:lnTo>
                  <a:close/>
                  <a:moveTo>
                    <a:pt x="3413" y="1766"/>
                  </a:moveTo>
                  <a:lnTo>
                    <a:pt x="3477" y="1766"/>
                  </a:lnTo>
                  <a:lnTo>
                    <a:pt x="3477" y="1701"/>
                  </a:lnTo>
                  <a:lnTo>
                    <a:pt x="3413" y="1701"/>
                  </a:lnTo>
                  <a:lnTo>
                    <a:pt x="3413" y="1766"/>
                  </a:lnTo>
                  <a:close/>
                  <a:moveTo>
                    <a:pt x="3413" y="1880"/>
                  </a:moveTo>
                  <a:lnTo>
                    <a:pt x="3477" y="1880"/>
                  </a:lnTo>
                  <a:lnTo>
                    <a:pt x="3477" y="1816"/>
                  </a:lnTo>
                  <a:lnTo>
                    <a:pt x="3413" y="1816"/>
                  </a:lnTo>
                  <a:lnTo>
                    <a:pt x="3413" y="1880"/>
                  </a:lnTo>
                  <a:close/>
                  <a:moveTo>
                    <a:pt x="3413" y="1994"/>
                  </a:moveTo>
                  <a:lnTo>
                    <a:pt x="3477" y="1994"/>
                  </a:lnTo>
                  <a:lnTo>
                    <a:pt x="3477" y="1929"/>
                  </a:lnTo>
                  <a:lnTo>
                    <a:pt x="3413" y="1929"/>
                  </a:lnTo>
                  <a:lnTo>
                    <a:pt x="3413" y="1994"/>
                  </a:lnTo>
                  <a:close/>
                  <a:moveTo>
                    <a:pt x="3413" y="2105"/>
                  </a:moveTo>
                  <a:lnTo>
                    <a:pt x="3477" y="2105"/>
                  </a:lnTo>
                  <a:lnTo>
                    <a:pt x="3477" y="2040"/>
                  </a:lnTo>
                  <a:lnTo>
                    <a:pt x="3413" y="2040"/>
                  </a:lnTo>
                  <a:lnTo>
                    <a:pt x="3413" y="2105"/>
                  </a:lnTo>
                  <a:close/>
                  <a:moveTo>
                    <a:pt x="3413" y="2332"/>
                  </a:moveTo>
                  <a:lnTo>
                    <a:pt x="3477" y="2332"/>
                  </a:lnTo>
                  <a:lnTo>
                    <a:pt x="3477" y="2268"/>
                  </a:lnTo>
                  <a:lnTo>
                    <a:pt x="3413" y="2268"/>
                  </a:lnTo>
                  <a:lnTo>
                    <a:pt x="3413" y="2332"/>
                  </a:lnTo>
                  <a:close/>
                  <a:moveTo>
                    <a:pt x="3413" y="2445"/>
                  </a:moveTo>
                  <a:lnTo>
                    <a:pt x="3477" y="2445"/>
                  </a:lnTo>
                  <a:lnTo>
                    <a:pt x="3477" y="2381"/>
                  </a:lnTo>
                  <a:lnTo>
                    <a:pt x="3413" y="2381"/>
                  </a:lnTo>
                  <a:lnTo>
                    <a:pt x="3413" y="2445"/>
                  </a:lnTo>
                  <a:close/>
                  <a:moveTo>
                    <a:pt x="3413" y="3009"/>
                  </a:moveTo>
                  <a:lnTo>
                    <a:pt x="3477" y="3009"/>
                  </a:lnTo>
                  <a:lnTo>
                    <a:pt x="3477" y="2945"/>
                  </a:lnTo>
                  <a:lnTo>
                    <a:pt x="3413" y="2945"/>
                  </a:lnTo>
                  <a:lnTo>
                    <a:pt x="3413" y="3009"/>
                  </a:lnTo>
                  <a:close/>
                  <a:moveTo>
                    <a:pt x="3413" y="3122"/>
                  </a:moveTo>
                  <a:lnTo>
                    <a:pt x="3477" y="3122"/>
                  </a:lnTo>
                  <a:lnTo>
                    <a:pt x="3477" y="3058"/>
                  </a:lnTo>
                  <a:lnTo>
                    <a:pt x="3413" y="3058"/>
                  </a:lnTo>
                  <a:lnTo>
                    <a:pt x="3413" y="3122"/>
                  </a:lnTo>
                  <a:close/>
                  <a:moveTo>
                    <a:pt x="3413" y="3237"/>
                  </a:moveTo>
                  <a:lnTo>
                    <a:pt x="3477" y="3237"/>
                  </a:lnTo>
                  <a:lnTo>
                    <a:pt x="3477" y="3172"/>
                  </a:lnTo>
                  <a:lnTo>
                    <a:pt x="3413" y="3172"/>
                  </a:lnTo>
                  <a:lnTo>
                    <a:pt x="3413" y="3237"/>
                  </a:lnTo>
                  <a:close/>
                  <a:moveTo>
                    <a:pt x="3413" y="3350"/>
                  </a:moveTo>
                  <a:lnTo>
                    <a:pt x="3477" y="3350"/>
                  </a:lnTo>
                  <a:lnTo>
                    <a:pt x="3477" y="3285"/>
                  </a:lnTo>
                  <a:lnTo>
                    <a:pt x="3413" y="3285"/>
                  </a:lnTo>
                  <a:lnTo>
                    <a:pt x="3413" y="3350"/>
                  </a:lnTo>
                  <a:close/>
                  <a:moveTo>
                    <a:pt x="3413" y="3463"/>
                  </a:moveTo>
                  <a:lnTo>
                    <a:pt x="3477" y="3463"/>
                  </a:lnTo>
                  <a:lnTo>
                    <a:pt x="3477" y="3399"/>
                  </a:lnTo>
                  <a:lnTo>
                    <a:pt x="3413" y="3399"/>
                  </a:lnTo>
                  <a:lnTo>
                    <a:pt x="3413" y="3463"/>
                  </a:lnTo>
                  <a:close/>
                  <a:moveTo>
                    <a:pt x="3413" y="3576"/>
                  </a:moveTo>
                  <a:lnTo>
                    <a:pt x="3477" y="3576"/>
                  </a:lnTo>
                  <a:lnTo>
                    <a:pt x="3477" y="3512"/>
                  </a:lnTo>
                  <a:lnTo>
                    <a:pt x="3413" y="3512"/>
                  </a:lnTo>
                  <a:lnTo>
                    <a:pt x="3413" y="3576"/>
                  </a:lnTo>
                  <a:close/>
                  <a:moveTo>
                    <a:pt x="3413" y="3691"/>
                  </a:moveTo>
                  <a:lnTo>
                    <a:pt x="3477" y="3691"/>
                  </a:lnTo>
                  <a:lnTo>
                    <a:pt x="3477" y="3626"/>
                  </a:lnTo>
                  <a:lnTo>
                    <a:pt x="3413" y="3626"/>
                  </a:lnTo>
                  <a:lnTo>
                    <a:pt x="3413" y="3691"/>
                  </a:lnTo>
                  <a:close/>
                  <a:moveTo>
                    <a:pt x="3413" y="3804"/>
                  </a:moveTo>
                  <a:lnTo>
                    <a:pt x="3477" y="3804"/>
                  </a:lnTo>
                  <a:lnTo>
                    <a:pt x="3477" y="3739"/>
                  </a:lnTo>
                  <a:lnTo>
                    <a:pt x="3413" y="3739"/>
                  </a:lnTo>
                  <a:lnTo>
                    <a:pt x="3413" y="3804"/>
                  </a:lnTo>
                  <a:close/>
                  <a:moveTo>
                    <a:pt x="3413" y="3915"/>
                  </a:moveTo>
                  <a:lnTo>
                    <a:pt x="3477" y="3915"/>
                  </a:lnTo>
                  <a:lnTo>
                    <a:pt x="3477" y="3850"/>
                  </a:lnTo>
                  <a:lnTo>
                    <a:pt x="3413" y="3850"/>
                  </a:lnTo>
                  <a:lnTo>
                    <a:pt x="3413" y="3915"/>
                  </a:lnTo>
                  <a:close/>
                  <a:moveTo>
                    <a:pt x="3413" y="4028"/>
                  </a:moveTo>
                  <a:lnTo>
                    <a:pt x="3477" y="4028"/>
                  </a:lnTo>
                  <a:lnTo>
                    <a:pt x="3477" y="3964"/>
                  </a:lnTo>
                  <a:lnTo>
                    <a:pt x="3413" y="3964"/>
                  </a:lnTo>
                  <a:lnTo>
                    <a:pt x="3413" y="4028"/>
                  </a:lnTo>
                  <a:close/>
                  <a:moveTo>
                    <a:pt x="3413" y="4142"/>
                  </a:moveTo>
                  <a:lnTo>
                    <a:pt x="3477" y="4142"/>
                  </a:lnTo>
                  <a:lnTo>
                    <a:pt x="3477" y="4078"/>
                  </a:lnTo>
                  <a:lnTo>
                    <a:pt x="3413" y="4078"/>
                  </a:lnTo>
                  <a:lnTo>
                    <a:pt x="3413" y="4142"/>
                  </a:lnTo>
                  <a:close/>
                  <a:moveTo>
                    <a:pt x="3413" y="4368"/>
                  </a:moveTo>
                  <a:lnTo>
                    <a:pt x="3477" y="4368"/>
                  </a:lnTo>
                  <a:lnTo>
                    <a:pt x="3477" y="4303"/>
                  </a:lnTo>
                  <a:lnTo>
                    <a:pt x="3413" y="4303"/>
                  </a:lnTo>
                  <a:lnTo>
                    <a:pt x="3413" y="4368"/>
                  </a:lnTo>
                  <a:close/>
                  <a:moveTo>
                    <a:pt x="3413" y="4819"/>
                  </a:moveTo>
                  <a:lnTo>
                    <a:pt x="3477" y="4819"/>
                  </a:lnTo>
                  <a:lnTo>
                    <a:pt x="3477" y="4755"/>
                  </a:lnTo>
                  <a:lnTo>
                    <a:pt x="3413" y="4755"/>
                  </a:lnTo>
                  <a:lnTo>
                    <a:pt x="3413" y="4819"/>
                  </a:lnTo>
                  <a:close/>
                  <a:moveTo>
                    <a:pt x="3524" y="65"/>
                  </a:moveTo>
                  <a:lnTo>
                    <a:pt x="3589" y="65"/>
                  </a:lnTo>
                  <a:lnTo>
                    <a:pt x="3589" y="0"/>
                  </a:lnTo>
                  <a:lnTo>
                    <a:pt x="3524" y="0"/>
                  </a:lnTo>
                  <a:lnTo>
                    <a:pt x="3524" y="65"/>
                  </a:lnTo>
                  <a:close/>
                  <a:moveTo>
                    <a:pt x="3524" y="179"/>
                  </a:moveTo>
                  <a:lnTo>
                    <a:pt x="3589" y="179"/>
                  </a:lnTo>
                  <a:lnTo>
                    <a:pt x="3589" y="115"/>
                  </a:lnTo>
                  <a:lnTo>
                    <a:pt x="3524" y="115"/>
                  </a:lnTo>
                  <a:lnTo>
                    <a:pt x="3524" y="179"/>
                  </a:lnTo>
                  <a:close/>
                  <a:moveTo>
                    <a:pt x="3524" y="292"/>
                  </a:moveTo>
                  <a:lnTo>
                    <a:pt x="3589" y="292"/>
                  </a:lnTo>
                  <a:lnTo>
                    <a:pt x="3589" y="228"/>
                  </a:lnTo>
                  <a:lnTo>
                    <a:pt x="3524" y="228"/>
                  </a:lnTo>
                  <a:lnTo>
                    <a:pt x="3524" y="292"/>
                  </a:lnTo>
                  <a:close/>
                  <a:moveTo>
                    <a:pt x="3524" y="403"/>
                  </a:moveTo>
                  <a:lnTo>
                    <a:pt x="3589" y="403"/>
                  </a:lnTo>
                  <a:lnTo>
                    <a:pt x="3589" y="339"/>
                  </a:lnTo>
                  <a:lnTo>
                    <a:pt x="3524" y="339"/>
                  </a:lnTo>
                  <a:lnTo>
                    <a:pt x="3524" y="403"/>
                  </a:lnTo>
                  <a:close/>
                  <a:moveTo>
                    <a:pt x="3524" y="517"/>
                  </a:moveTo>
                  <a:lnTo>
                    <a:pt x="3589" y="517"/>
                  </a:lnTo>
                  <a:lnTo>
                    <a:pt x="3589" y="452"/>
                  </a:lnTo>
                  <a:lnTo>
                    <a:pt x="3524" y="452"/>
                  </a:lnTo>
                  <a:lnTo>
                    <a:pt x="3524" y="517"/>
                  </a:lnTo>
                  <a:close/>
                  <a:moveTo>
                    <a:pt x="3524" y="631"/>
                  </a:moveTo>
                  <a:lnTo>
                    <a:pt x="3589" y="631"/>
                  </a:lnTo>
                  <a:lnTo>
                    <a:pt x="3589" y="566"/>
                  </a:lnTo>
                  <a:lnTo>
                    <a:pt x="3524" y="566"/>
                  </a:lnTo>
                  <a:lnTo>
                    <a:pt x="3524" y="631"/>
                  </a:lnTo>
                  <a:close/>
                  <a:moveTo>
                    <a:pt x="3524" y="744"/>
                  </a:moveTo>
                  <a:lnTo>
                    <a:pt x="3589" y="744"/>
                  </a:lnTo>
                  <a:lnTo>
                    <a:pt x="3589" y="680"/>
                  </a:lnTo>
                  <a:lnTo>
                    <a:pt x="3524" y="680"/>
                  </a:lnTo>
                  <a:lnTo>
                    <a:pt x="3524" y="744"/>
                  </a:lnTo>
                  <a:close/>
                  <a:moveTo>
                    <a:pt x="3524" y="856"/>
                  </a:moveTo>
                  <a:lnTo>
                    <a:pt x="3589" y="856"/>
                  </a:lnTo>
                  <a:lnTo>
                    <a:pt x="3589" y="792"/>
                  </a:lnTo>
                  <a:lnTo>
                    <a:pt x="3524" y="792"/>
                  </a:lnTo>
                  <a:lnTo>
                    <a:pt x="3524" y="856"/>
                  </a:lnTo>
                  <a:close/>
                  <a:moveTo>
                    <a:pt x="3524" y="969"/>
                  </a:moveTo>
                  <a:lnTo>
                    <a:pt x="3589" y="969"/>
                  </a:lnTo>
                  <a:lnTo>
                    <a:pt x="3589" y="905"/>
                  </a:lnTo>
                  <a:lnTo>
                    <a:pt x="3524" y="905"/>
                  </a:lnTo>
                  <a:lnTo>
                    <a:pt x="3524" y="969"/>
                  </a:lnTo>
                  <a:close/>
                  <a:moveTo>
                    <a:pt x="3524" y="1084"/>
                  </a:moveTo>
                  <a:lnTo>
                    <a:pt x="3589" y="1084"/>
                  </a:lnTo>
                  <a:lnTo>
                    <a:pt x="3589" y="1019"/>
                  </a:lnTo>
                  <a:lnTo>
                    <a:pt x="3524" y="1019"/>
                  </a:lnTo>
                  <a:lnTo>
                    <a:pt x="3524" y="1084"/>
                  </a:lnTo>
                  <a:close/>
                  <a:moveTo>
                    <a:pt x="3524" y="1308"/>
                  </a:moveTo>
                  <a:lnTo>
                    <a:pt x="3589" y="1308"/>
                  </a:lnTo>
                  <a:lnTo>
                    <a:pt x="3589" y="1244"/>
                  </a:lnTo>
                  <a:lnTo>
                    <a:pt x="3524" y="1244"/>
                  </a:lnTo>
                  <a:lnTo>
                    <a:pt x="3524" y="1308"/>
                  </a:lnTo>
                  <a:close/>
                  <a:moveTo>
                    <a:pt x="3524" y="1422"/>
                  </a:moveTo>
                  <a:lnTo>
                    <a:pt x="3589" y="1422"/>
                  </a:lnTo>
                  <a:lnTo>
                    <a:pt x="3589" y="1357"/>
                  </a:lnTo>
                  <a:lnTo>
                    <a:pt x="3524" y="1357"/>
                  </a:lnTo>
                  <a:lnTo>
                    <a:pt x="3524" y="1422"/>
                  </a:lnTo>
                  <a:close/>
                  <a:moveTo>
                    <a:pt x="3524" y="1536"/>
                  </a:moveTo>
                  <a:lnTo>
                    <a:pt x="3589" y="1536"/>
                  </a:lnTo>
                  <a:lnTo>
                    <a:pt x="3589" y="1471"/>
                  </a:lnTo>
                  <a:lnTo>
                    <a:pt x="3524" y="1471"/>
                  </a:lnTo>
                  <a:lnTo>
                    <a:pt x="3524" y="1536"/>
                  </a:lnTo>
                  <a:close/>
                  <a:moveTo>
                    <a:pt x="3524" y="1649"/>
                  </a:moveTo>
                  <a:lnTo>
                    <a:pt x="3589" y="1649"/>
                  </a:lnTo>
                  <a:lnTo>
                    <a:pt x="3589" y="1585"/>
                  </a:lnTo>
                  <a:lnTo>
                    <a:pt x="3524" y="1585"/>
                  </a:lnTo>
                  <a:lnTo>
                    <a:pt x="3524" y="1649"/>
                  </a:lnTo>
                  <a:close/>
                  <a:moveTo>
                    <a:pt x="3524" y="1766"/>
                  </a:moveTo>
                  <a:lnTo>
                    <a:pt x="3589" y="1766"/>
                  </a:lnTo>
                  <a:lnTo>
                    <a:pt x="3589" y="1701"/>
                  </a:lnTo>
                  <a:lnTo>
                    <a:pt x="3524" y="1701"/>
                  </a:lnTo>
                  <a:lnTo>
                    <a:pt x="3524" y="1766"/>
                  </a:lnTo>
                  <a:close/>
                  <a:moveTo>
                    <a:pt x="3524" y="2445"/>
                  </a:moveTo>
                  <a:lnTo>
                    <a:pt x="3589" y="2445"/>
                  </a:lnTo>
                  <a:lnTo>
                    <a:pt x="3589" y="2381"/>
                  </a:lnTo>
                  <a:lnTo>
                    <a:pt x="3524" y="2381"/>
                  </a:lnTo>
                  <a:lnTo>
                    <a:pt x="3524" y="2445"/>
                  </a:lnTo>
                  <a:close/>
                  <a:moveTo>
                    <a:pt x="3524" y="2557"/>
                  </a:moveTo>
                  <a:lnTo>
                    <a:pt x="3589" y="2557"/>
                  </a:lnTo>
                  <a:lnTo>
                    <a:pt x="3589" y="2493"/>
                  </a:lnTo>
                  <a:lnTo>
                    <a:pt x="3524" y="2493"/>
                  </a:lnTo>
                  <a:lnTo>
                    <a:pt x="3524" y="2557"/>
                  </a:lnTo>
                  <a:close/>
                  <a:moveTo>
                    <a:pt x="3524" y="3122"/>
                  </a:moveTo>
                  <a:lnTo>
                    <a:pt x="3589" y="3122"/>
                  </a:lnTo>
                  <a:lnTo>
                    <a:pt x="3589" y="3058"/>
                  </a:lnTo>
                  <a:lnTo>
                    <a:pt x="3524" y="3058"/>
                  </a:lnTo>
                  <a:lnTo>
                    <a:pt x="3524" y="3122"/>
                  </a:lnTo>
                  <a:close/>
                  <a:moveTo>
                    <a:pt x="3524" y="3237"/>
                  </a:moveTo>
                  <a:lnTo>
                    <a:pt x="3589" y="3237"/>
                  </a:lnTo>
                  <a:lnTo>
                    <a:pt x="3589" y="3172"/>
                  </a:lnTo>
                  <a:lnTo>
                    <a:pt x="3524" y="3172"/>
                  </a:lnTo>
                  <a:lnTo>
                    <a:pt x="3524" y="3237"/>
                  </a:lnTo>
                  <a:close/>
                  <a:moveTo>
                    <a:pt x="3524" y="3350"/>
                  </a:moveTo>
                  <a:lnTo>
                    <a:pt x="3589" y="3350"/>
                  </a:lnTo>
                  <a:lnTo>
                    <a:pt x="3589" y="3285"/>
                  </a:lnTo>
                  <a:lnTo>
                    <a:pt x="3524" y="3285"/>
                  </a:lnTo>
                  <a:lnTo>
                    <a:pt x="3524" y="3350"/>
                  </a:lnTo>
                  <a:close/>
                  <a:moveTo>
                    <a:pt x="3524" y="3463"/>
                  </a:moveTo>
                  <a:lnTo>
                    <a:pt x="3589" y="3463"/>
                  </a:lnTo>
                  <a:lnTo>
                    <a:pt x="3589" y="3399"/>
                  </a:lnTo>
                  <a:lnTo>
                    <a:pt x="3524" y="3399"/>
                  </a:lnTo>
                  <a:lnTo>
                    <a:pt x="3524" y="3463"/>
                  </a:lnTo>
                  <a:close/>
                  <a:moveTo>
                    <a:pt x="3524" y="3576"/>
                  </a:moveTo>
                  <a:lnTo>
                    <a:pt x="3589" y="3576"/>
                  </a:lnTo>
                  <a:lnTo>
                    <a:pt x="3589" y="3512"/>
                  </a:lnTo>
                  <a:lnTo>
                    <a:pt x="3524" y="3512"/>
                  </a:lnTo>
                  <a:lnTo>
                    <a:pt x="3524" y="3576"/>
                  </a:lnTo>
                  <a:close/>
                  <a:moveTo>
                    <a:pt x="3524" y="3691"/>
                  </a:moveTo>
                  <a:lnTo>
                    <a:pt x="3589" y="3691"/>
                  </a:lnTo>
                  <a:lnTo>
                    <a:pt x="3589" y="3626"/>
                  </a:lnTo>
                  <a:lnTo>
                    <a:pt x="3524" y="3626"/>
                  </a:lnTo>
                  <a:lnTo>
                    <a:pt x="3524" y="3691"/>
                  </a:lnTo>
                  <a:close/>
                  <a:moveTo>
                    <a:pt x="3524" y="3804"/>
                  </a:moveTo>
                  <a:lnTo>
                    <a:pt x="3589" y="3804"/>
                  </a:lnTo>
                  <a:lnTo>
                    <a:pt x="3589" y="3739"/>
                  </a:lnTo>
                  <a:lnTo>
                    <a:pt x="3524" y="3739"/>
                  </a:lnTo>
                  <a:lnTo>
                    <a:pt x="3524" y="3804"/>
                  </a:lnTo>
                  <a:close/>
                  <a:moveTo>
                    <a:pt x="3524" y="3915"/>
                  </a:moveTo>
                  <a:lnTo>
                    <a:pt x="3589" y="3915"/>
                  </a:lnTo>
                  <a:lnTo>
                    <a:pt x="3589" y="3850"/>
                  </a:lnTo>
                  <a:lnTo>
                    <a:pt x="3524" y="3850"/>
                  </a:lnTo>
                  <a:lnTo>
                    <a:pt x="3524" y="3915"/>
                  </a:lnTo>
                  <a:close/>
                  <a:moveTo>
                    <a:pt x="3524" y="4255"/>
                  </a:moveTo>
                  <a:lnTo>
                    <a:pt x="3589" y="4255"/>
                  </a:lnTo>
                  <a:lnTo>
                    <a:pt x="3589" y="4191"/>
                  </a:lnTo>
                  <a:lnTo>
                    <a:pt x="3524" y="4191"/>
                  </a:lnTo>
                  <a:lnTo>
                    <a:pt x="3524" y="4255"/>
                  </a:lnTo>
                  <a:close/>
                  <a:moveTo>
                    <a:pt x="3524" y="4368"/>
                  </a:moveTo>
                  <a:lnTo>
                    <a:pt x="3589" y="4368"/>
                  </a:lnTo>
                  <a:lnTo>
                    <a:pt x="3589" y="4303"/>
                  </a:lnTo>
                  <a:lnTo>
                    <a:pt x="3524" y="4303"/>
                  </a:lnTo>
                  <a:lnTo>
                    <a:pt x="3524" y="4368"/>
                  </a:lnTo>
                  <a:close/>
                  <a:moveTo>
                    <a:pt x="3524" y="4819"/>
                  </a:moveTo>
                  <a:lnTo>
                    <a:pt x="3589" y="4819"/>
                  </a:lnTo>
                  <a:lnTo>
                    <a:pt x="3589" y="4755"/>
                  </a:lnTo>
                  <a:lnTo>
                    <a:pt x="3524" y="4755"/>
                  </a:lnTo>
                  <a:lnTo>
                    <a:pt x="3524" y="4819"/>
                  </a:lnTo>
                  <a:close/>
                  <a:moveTo>
                    <a:pt x="3524" y="5047"/>
                  </a:moveTo>
                  <a:lnTo>
                    <a:pt x="3589" y="5047"/>
                  </a:lnTo>
                  <a:lnTo>
                    <a:pt x="3589" y="4982"/>
                  </a:lnTo>
                  <a:lnTo>
                    <a:pt x="3524" y="4982"/>
                  </a:lnTo>
                  <a:lnTo>
                    <a:pt x="3524" y="5047"/>
                  </a:lnTo>
                  <a:close/>
                  <a:moveTo>
                    <a:pt x="3524" y="5160"/>
                  </a:moveTo>
                  <a:lnTo>
                    <a:pt x="3589" y="5160"/>
                  </a:lnTo>
                  <a:lnTo>
                    <a:pt x="3589" y="5096"/>
                  </a:lnTo>
                  <a:lnTo>
                    <a:pt x="3524" y="5096"/>
                  </a:lnTo>
                  <a:lnTo>
                    <a:pt x="3524" y="5160"/>
                  </a:lnTo>
                  <a:close/>
                  <a:moveTo>
                    <a:pt x="3524" y="5271"/>
                  </a:moveTo>
                  <a:lnTo>
                    <a:pt x="3589" y="5271"/>
                  </a:lnTo>
                  <a:lnTo>
                    <a:pt x="3589" y="5206"/>
                  </a:lnTo>
                  <a:lnTo>
                    <a:pt x="3524" y="5206"/>
                  </a:lnTo>
                  <a:lnTo>
                    <a:pt x="3524" y="5271"/>
                  </a:lnTo>
                  <a:close/>
                  <a:moveTo>
                    <a:pt x="3524" y="5383"/>
                  </a:moveTo>
                  <a:lnTo>
                    <a:pt x="3589" y="5383"/>
                  </a:lnTo>
                  <a:lnTo>
                    <a:pt x="3589" y="5320"/>
                  </a:lnTo>
                  <a:lnTo>
                    <a:pt x="3524" y="5320"/>
                  </a:lnTo>
                  <a:lnTo>
                    <a:pt x="3524" y="5383"/>
                  </a:lnTo>
                  <a:close/>
                  <a:moveTo>
                    <a:pt x="3524" y="5498"/>
                  </a:moveTo>
                  <a:lnTo>
                    <a:pt x="3589" y="5498"/>
                  </a:lnTo>
                  <a:lnTo>
                    <a:pt x="3589" y="5434"/>
                  </a:lnTo>
                  <a:lnTo>
                    <a:pt x="3524" y="5434"/>
                  </a:lnTo>
                  <a:lnTo>
                    <a:pt x="3524" y="5498"/>
                  </a:lnTo>
                  <a:close/>
                  <a:moveTo>
                    <a:pt x="3639" y="65"/>
                  </a:moveTo>
                  <a:lnTo>
                    <a:pt x="3703" y="65"/>
                  </a:lnTo>
                  <a:lnTo>
                    <a:pt x="3703" y="0"/>
                  </a:lnTo>
                  <a:lnTo>
                    <a:pt x="3639" y="0"/>
                  </a:lnTo>
                  <a:lnTo>
                    <a:pt x="3639" y="65"/>
                  </a:lnTo>
                  <a:close/>
                  <a:moveTo>
                    <a:pt x="3639" y="179"/>
                  </a:moveTo>
                  <a:lnTo>
                    <a:pt x="3703" y="179"/>
                  </a:lnTo>
                  <a:lnTo>
                    <a:pt x="3703" y="115"/>
                  </a:lnTo>
                  <a:lnTo>
                    <a:pt x="3639" y="115"/>
                  </a:lnTo>
                  <a:lnTo>
                    <a:pt x="3639" y="179"/>
                  </a:lnTo>
                  <a:close/>
                  <a:moveTo>
                    <a:pt x="3639" y="292"/>
                  </a:moveTo>
                  <a:lnTo>
                    <a:pt x="3703" y="292"/>
                  </a:lnTo>
                  <a:lnTo>
                    <a:pt x="3703" y="228"/>
                  </a:lnTo>
                  <a:lnTo>
                    <a:pt x="3639" y="228"/>
                  </a:lnTo>
                  <a:lnTo>
                    <a:pt x="3639" y="292"/>
                  </a:lnTo>
                  <a:close/>
                  <a:moveTo>
                    <a:pt x="3639" y="403"/>
                  </a:moveTo>
                  <a:lnTo>
                    <a:pt x="3703" y="403"/>
                  </a:lnTo>
                  <a:lnTo>
                    <a:pt x="3703" y="339"/>
                  </a:lnTo>
                  <a:lnTo>
                    <a:pt x="3639" y="339"/>
                  </a:lnTo>
                  <a:lnTo>
                    <a:pt x="3639" y="403"/>
                  </a:lnTo>
                  <a:close/>
                  <a:moveTo>
                    <a:pt x="3639" y="517"/>
                  </a:moveTo>
                  <a:lnTo>
                    <a:pt x="3703" y="517"/>
                  </a:lnTo>
                  <a:lnTo>
                    <a:pt x="3703" y="452"/>
                  </a:lnTo>
                  <a:lnTo>
                    <a:pt x="3639" y="452"/>
                  </a:lnTo>
                  <a:lnTo>
                    <a:pt x="3639" y="517"/>
                  </a:lnTo>
                  <a:close/>
                  <a:moveTo>
                    <a:pt x="3639" y="631"/>
                  </a:moveTo>
                  <a:lnTo>
                    <a:pt x="3703" y="631"/>
                  </a:lnTo>
                  <a:lnTo>
                    <a:pt x="3703" y="566"/>
                  </a:lnTo>
                  <a:lnTo>
                    <a:pt x="3639" y="566"/>
                  </a:lnTo>
                  <a:lnTo>
                    <a:pt x="3639" y="631"/>
                  </a:lnTo>
                  <a:close/>
                  <a:moveTo>
                    <a:pt x="3639" y="744"/>
                  </a:moveTo>
                  <a:lnTo>
                    <a:pt x="3703" y="744"/>
                  </a:lnTo>
                  <a:lnTo>
                    <a:pt x="3703" y="680"/>
                  </a:lnTo>
                  <a:lnTo>
                    <a:pt x="3639" y="680"/>
                  </a:lnTo>
                  <a:lnTo>
                    <a:pt x="3639" y="744"/>
                  </a:lnTo>
                  <a:close/>
                  <a:moveTo>
                    <a:pt x="3639" y="856"/>
                  </a:moveTo>
                  <a:lnTo>
                    <a:pt x="3703" y="856"/>
                  </a:lnTo>
                  <a:lnTo>
                    <a:pt x="3703" y="792"/>
                  </a:lnTo>
                  <a:lnTo>
                    <a:pt x="3639" y="792"/>
                  </a:lnTo>
                  <a:lnTo>
                    <a:pt x="3639" y="856"/>
                  </a:lnTo>
                  <a:close/>
                  <a:moveTo>
                    <a:pt x="3639" y="1536"/>
                  </a:moveTo>
                  <a:lnTo>
                    <a:pt x="3703" y="1536"/>
                  </a:lnTo>
                  <a:lnTo>
                    <a:pt x="3703" y="1471"/>
                  </a:lnTo>
                  <a:lnTo>
                    <a:pt x="3639" y="1471"/>
                  </a:lnTo>
                  <a:lnTo>
                    <a:pt x="3639" y="1536"/>
                  </a:lnTo>
                  <a:close/>
                  <a:moveTo>
                    <a:pt x="3639" y="1649"/>
                  </a:moveTo>
                  <a:lnTo>
                    <a:pt x="3703" y="1649"/>
                  </a:lnTo>
                  <a:lnTo>
                    <a:pt x="3703" y="1585"/>
                  </a:lnTo>
                  <a:lnTo>
                    <a:pt x="3639" y="1585"/>
                  </a:lnTo>
                  <a:lnTo>
                    <a:pt x="3639" y="1649"/>
                  </a:lnTo>
                  <a:close/>
                  <a:moveTo>
                    <a:pt x="3639" y="1766"/>
                  </a:moveTo>
                  <a:lnTo>
                    <a:pt x="3703" y="1766"/>
                  </a:lnTo>
                  <a:lnTo>
                    <a:pt x="3703" y="1701"/>
                  </a:lnTo>
                  <a:lnTo>
                    <a:pt x="3639" y="1701"/>
                  </a:lnTo>
                  <a:lnTo>
                    <a:pt x="3639" y="1766"/>
                  </a:lnTo>
                  <a:close/>
                  <a:moveTo>
                    <a:pt x="3639" y="1880"/>
                  </a:moveTo>
                  <a:lnTo>
                    <a:pt x="3703" y="1880"/>
                  </a:lnTo>
                  <a:lnTo>
                    <a:pt x="3703" y="1816"/>
                  </a:lnTo>
                  <a:lnTo>
                    <a:pt x="3639" y="1816"/>
                  </a:lnTo>
                  <a:lnTo>
                    <a:pt x="3639" y="1880"/>
                  </a:lnTo>
                  <a:close/>
                  <a:moveTo>
                    <a:pt x="3639" y="2218"/>
                  </a:moveTo>
                  <a:lnTo>
                    <a:pt x="3703" y="2218"/>
                  </a:lnTo>
                  <a:lnTo>
                    <a:pt x="3703" y="2153"/>
                  </a:lnTo>
                  <a:lnTo>
                    <a:pt x="3639" y="2153"/>
                  </a:lnTo>
                  <a:lnTo>
                    <a:pt x="3639" y="2218"/>
                  </a:lnTo>
                  <a:close/>
                  <a:moveTo>
                    <a:pt x="3639" y="2332"/>
                  </a:moveTo>
                  <a:lnTo>
                    <a:pt x="3703" y="2332"/>
                  </a:lnTo>
                  <a:lnTo>
                    <a:pt x="3703" y="2268"/>
                  </a:lnTo>
                  <a:lnTo>
                    <a:pt x="3639" y="2268"/>
                  </a:lnTo>
                  <a:lnTo>
                    <a:pt x="3639" y="2332"/>
                  </a:lnTo>
                  <a:close/>
                  <a:moveTo>
                    <a:pt x="3639" y="2445"/>
                  </a:moveTo>
                  <a:lnTo>
                    <a:pt x="3703" y="2445"/>
                  </a:lnTo>
                  <a:lnTo>
                    <a:pt x="3703" y="2381"/>
                  </a:lnTo>
                  <a:lnTo>
                    <a:pt x="3639" y="2381"/>
                  </a:lnTo>
                  <a:lnTo>
                    <a:pt x="3639" y="2445"/>
                  </a:lnTo>
                  <a:close/>
                  <a:moveTo>
                    <a:pt x="3639" y="2557"/>
                  </a:moveTo>
                  <a:lnTo>
                    <a:pt x="3703" y="2557"/>
                  </a:lnTo>
                  <a:lnTo>
                    <a:pt x="3703" y="2493"/>
                  </a:lnTo>
                  <a:lnTo>
                    <a:pt x="3639" y="2493"/>
                  </a:lnTo>
                  <a:lnTo>
                    <a:pt x="3639" y="2557"/>
                  </a:lnTo>
                  <a:close/>
                  <a:moveTo>
                    <a:pt x="3639" y="2670"/>
                  </a:moveTo>
                  <a:lnTo>
                    <a:pt x="3703" y="2670"/>
                  </a:lnTo>
                  <a:lnTo>
                    <a:pt x="3703" y="2606"/>
                  </a:lnTo>
                  <a:lnTo>
                    <a:pt x="3639" y="2606"/>
                  </a:lnTo>
                  <a:lnTo>
                    <a:pt x="3639" y="2670"/>
                  </a:lnTo>
                  <a:close/>
                  <a:moveTo>
                    <a:pt x="3639" y="2785"/>
                  </a:moveTo>
                  <a:lnTo>
                    <a:pt x="3703" y="2785"/>
                  </a:lnTo>
                  <a:lnTo>
                    <a:pt x="3703" y="2720"/>
                  </a:lnTo>
                  <a:lnTo>
                    <a:pt x="3639" y="2720"/>
                  </a:lnTo>
                  <a:lnTo>
                    <a:pt x="3639" y="2785"/>
                  </a:lnTo>
                  <a:close/>
                  <a:moveTo>
                    <a:pt x="3639" y="2898"/>
                  </a:moveTo>
                  <a:lnTo>
                    <a:pt x="3703" y="2898"/>
                  </a:lnTo>
                  <a:lnTo>
                    <a:pt x="3703" y="2834"/>
                  </a:lnTo>
                  <a:lnTo>
                    <a:pt x="3639" y="2834"/>
                  </a:lnTo>
                  <a:lnTo>
                    <a:pt x="3639" y="2898"/>
                  </a:lnTo>
                  <a:close/>
                  <a:moveTo>
                    <a:pt x="3639" y="3009"/>
                  </a:moveTo>
                  <a:lnTo>
                    <a:pt x="3703" y="3009"/>
                  </a:lnTo>
                  <a:lnTo>
                    <a:pt x="3703" y="2945"/>
                  </a:lnTo>
                  <a:lnTo>
                    <a:pt x="3639" y="2945"/>
                  </a:lnTo>
                  <a:lnTo>
                    <a:pt x="3639" y="3009"/>
                  </a:lnTo>
                  <a:close/>
                  <a:moveTo>
                    <a:pt x="3639" y="3122"/>
                  </a:moveTo>
                  <a:lnTo>
                    <a:pt x="3703" y="3122"/>
                  </a:lnTo>
                  <a:lnTo>
                    <a:pt x="3703" y="3058"/>
                  </a:lnTo>
                  <a:lnTo>
                    <a:pt x="3639" y="3058"/>
                  </a:lnTo>
                  <a:lnTo>
                    <a:pt x="3639" y="3122"/>
                  </a:lnTo>
                  <a:close/>
                  <a:moveTo>
                    <a:pt x="3639" y="3237"/>
                  </a:moveTo>
                  <a:lnTo>
                    <a:pt x="3703" y="3237"/>
                  </a:lnTo>
                  <a:lnTo>
                    <a:pt x="3703" y="3172"/>
                  </a:lnTo>
                  <a:lnTo>
                    <a:pt x="3639" y="3172"/>
                  </a:lnTo>
                  <a:lnTo>
                    <a:pt x="3639" y="3237"/>
                  </a:lnTo>
                  <a:close/>
                  <a:moveTo>
                    <a:pt x="3639" y="3350"/>
                  </a:moveTo>
                  <a:lnTo>
                    <a:pt x="3703" y="3350"/>
                  </a:lnTo>
                  <a:lnTo>
                    <a:pt x="3703" y="3285"/>
                  </a:lnTo>
                  <a:lnTo>
                    <a:pt x="3639" y="3285"/>
                  </a:lnTo>
                  <a:lnTo>
                    <a:pt x="3639" y="3350"/>
                  </a:lnTo>
                  <a:close/>
                  <a:moveTo>
                    <a:pt x="3639" y="3463"/>
                  </a:moveTo>
                  <a:lnTo>
                    <a:pt x="3703" y="3463"/>
                  </a:lnTo>
                  <a:lnTo>
                    <a:pt x="3703" y="3399"/>
                  </a:lnTo>
                  <a:lnTo>
                    <a:pt x="3639" y="3399"/>
                  </a:lnTo>
                  <a:lnTo>
                    <a:pt x="3639" y="3463"/>
                  </a:lnTo>
                  <a:close/>
                  <a:moveTo>
                    <a:pt x="3639" y="3576"/>
                  </a:moveTo>
                  <a:lnTo>
                    <a:pt x="3703" y="3576"/>
                  </a:lnTo>
                  <a:lnTo>
                    <a:pt x="3703" y="3512"/>
                  </a:lnTo>
                  <a:lnTo>
                    <a:pt x="3639" y="3512"/>
                  </a:lnTo>
                  <a:lnTo>
                    <a:pt x="3639" y="3576"/>
                  </a:lnTo>
                  <a:close/>
                  <a:moveTo>
                    <a:pt x="3639" y="3691"/>
                  </a:moveTo>
                  <a:lnTo>
                    <a:pt x="3703" y="3691"/>
                  </a:lnTo>
                  <a:lnTo>
                    <a:pt x="3703" y="3626"/>
                  </a:lnTo>
                  <a:lnTo>
                    <a:pt x="3639" y="3626"/>
                  </a:lnTo>
                  <a:lnTo>
                    <a:pt x="3639" y="3691"/>
                  </a:lnTo>
                  <a:close/>
                  <a:moveTo>
                    <a:pt x="3639" y="3804"/>
                  </a:moveTo>
                  <a:lnTo>
                    <a:pt x="3703" y="3804"/>
                  </a:lnTo>
                  <a:lnTo>
                    <a:pt x="3703" y="3739"/>
                  </a:lnTo>
                  <a:lnTo>
                    <a:pt x="3639" y="3739"/>
                  </a:lnTo>
                  <a:lnTo>
                    <a:pt x="3639" y="3804"/>
                  </a:lnTo>
                  <a:close/>
                  <a:moveTo>
                    <a:pt x="3639" y="4255"/>
                  </a:moveTo>
                  <a:lnTo>
                    <a:pt x="3703" y="4255"/>
                  </a:lnTo>
                  <a:lnTo>
                    <a:pt x="3703" y="4191"/>
                  </a:lnTo>
                  <a:lnTo>
                    <a:pt x="3639" y="4191"/>
                  </a:lnTo>
                  <a:lnTo>
                    <a:pt x="3639" y="4255"/>
                  </a:lnTo>
                  <a:close/>
                  <a:moveTo>
                    <a:pt x="3639" y="4368"/>
                  </a:moveTo>
                  <a:lnTo>
                    <a:pt x="3703" y="4368"/>
                  </a:lnTo>
                  <a:lnTo>
                    <a:pt x="3703" y="4303"/>
                  </a:lnTo>
                  <a:lnTo>
                    <a:pt x="3639" y="4303"/>
                  </a:lnTo>
                  <a:lnTo>
                    <a:pt x="3639" y="4368"/>
                  </a:lnTo>
                  <a:close/>
                  <a:moveTo>
                    <a:pt x="3639" y="4481"/>
                  </a:moveTo>
                  <a:lnTo>
                    <a:pt x="3703" y="4481"/>
                  </a:lnTo>
                  <a:lnTo>
                    <a:pt x="3703" y="4417"/>
                  </a:lnTo>
                  <a:lnTo>
                    <a:pt x="3639" y="4417"/>
                  </a:lnTo>
                  <a:lnTo>
                    <a:pt x="3639" y="4481"/>
                  </a:lnTo>
                  <a:close/>
                  <a:moveTo>
                    <a:pt x="3639" y="4819"/>
                  </a:moveTo>
                  <a:lnTo>
                    <a:pt x="3703" y="4819"/>
                  </a:lnTo>
                  <a:lnTo>
                    <a:pt x="3703" y="4755"/>
                  </a:lnTo>
                  <a:lnTo>
                    <a:pt x="3639" y="4755"/>
                  </a:lnTo>
                  <a:lnTo>
                    <a:pt x="3639" y="4819"/>
                  </a:lnTo>
                  <a:close/>
                  <a:moveTo>
                    <a:pt x="3639" y="4933"/>
                  </a:moveTo>
                  <a:lnTo>
                    <a:pt x="3703" y="4933"/>
                  </a:lnTo>
                  <a:lnTo>
                    <a:pt x="3703" y="4869"/>
                  </a:lnTo>
                  <a:lnTo>
                    <a:pt x="3639" y="4869"/>
                  </a:lnTo>
                  <a:lnTo>
                    <a:pt x="3639" y="4933"/>
                  </a:lnTo>
                  <a:close/>
                  <a:moveTo>
                    <a:pt x="3639" y="5047"/>
                  </a:moveTo>
                  <a:lnTo>
                    <a:pt x="3703" y="5047"/>
                  </a:lnTo>
                  <a:lnTo>
                    <a:pt x="3703" y="4982"/>
                  </a:lnTo>
                  <a:lnTo>
                    <a:pt x="3639" y="4982"/>
                  </a:lnTo>
                  <a:lnTo>
                    <a:pt x="3639" y="5047"/>
                  </a:lnTo>
                  <a:close/>
                  <a:moveTo>
                    <a:pt x="3639" y="5160"/>
                  </a:moveTo>
                  <a:lnTo>
                    <a:pt x="3703" y="5160"/>
                  </a:lnTo>
                  <a:lnTo>
                    <a:pt x="3703" y="5096"/>
                  </a:lnTo>
                  <a:lnTo>
                    <a:pt x="3639" y="5096"/>
                  </a:lnTo>
                  <a:lnTo>
                    <a:pt x="3639" y="5160"/>
                  </a:lnTo>
                  <a:close/>
                  <a:moveTo>
                    <a:pt x="3639" y="5271"/>
                  </a:moveTo>
                  <a:lnTo>
                    <a:pt x="3703" y="5271"/>
                  </a:lnTo>
                  <a:lnTo>
                    <a:pt x="3703" y="5206"/>
                  </a:lnTo>
                  <a:lnTo>
                    <a:pt x="3639" y="5206"/>
                  </a:lnTo>
                  <a:lnTo>
                    <a:pt x="3639" y="5271"/>
                  </a:lnTo>
                  <a:close/>
                  <a:moveTo>
                    <a:pt x="3639" y="5383"/>
                  </a:moveTo>
                  <a:lnTo>
                    <a:pt x="3703" y="5383"/>
                  </a:lnTo>
                  <a:lnTo>
                    <a:pt x="3703" y="5320"/>
                  </a:lnTo>
                  <a:lnTo>
                    <a:pt x="3639" y="5320"/>
                  </a:lnTo>
                  <a:lnTo>
                    <a:pt x="3639" y="5383"/>
                  </a:lnTo>
                  <a:close/>
                  <a:moveTo>
                    <a:pt x="3639" y="5498"/>
                  </a:moveTo>
                  <a:lnTo>
                    <a:pt x="3703" y="5498"/>
                  </a:lnTo>
                  <a:lnTo>
                    <a:pt x="3703" y="5434"/>
                  </a:lnTo>
                  <a:lnTo>
                    <a:pt x="3639" y="5434"/>
                  </a:lnTo>
                  <a:lnTo>
                    <a:pt x="3639" y="5498"/>
                  </a:lnTo>
                  <a:close/>
                  <a:moveTo>
                    <a:pt x="3639" y="5611"/>
                  </a:moveTo>
                  <a:lnTo>
                    <a:pt x="3703" y="5611"/>
                  </a:lnTo>
                  <a:lnTo>
                    <a:pt x="3703" y="5547"/>
                  </a:lnTo>
                  <a:lnTo>
                    <a:pt x="3639" y="5547"/>
                  </a:lnTo>
                  <a:lnTo>
                    <a:pt x="3639" y="5611"/>
                  </a:lnTo>
                  <a:close/>
                  <a:moveTo>
                    <a:pt x="3639" y="6855"/>
                  </a:moveTo>
                  <a:lnTo>
                    <a:pt x="3703" y="6855"/>
                  </a:lnTo>
                  <a:lnTo>
                    <a:pt x="3703" y="6790"/>
                  </a:lnTo>
                  <a:lnTo>
                    <a:pt x="3639" y="6790"/>
                  </a:lnTo>
                  <a:lnTo>
                    <a:pt x="3639" y="6855"/>
                  </a:lnTo>
                  <a:close/>
                  <a:moveTo>
                    <a:pt x="3639" y="6967"/>
                  </a:moveTo>
                  <a:lnTo>
                    <a:pt x="3703" y="6967"/>
                  </a:lnTo>
                  <a:lnTo>
                    <a:pt x="3703" y="6903"/>
                  </a:lnTo>
                  <a:lnTo>
                    <a:pt x="3639" y="6903"/>
                  </a:lnTo>
                  <a:lnTo>
                    <a:pt x="3639" y="6967"/>
                  </a:lnTo>
                  <a:close/>
                  <a:moveTo>
                    <a:pt x="3639" y="7085"/>
                  </a:moveTo>
                  <a:lnTo>
                    <a:pt x="3703" y="7085"/>
                  </a:lnTo>
                  <a:lnTo>
                    <a:pt x="3703" y="7020"/>
                  </a:lnTo>
                  <a:lnTo>
                    <a:pt x="3639" y="7020"/>
                  </a:lnTo>
                  <a:lnTo>
                    <a:pt x="3639" y="7085"/>
                  </a:lnTo>
                  <a:close/>
                  <a:moveTo>
                    <a:pt x="3753" y="65"/>
                  </a:moveTo>
                  <a:lnTo>
                    <a:pt x="3817" y="65"/>
                  </a:lnTo>
                  <a:lnTo>
                    <a:pt x="3817" y="0"/>
                  </a:lnTo>
                  <a:lnTo>
                    <a:pt x="3753" y="0"/>
                  </a:lnTo>
                  <a:lnTo>
                    <a:pt x="3753" y="65"/>
                  </a:lnTo>
                  <a:close/>
                  <a:moveTo>
                    <a:pt x="3753" y="179"/>
                  </a:moveTo>
                  <a:lnTo>
                    <a:pt x="3817" y="179"/>
                  </a:lnTo>
                  <a:lnTo>
                    <a:pt x="3817" y="115"/>
                  </a:lnTo>
                  <a:lnTo>
                    <a:pt x="3753" y="115"/>
                  </a:lnTo>
                  <a:lnTo>
                    <a:pt x="3753" y="179"/>
                  </a:lnTo>
                  <a:close/>
                  <a:moveTo>
                    <a:pt x="3753" y="292"/>
                  </a:moveTo>
                  <a:lnTo>
                    <a:pt x="3817" y="292"/>
                  </a:lnTo>
                  <a:lnTo>
                    <a:pt x="3817" y="228"/>
                  </a:lnTo>
                  <a:lnTo>
                    <a:pt x="3753" y="228"/>
                  </a:lnTo>
                  <a:lnTo>
                    <a:pt x="3753" y="292"/>
                  </a:lnTo>
                  <a:close/>
                  <a:moveTo>
                    <a:pt x="3753" y="403"/>
                  </a:moveTo>
                  <a:lnTo>
                    <a:pt x="3817" y="403"/>
                  </a:lnTo>
                  <a:lnTo>
                    <a:pt x="3817" y="339"/>
                  </a:lnTo>
                  <a:lnTo>
                    <a:pt x="3753" y="339"/>
                  </a:lnTo>
                  <a:lnTo>
                    <a:pt x="3753" y="403"/>
                  </a:lnTo>
                  <a:close/>
                  <a:moveTo>
                    <a:pt x="3753" y="517"/>
                  </a:moveTo>
                  <a:lnTo>
                    <a:pt x="3817" y="517"/>
                  </a:lnTo>
                  <a:lnTo>
                    <a:pt x="3817" y="452"/>
                  </a:lnTo>
                  <a:lnTo>
                    <a:pt x="3753" y="452"/>
                  </a:lnTo>
                  <a:lnTo>
                    <a:pt x="3753" y="517"/>
                  </a:lnTo>
                  <a:close/>
                  <a:moveTo>
                    <a:pt x="3753" y="744"/>
                  </a:moveTo>
                  <a:lnTo>
                    <a:pt x="3817" y="744"/>
                  </a:lnTo>
                  <a:lnTo>
                    <a:pt x="3817" y="680"/>
                  </a:lnTo>
                  <a:lnTo>
                    <a:pt x="3753" y="680"/>
                  </a:lnTo>
                  <a:lnTo>
                    <a:pt x="3753" y="744"/>
                  </a:lnTo>
                  <a:close/>
                  <a:moveTo>
                    <a:pt x="3753" y="856"/>
                  </a:moveTo>
                  <a:lnTo>
                    <a:pt x="3817" y="856"/>
                  </a:lnTo>
                  <a:lnTo>
                    <a:pt x="3817" y="792"/>
                  </a:lnTo>
                  <a:lnTo>
                    <a:pt x="3753" y="792"/>
                  </a:lnTo>
                  <a:lnTo>
                    <a:pt x="3753" y="856"/>
                  </a:lnTo>
                  <a:close/>
                  <a:moveTo>
                    <a:pt x="3753" y="1649"/>
                  </a:moveTo>
                  <a:lnTo>
                    <a:pt x="3817" y="1649"/>
                  </a:lnTo>
                  <a:lnTo>
                    <a:pt x="3817" y="1585"/>
                  </a:lnTo>
                  <a:lnTo>
                    <a:pt x="3753" y="1585"/>
                  </a:lnTo>
                  <a:lnTo>
                    <a:pt x="3753" y="1649"/>
                  </a:lnTo>
                  <a:close/>
                  <a:moveTo>
                    <a:pt x="3753" y="1766"/>
                  </a:moveTo>
                  <a:lnTo>
                    <a:pt x="3817" y="1766"/>
                  </a:lnTo>
                  <a:lnTo>
                    <a:pt x="3817" y="1701"/>
                  </a:lnTo>
                  <a:lnTo>
                    <a:pt x="3753" y="1701"/>
                  </a:lnTo>
                  <a:lnTo>
                    <a:pt x="3753" y="1766"/>
                  </a:lnTo>
                  <a:close/>
                  <a:moveTo>
                    <a:pt x="3753" y="1880"/>
                  </a:moveTo>
                  <a:lnTo>
                    <a:pt x="3817" y="1880"/>
                  </a:lnTo>
                  <a:lnTo>
                    <a:pt x="3817" y="1816"/>
                  </a:lnTo>
                  <a:lnTo>
                    <a:pt x="3753" y="1816"/>
                  </a:lnTo>
                  <a:lnTo>
                    <a:pt x="3753" y="1880"/>
                  </a:lnTo>
                  <a:close/>
                  <a:moveTo>
                    <a:pt x="3753" y="1994"/>
                  </a:moveTo>
                  <a:lnTo>
                    <a:pt x="3817" y="1994"/>
                  </a:lnTo>
                  <a:lnTo>
                    <a:pt x="3817" y="1929"/>
                  </a:lnTo>
                  <a:lnTo>
                    <a:pt x="3753" y="1929"/>
                  </a:lnTo>
                  <a:lnTo>
                    <a:pt x="3753" y="1994"/>
                  </a:lnTo>
                  <a:close/>
                  <a:moveTo>
                    <a:pt x="3753" y="2105"/>
                  </a:moveTo>
                  <a:lnTo>
                    <a:pt x="3817" y="2105"/>
                  </a:lnTo>
                  <a:lnTo>
                    <a:pt x="3817" y="2040"/>
                  </a:lnTo>
                  <a:lnTo>
                    <a:pt x="3753" y="2040"/>
                  </a:lnTo>
                  <a:lnTo>
                    <a:pt x="3753" y="2105"/>
                  </a:lnTo>
                  <a:close/>
                  <a:moveTo>
                    <a:pt x="3753" y="2218"/>
                  </a:moveTo>
                  <a:lnTo>
                    <a:pt x="3817" y="2218"/>
                  </a:lnTo>
                  <a:lnTo>
                    <a:pt x="3817" y="2153"/>
                  </a:lnTo>
                  <a:lnTo>
                    <a:pt x="3753" y="2153"/>
                  </a:lnTo>
                  <a:lnTo>
                    <a:pt x="3753" y="2218"/>
                  </a:lnTo>
                  <a:close/>
                  <a:moveTo>
                    <a:pt x="3753" y="2332"/>
                  </a:moveTo>
                  <a:lnTo>
                    <a:pt x="3817" y="2332"/>
                  </a:lnTo>
                  <a:lnTo>
                    <a:pt x="3817" y="2268"/>
                  </a:lnTo>
                  <a:lnTo>
                    <a:pt x="3753" y="2268"/>
                  </a:lnTo>
                  <a:lnTo>
                    <a:pt x="3753" y="2332"/>
                  </a:lnTo>
                  <a:close/>
                  <a:moveTo>
                    <a:pt x="3753" y="2445"/>
                  </a:moveTo>
                  <a:lnTo>
                    <a:pt x="3817" y="2445"/>
                  </a:lnTo>
                  <a:lnTo>
                    <a:pt x="3817" y="2381"/>
                  </a:lnTo>
                  <a:lnTo>
                    <a:pt x="3753" y="2381"/>
                  </a:lnTo>
                  <a:lnTo>
                    <a:pt x="3753" y="2445"/>
                  </a:lnTo>
                  <a:close/>
                  <a:moveTo>
                    <a:pt x="3753" y="2557"/>
                  </a:moveTo>
                  <a:lnTo>
                    <a:pt x="3817" y="2557"/>
                  </a:lnTo>
                  <a:lnTo>
                    <a:pt x="3817" y="2493"/>
                  </a:lnTo>
                  <a:lnTo>
                    <a:pt x="3753" y="2493"/>
                  </a:lnTo>
                  <a:lnTo>
                    <a:pt x="3753" y="2557"/>
                  </a:lnTo>
                  <a:close/>
                  <a:moveTo>
                    <a:pt x="3753" y="2670"/>
                  </a:moveTo>
                  <a:lnTo>
                    <a:pt x="3817" y="2670"/>
                  </a:lnTo>
                  <a:lnTo>
                    <a:pt x="3817" y="2606"/>
                  </a:lnTo>
                  <a:lnTo>
                    <a:pt x="3753" y="2606"/>
                  </a:lnTo>
                  <a:lnTo>
                    <a:pt x="3753" y="2670"/>
                  </a:lnTo>
                  <a:close/>
                  <a:moveTo>
                    <a:pt x="3753" y="2785"/>
                  </a:moveTo>
                  <a:lnTo>
                    <a:pt x="3817" y="2785"/>
                  </a:lnTo>
                  <a:lnTo>
                    <a:pt x="3817" y="2720"/>
                  </a:lnTo>
                  <a:lnTo>
                    <a:pt x="3753" y="2720"/>
                  </a:lnTo>
                  <a:lnTo>
                    <a:pt x="3753" y="2785"/>
                  </a:lnTo>
                  <a:close/>
                  <a:moveTo>
                    <a:pt x="3753" y="2898"/>
                  </a:moveTo>
                  <a:lnTo>
                    <a:pt x="3817" y="2898"/>
                  </a:lnTo>
                  <a:lnTo>
                    <a:pt x="3817" y="2834"/>
                  </a:lnTo>
                  <a:lnTo>
                    <a:pt x="3753" y="2834"/>
                  </a:lnTo>
                  <a:lnTo>
                    <a:pt x="3753" y="2898"/>
                  </a:lnTo>
                  <a:close/>
                  <a:moveTo>
                    <a:pt x="3753" y="3009"/>
                  </a:moveTo>
                  <a:lnTo>
                    <a:pt x="3817" y="3009"/>
                  </a:lnTo>
                  <a:lnTo>
                    <a:pt x="3817" y="2945"/>
                  </a:lnTo>
                  <a:lnTo>
                    <a:pt x="3753" y="2945"/>
                  </a:lnTo>
                  <a:lnTo>
                    <a:pt x="3753" y="3009"/>
                  </a:lnTo>
                  <a:close/>
                  <a:moveTo>
                    <a:pt x="3753" y="3122"/>
                  </a:moveTo>
                  <a:lnTo>
                    <a:pt x="3817" y="3122"/>
                  </a:lnTo>
                  <a:lnTo>
                    <a:pt x="3817" y="3058"/>
                  </a:lnTo>
                  <a:lnTo>
                    <a:pt x="3753" y="3058"/>
                  </a:lnTo>
                  <a:lnTo>
                    <a:pt x="3753" y="3122"/>
                  </a:lnTo>
                  <a:close/>
                  <a:moveTo>
                    <a:pt x="3753" y="3237"/>
                  </a:moveTo>
                  <a:lnTo>
                    <a:pt x="3817" y="3237"/>
                  </a:lnTo>
                  <a:lnTo>
                    <a:pt x="3817" y="3172"/>
                  </a:lnTo>
                  <a:lnTo>
                    <a:pt x="3753" y="3172"/>
                  </a:lnTo>
                  <a:lnTo>
                    <a:pt x="3753" y="3237"/>
                  </a:lnTo>
                  <a:close/>
                  <a:moveTo>
                    <a:pt x="3753" y="3350"/>
                  </a:moveTo>
                  <a:lnTo>
                    <a:pt x="3817" y="3350"/>
                  </a:lnTo>
                  <a:lnTo>
                    <a:pt x="3817" y="3285"/>
                  </a:lnTo>
                  <a:lnTo>
                    <a:pt x="3753" y="3285"/>
                  </a:lnTo>
                  <a:lnTo>
                    <a:pt x="3753" y="3350"/>
                  </a:lnTo>
                  <a:close/>
                  <a:moveTo>
                    <a:pt x="3753" y="3463"/>
                  </a:moveTo>
                  <a:lnTo>
                    <a:pt x="3817" y="3463"/>
                  </a:lnTo>
                  <a:lnTo>
                    <a:pt x="3817" y="3399"/>
                  </a:lnTo>
                  <a:lnTo>
                    <a:pt x="3753" y="3399"/>
                  </a:lnTo>
                  <a:lnTo>
                    <a:pt x="3753" y="3463"/>
                  </a:lnTo>
                  <a:close/>
                  <a:moveTo>
                    <a:pt x="3753" y="3576"/>
                  </a:moveTo>
                  <a:lnTo>
                    <a:pt x="3817" y="3576"/>
                  </a:lnTo>
                  <a:lnTo>
                    <a:pt x="3817" y="3512"/>
                  </a:lnTo>
                  <a:lnTo>
                    <a:pt x="3753" y="3512"/>
                  </a:lnTo>
                  <a:lnTo>
                    <a:pt x="3753" y="3576"/>
                  </a:lnTo>
                  <a:close/>
                  <a:moveTo>
                    <a:pt x="3753" y="3691"/>
                  </a:moveTo>
                  <a:lnTo>
                    <a:pt x="3817" y="3691"/>
                  </a:lnTo>
                  <a:lnTo>
                    <a:pt x="3817" y="3626"/>
                  </a:lnTo>
                  <a:lnTo>
                    <a:pt x="3753" y="3626"/>
                  </a:lnTo>
                  <a:lnTo>
                    <a:pt x="3753" y="3691"/>
                  </a:lnTo>
                  <a:close/>
                  <a:moveTo>
                    <a:pt x="3753" y="4481"/>
                  </a:moveTo>
                  <a:lnTo>
                    <a:pt x="3817" y="4481"/>
                  </a:lnTo>
                  <a:lnTo>
                    <a:pt x="3817" y="4417"/>
                  </a:lnTo>
                  <a:lnTo>
                    <a:pt x="3753" y="4417"/>
                  </a:lnTo>
                  <a:lnTo>
                    <a:pt x="3753" y="4481"/>
                  </a:lnTo>
                  <a:close/>
                  <a:moveTo>
                    <a:pt x="3753" y="4708"/>
                  </a:moveTo>
                  <a:lnTo>
                    <a:pt x="3817" y="4708"/>
                  </a:lnTo>
                  <a:lnTo>
                    <a:pt x="3817" y="4644"/>
                  </a:lnTo>
                  <a:lnTo>
                    <a:pt x="3753" y="4644"/>
                  </a:lnTo>
                  <a:lnTo>
                    <a:pt x="3753" y="4708"/>
                  </a:lnTo>
                  <a:close/>
                  <a:moveTo>
                    <a:pt x="3753" y="4819"/>
                  </a:moveTo>
                  <a:lnTo>
                    <a:pt x="3817" y="4819"/>
                  </a:lnTo>
                  <a:lnTo>
                    <a:pt x="3817" y="4755"/>
                  </a:lnTo>
                  <a:lnTo>
                    <a:pt x="3753" y="4755"/>
                  </a:lnTo>
                  <a:lnTo>
                    <a:pt x="3753" y="4819"/>
                  </a:lnTo>
                  <a:close/>
                  <a:moveTo>
                    <a:pt x="3753" y="4933"/>
                  </a:moveTo>
                  <a:lnTo>
                    <a:pt x="3817" y="4933"/>
                  </a:lnTo>
                  <a:lnTo>
                    <a:pt x="3817" y="4869"/>
                  </a:lnTo>
                  <a:lnTo>
                    <a:pt x="3753" y="4869"/>
                  </a:lnTo>
                  <a:lnTo>
                    <a:pt x="3753" y="4933"/>
                  </a:lnTo>
                  <a:close/>
                  <a:moveTo>
                    <a:pt x="3753" y="5047"/>
                  </a:moveTo>
                  <a:lnTo>
                    <a:pt x="3817" y="5047"/>
                  </a:lnTo>
                  <a:lnTo>
                    <a:pt x="3817" y="4982"/>
                  </a:lnTo>
                  <a:lnTo>
                    <a:pt x="3753" y="4982"/>
                  </a:lnTo>
                  <a:lnTo>
                    <a:pt x="3753" y="5047"/>
                  </a:lnTo>
                  <a:close/>
                  <a:moveTo>
                    <a:pt x="3753" y="5160"/>
                  </a:moveTo>
                  <a:lnTo>
                    <a:pt x="3817" y="5160"/>
                  </a:lnTo>
                  <a:lnTo>
                    <a:pt x="3817" y="5096"/>
                  </a:lnTo>
                  <a:lnTo>
                    <a:pt x="3753" y="5096"/>
                  </a:lnTo>
                  <a:lnTo>
                    <a:pt x="3753" y="5160"/>
                  </a:lnTo>
                  <a:close/>
                  <a:moveTo>
                    <a:pt x="3753" y="5271"/>
                  </a:moveTo>
                  <a:lnTo>
                    <a:pt x="3817" y="5271"/>
                  </a:lnTo>
                  <a:lnTo>
                    <a:pt x="3817" y="5206"/>
                  </a:lnTo>
                  <a:lnTo>
                    <a:pt x="3753" y="5206"/>
                  </a:lnTo>
                  <a:lnTo>
                    <a:pt x="3753" y="5271"/>
                  </a:lnTo>
                  <a:close/>
                  <a:moveTo>
                    <a:pt x="3753" y="5383"/>
                  </a:moveTo>
                  <a:lnTo>
                    <a:pt x="3817" y="5383"/>
                  </a:lnTo>
                  <a:lnTo>
                    <a:pt x="3817" y="5320"/>
                  </a:lnTo>
                  <a:lnTo>
                    <a:pt x="3753" y="5320"/>
                  </a:lnTo>
                  <a:lnTo>
                    <a:pt x="3753" y="5383"/>
                  </a:lnTo>
                  <a:close/>
                  <a:moveTo>
                    <a:pt x="3753" y="5498"/>
                  </a:moveTo>
                  <a:lnTo>
                    <a:pt x="3817" y="5498"/>
                  </a:lnTo>
                  <a:lnTo>
                    <a:pt x="3817" y="5434"/>
                  </a:lnTo>
                  <a:lnTo>
                    <a:pt x="3753" y="5434"/>
                  </a:lnTo>
                  <a:lnTo>
                    <a:pt x="3753" y="5498"/>
                  </a:lnTo>
                  <a:close/>
                  <a:moveTo>
                    <a:pt x="3753" y="5611"/>
                  </a:moveTo>
                  <a:lnTo>
                    <a:pt x="3817" y="5611"/>
                  </a:lnTo>
                  <a:lnTo>
                    <a:pt x="3817" y="5547"/>
                  </a:lnTo>
                  <a:lnTo>
                    <a:pt x="3753" y="5547"/>
                  </a:lnTo>
                  <a:lnTo>
                    <a:pt x="3753" y="5611"/>
                  </a:lnTo>
                  <a:close/>
                  <a:moveTo>
                    <a:pt x="3753" y="6063"/>
                  </a:moveTo>
                  <a:lnTo>
                    <a:pt x="3817" y="6063"/>
                  </a:lnTo>
                  <a:lnTo>
                    <a:pt x="3817" y="5999"/>
                  </a:lnTo>
                  <a:lnTo>
                    <a:pt x="3753" y="5999"/>
                  </a:lnTo>
                  <a:lnTo>
                    <a:pt x="3753" y="6063"/>
                  </a:lnTo>
                  <a:close/>
                  <a:moveTo>
                    <a:pt x="3753" y="6175"/>
                  </a:moveTo>
                  <a:lnTo>
                    <a:pt x="3817" y="6175"/>
                  </a:lnTo>
                  <a:lnTo>
                    <a:pt x="3817" y="6111"/>
                  </a:lnTo>
                  <a:lnTo>
                    <a:pt x="3753" y="6111"/>
                  </a:lnTo>
                  <a:lnTo>
                    <a:pt x="3753" y="6175"/>
                  </a:lnTo>
                  <a:close/>
                  <a:moveTo>
                    <a:pt x="3753" y="6289"/>
                  </a:moveTo>
                  <a:lnTo>
                    <a:pt x="3817" y="6289"/>
                  </a:lnTo>
                  <a:lnTo>
                    <a:pt x="3817" y="6224"/>
                  </a:lnTo>
                  <a:lnTo>
                    <a:pt x="3753" y="6224"/>
                  </a:lnTo>
                  <a:lnTo>
                    <a:pt x="3753" y="6289"/>
                  </a:lnTo>
                  <a:close/>
                  <a:moveTo>
                    <a:pt x="3753" y="6402"/>
                  </a:moveTo>
                  <a:lnTo>
                    <a:pt x="3817" y="6402"/>
                  </a:lnTo>
                  <a:lnTo>
                    <a:pt x="3817" y="6338"/>
                  </a:lnTo>
                  <a:lnTo>
                    <a:pt x="3753" y="6338"/>
                  </a:lnTo>
                  <a:lnTo>
                    <a:pt x="3753" y="6402"/>
                  </a:lnTo>
                  <a:close/>
                  <a:moveTo>
                    <a:pt x="3753" y="6516"/>
                  </a:moveTo>
                  <a:lnTo>
                    <a:pt x="3817" y="6516"/>
                  </a:lnTo>
                  <a:lnTo>
                    <a:pt x="3817" y="6451"/>
                  </a:lnTo>
                  <a:lnTo>
                    <a:pt x="3753" y="6451"/>
                  </a:lnTo>
                  <a:lnTo>
                    <a:pt x="3753" y="6516"/>
                  </a:lnTo>
                  <a:close/>
                  <a:moveTo>
                    <a:pt x="3753" y="6627"/>
                  </a:moveTo>
                  <a:lnTo>
                    <a:pt x="3817" y="6627"/>
                  </a:lnTo>
                  <a:lnTo>
                    <a:pt x="3817" y="6562"/>
                  </a:lnTo>
                  <a:lnTo>
                    <a:pt x="3753" y="6562"/>
                  </a:lnTo>
                  <a:lnTo>
                    <a:pt x="3753" y="6627"/>
                  </a:lnTo>
                  <a:close/>
                  <a:moveTo>
                    <a:pt x="3753" y="6740"/>
                  </a:moveTo>
                  <a:lnTo>
                    <a:pt x="3817" y="6740"/>
                  </a:lnTo>
                  <a:lnTo>
                    <a:pt x="3817" y="6676"/>
                  </a:lnTo>
                  <a:lnTo>
                    <a:pt x="3753" y="6676"/>
                  </a:lnTo>
                  <a:lnTo>
                    <a:pt x="3753" y="6740"/>
                  </a:lnTo>
                  <a:close/>
                  <a:moveTo>
                    <a:pt x="3753" y="6855"/>
                  </a:moveTo>
                  <a:lnTo>
                    <a:pt x="3817" y="6855"/>
                  </a:lnTo>
                  <a:lnTo>
                    <a:pt x="3817" y="6790"/>
                  </a:lnTo>
                  <a:lnTo>
                    <a:pt x="3753" y="6790"/>
                  </a:lnTo>
                  <a:lnTo>
                    <a:pt x="3753" y="6855"/>
                  </a:lnTo>
                  <a:close/>
                  <a:moveTo>
                    <a:pt x="3753" y="6967"/>
                  </a:moveTo>
                  <a:lnTo>
                    <a:pt x="3817" y="6967"/>
                  </a:lnTo>
                  <a:lnTo>
                    <a:pt x="3817" y="6903"/>
                  </a:lnTo>
                  <a:lnTo>
                    <a:pt x="3753" y="6903"/>
                  </a:lnTo>
                  <a:lnTo>
                    <a:pt x="3753" y="6967"/>
                  </a:lnTo>
                  <a:close/>
                  <a:moveTo>
                    <a:pt x="3753" y="7085"/>
                  </a:moveTo>
                  <a:lnTo>
                    <a:pt x="3817" y="7085"/>
                  </a:lnTo>
                  <a:lnTo>
                    <a:pt x="3817" y="7020"/>
                  </a:lnTo>
                  <a:lnTo>
                    <a:pt x="3753" y="7020"/>
                  </a:lnTo>
                  <a:lnTo>
                    <a:pt x="3753" y="7085"/>
                  </a:lnTo>
                  <a:close/>
                  <a:moveTo>
                    <a:pt x="3753" y="7199"/>
                  </a:moveTo>
                  <a:lnTo>
                    <a:pt x="3817" y="7199"/>
                  </a:lnTo>
                  <a:lnTo>
                    <a:pt x="3817" y="7135"/>
                  </a:lnTo>
                  <a:lnTo>
                    <a:pt x="3753" y="7135"/>
                  </a:lnTo>
                  <a:lnTo>
                    <a:pt x="3753" y="7199"/>
                  </a:lnTo>
                  <a:close/>
                  <a:moveTo>
                    <a:pt x="3753" y="7312"/>
                  </a:moveTo>
                  <a:lnTo>
                    <a:pt x="3817" y="7312"/>
                  </a:lnTo>
                  <a:lnTo>
                    <a:pt x="3817" y="7248"/>
                  </a:lnTo>
                  <a:lnTo>
                    <a:pt x="3753" y="7248"/>
                  </a:lnTo>
                  <a:lnTo>
                    <a:pt x="3753" y="7312"/>
                  </a:lnTo>
                  <a:close/>
                  <a:moveTo>
                    <a:pt x="3867" y="179"/>
                  </a:moveTo>
                  <a:lnTo>
                    <a:pt x="3931" y="179"/>
                  </a:lnTo>
                  <a:lnTo>
                    <a:pt x="3931" y="115"/>
                  </a:lnTo>
                  <a:lnTo>
                    <a:pt x="3867" y="115"/>
                  </a:lnTo>
                  <a:lnTo>
                    <a:pt x="3867" y="179"/>
                  </a:lnTo>
                  <a:close/>
                  <a:moveTo>
                    <a:pt x="3867" y="292"/>
                  </a:moveTo>
                  <a:lnTo>
                    <a:pt x="3931" y="292"/>
                  </a:lnTo>
                  <a:lnTo>
                    <a:pt x="3931" y="228"/>
                  </a:lnTo>
                  <a:lnTo>
                    <a:pt x="3867" y="228"/>
                  </a:lnTo>
                  <a:lnTo>
                    <a:pt x="3867" y="292"/>
                  </a:lnTo>
                  <a:close/>
                  <a:moveTo>
                    <a:pt x="3867" y="403"/>
                  </a:moveTo>
                  <a:lnTo>
                    <a:pt x="3931" y="403"/>
                  </a:lnTo>
                  <a:lnTo>
                    <a:pt x="3931" y="339"/>
                  </a:lnTo>
                  <a:lnTo>
                    <a:pt x="3867" y="339"/>
                  </a:lnTo>
                  <a:lnTo>
                    <a:pt x="3867" y="403"/>
                  </a:lnTo>
                  <a:close/>
                  <a:moveTo>
                    <a:pt x="3867" y="517"/>
                  </a:moveTo>
                  <a:lnTo>
                    <a:pt x="3931" y="517"/>
                  </a:lnTo>
                  <a:lnTo>
                    <a:pt x="3931" y="452"/>
                  </a:lnTo>
                  <a:lnTo>
                    <a:pt x="3867" y="452"/>
                  </a:lnTo>
                  <a:lnTo>
                    <a:pt x="3867" y="517"/>
                  </a:lnTo>
                  <a:close/>
                  <a:moveTo>
                    <a:pt x="3867" y="744"/>
                  </a:moveTo>
                  <a:lnTo>
                    <a:pt x="3931" y="744"/>
                  </a:lnTo>
                  <a:lnTo>
                    <a:pt x="3931" y="680"/>
                  </a:lnTo>
                  <a:lnTo>
                    <a:pt x="3867" y="680"/>
                  </a:lnTo>
                  <a:lnTo>
                    <a:pt x="3867" y="744"/>
                  </a:lnTo>
                  <a:close/>
                  <a:moveTo>
                    <a:pt x="3867" y="856"/>
                  </a:moveTo>
                  <a:lnTo>
                    <a:pt x="3931" y="856"/>
                  </a:lnTo>
                  <a:lnTo>
                    <a:pt x="3931" y="792"/>
                  </a:lnTo>
                  <a:lnTo>
                    <a:pt x="3867" y="792"/>
                  </a:lnTo>
                  <a:lnTo>
                    <a:pt x="3867" y="856"/>
                  </a:lnTo>
                  <a:close/>
                  <a:moveTo>
                    <a:pt x="3867" y="969"/>
                  </a:moveTo>
                  <a:lnTo>
                    <a:pt x="3931" y="969"/>
                  </a:lnTo>
                  <a:lnTo>
                    <a:pt x="3931" y="905"/>
                  </a:lnTo>
                  <a:lnTo>
                    <a:pt x="3867" y="905"/>
                  </a:lnTo>
                  <a:lnTo>
                    <a:pt x="3867" y="969"/>
                  </a:lnTo>
                  <a:close/>
                  <a:moveTo>
                    <a:pt x="3867" y="1084"/>
                  </a:moveTo>
                  <a:lnTo>
                    <a:pt x="3931" y="1084"/>
                  </a:lnTo>
                  <a:lnTo>
                    <a:pt x="3931" y="1019"/>
                  </a:lnTo>
                  <a:lnTo>
                    <a:pt x="3867" y="1019"/>
                  </a:lnTo>
                  <a:lnTo>
                    <a:pt x="3867" y="1084"/>
                  </a:lnTo>
                  <a:close/>
                  <a:moveTo>
                    <a:pt x="3867" y="1766"/>
                  </a:moveTo>
                  <a:lnTo>
                    <a:pt x="3931" y="1766"/>
                  </a:lnTo>
                  <a:lnTo>
                    <a:pt x="3931" y="1701"/>
                  </a:lnTo>
                  <a:lnTo>
                    <a:pt x="3867" y="1701"/>
                  </a:lnTo>
                  <a:lnTo>
                    <a:pt x="3867" y="1766"/>
                  </a:lnTo>
                  <a:close/>
                  <a:moveTo>
                    <a:pt x="3867" y="1880"/>
                  </a:moveTo>
                  <a:lnTo>
                    <a:pt x="3931" y="1880"/>
                  </a:lnTo>
                  <a:lnTo>
                    <a:pt x="3931" y="1816"/>
                  </a:lnTo>
                  <a:lnTo>
                    <a:pt x="3867" y="1816"/>
                  </a:lnTo>
                  <a:lnTo>
                    <a:pt x="3867" y="1880"/>
                  </a:lnTo>
                  <a:close/>
                  <a:moveTo>
                    <a:pt x="3867" y="1994"/>
                  </a:moveTo>
                  <a:lnTo>
                    <a:pt x="3931" y="1994"/>
                  </a:lnTo>
                  <a:lnTo>
                    <a:pt x="3931" y="1929"/>
                  </a:lnTo>
                  <a:lnTo>
                    <a:pt x="3867" y="1929"/>
                  </a:lnTo>
                  <a:lnTo>
                    <a:pt x="3867" y="1994"/>
                  </a:lnTo>
                  <a:close/>
                  <a:moveTo>
                    <a:pt x="3867" y="2105"/>
                  </a:moveTo>
                  <a:lnTo>
                    <a:pt x="3931" y="2105"/>
                  </a:lnTo>
                  <a:lnTo>
                    <a:pt x="3931" y="2040"/>
                  </a:lnTo>
                  <a:lnTo>
                    <a:pt x="3867" y="2040"/>
                  </a:lnTo>
                  <a:lnTo>
                    <a:pt x="3867" y="2105"/>
                  </a:lnTo>
                  <a:close/>
                  <a:moveTo>
                    <a:pt x="3867" y="2218"/>
                  </a:moveTo>
                  <a:lnTo>
                    <a:pt x="3931" y="2218"/>
                  </a:lnTo>
                  <a:lnTo>
                    <a:pt x="3931" y="2153"/>
                  </a:lnTo>
                  <a:lnTo>
                    <a:pt x="3867" y="2153"/>
                  </a:lnTo>
                  <a:lnTo>
                    <a:pt x="3867" y="2218"/>
                  </a:lnTo>
                  <a:close/>
                  <a:moveTo>
                    <a:pt x="3867" y="2332"/>
                  </a:moveTo>
                  <a:lnTo>
                    <a:pt x="3931" y="2332"/>
                  </a:lnTo>
                  <a:lnTo>
                    <a:pt x="3931" y="2268"/>
                  </a:lnTo>
                  <a:lnTo>
                    <a:pt x="3867" y="2268"/>
                  </a:lnTo>
                  <a:lnTo>
                    <a:pt x="3867" y="2332"/>
                  </a:lnTo>
                  <a:close/>
                  <a:moveTo>
                    <a:pt x="3867" y="2445"/>
                  </a:moveTo>
                  <a:lnTo>
                    <a:pt x="3931" y="2445"/>
                  </a:lnTo>
                  <a:lnTo>
                    <a:pt x="3931" y="2381"/>
                  </a:lnTo>
                  <a:lnTo>
                    <a:pt x="3867" y="2381"/>
                  </a:lnTo>
                  <a:lnTo>
                    <a:pt x="3867" y="2445"/>
                  </a:lnTo>
                  <a:close/>
                  <a:moveTo>
                    <a:pt x="3867" y="2557"/>
                  </a:moveTo>
                  <a:lnTo>
                    <a:pt x="3931" y="2557"/>
                  </a:lnTo>
                  <a:lnTo>
                    <a:pt x="3931" y="2493"/>
                  </a:lnTo>
                  <a:lnTo>
                    <a:pt x="3867" y="2493"/>
                  </a:lnTo>
                  <a:lnTo>
                    <a:pt x="3867" y="2557"/>
                  </a:lnTo>
                  <a:close/>
                  <a:moveTo>
                    <a:pt x="3867" y="2670"/>
                  </a:moveTo>
                  <a:lnTo>
                    <a:pt x="3931" y="2670"/>
                  </a:lnTo>
                  <a:lnTo>
                    <a:pt x="3931" y="2606"/>
                  </a:lnTo>
                  <a:lnTo>
                    <a:pt x="3867" y="2606"/>
                  </a:lnTo>
                  <a:lnTo>
                    <a:pt x="3867" y="2670"/>
                  </a:lnTo>
                  <a:close/>
                  <a:moveTo>
                    <a:pt x="3867" y="2785"/>
                  </a:moveTo>
                  <a:lnTo>
                    <a:pt x="3931" y="2785"/>
                  </a:lnTo>
                  <a:lnTo>
                    <a:pt x="3931" y="2720"/>
                  </a:lnTo>
                  <a:lnTo>
                    <a:pt x="3867" y="2720"/>
                  </a:lnTo>
                  <a:lnTo>
                    <a:pt x="3867" y="2785"/>
                  </a:lnTo>
                  <a:close/>
                  <a:moveTo>
                    <a:pt x="3867" y="2898"/>
                  </a:moveTo>
                  <a:lnTo>
                    <a:pt x="3931" y="2898"/>
                  </a:lnTo>
                  <a:lnTo>
                    <a:pt x="3931" y="2834"/>
                  </a:lnTo>
                  <a:lnTo>
                    <a:pt x="3867" y="2834"/>
                  </a:lnTo>
                  <a:lnTo>
                    <a:pt x="3867" y="2898"/>
                  </a:lnTo>
                  <a:close/>
                  <a:moveTo>
                    <a:pt x="3867" y="3009"/>
                  </a:moveTo>
                  <a:lnTo>
                    <a:pt x="3931" y="3009"/>
                  </a:lnTo>
                  <a:lnTo>
                    <a:pt x="3931" y="2945"/>
                  </a:lnTo>
                  <a:lnTo>
                    <a:pt x="3867" y="2945"/>
                  </a:lnTo>
                  <a:lnTo>
                    <a:pt x="3867" y="3009"/>
                  </a:lnTo>
                  <a:close/>
                  <a:moveTo>
                    <a:pt x="3867" y="3122"/>
                  </a:moveTo>
                  <a:lnTo>
                    <a:pt x="3931" y="3122"/>
                  </a:lnTo>
                  <a:lnTo>
                    <a:pt x="3931" y="3058"/>
                  </a:lnTo>
                  <a:lnTo>
                    <a:pt x="3867" y="3058"/>
                  </a:lnTo>
                  <a:lnTo>
                    <a:pt x="3867" y="3122"/>
                  </a:lnTo>
                  <a:close/>
                  <a:moveTo>
                    <a:pt x="3867" y="3237"/>
                  </a:moveTo>
                  <a:lnTo>
                    <a:pt x="3931" y="3237"/>
                  </a:lnTo>
                  <a:lnTo>
                    <a:pt x="3931" y="3172"/>
                  </a:lnTo>
                  <a:lnTo>
                    <a:pt x="3867" y="3172"/>
                  </a:lnTo>
                  <a:lnTo>
                    <a:pt x="3867" y="3237"/>
                  </a:lnTo>
                  <a:close/>
                  <a:moveTo>
                    <a:pt x="3867" y="3350"/>
                  </a:moveTo>
                  <a:lnTo>
                    <a:pt x="3931" y="3350"/>
                  </a:lnTo>
                  <a:lnTo>
                    <a:pt x="3931" y="3285"/>
                  </a:lnTo>
                  <a:lnTo>
                    <a:pt x="3867" y="3285"/>
                  </a:lnTo>
                  <a:lnTo>
                    <a:pt x="3867" y="3350"/>
                  </a:lnTo>
                  <a:close/>
                  <a:moveTo>
                    <a:pt x="3867" y="3463"/>
                  </a:moveTo>
                  <a:lnTo>
                    <a:pt x="3931" y="3463"/>
                  </a:lnTo>
                  <a:lnTo>
                    <a:pt x="3931" y="3399"/>
                  </a:lnTo>
                  <a:lnTo>
                    <a:pt x="3867" y="3399"/>
                  </a:lnTo>
                  <a:lnTo>
                    <a:pt x="3867" y="3463"/>
                  </a:lnTo>
                  <a:close/>
                  <a:moveTo>
                    <a:pt x="3867" y="3576"/>
                  </a:moveTo>
                  <a:lnTo>
                    <a:pt x="3931" y="3576"/>
                  </a:lnTo>
                  <a:lnTo>
                    <a:pt x="3931" y="3512"/>
                  </a:lnTo>
                  <a:lnTo>
                    <a:pt x="3867" y="3512"/>
                  </a:lnTo>
                  <a:lnTo>
                    <a:pt x="3867" y="3576"/>
                  </a:lnTo>
                  <a:close/>
                  <a:moveTo>
                    <a:pt x="3867" y="4481"/>
                  </a:moveTo>
                  <a:lnTo>
                    <a:pt x="3931" y="4481"/>
                  </a:lnTo>
                  <a:lnTo>
                    <a:pt x="3931" y="4417"/>
                  </a:lnTo>
                  <a:lnTo>
                    <a:pt x="3867" y="4417"/>
                  </a:lnTo>
                  <a:lnTo>
                    <a:pt x="3867" y="4481"/>
                  </a:lnTo>
                  <a:close/>
                  <a:moveTo>
                    <a:pt x="3867" y="4708"/>
                  </a:moveTo>
                  <a:lnTo>
                    <a:pt x="3931" y="4708"/>
                  </a:lnTo>
                  <a:lnTo>
                    <a:pt x="3931" y="4644"/>
                  </a:lnTo>
                  <a:lnTo>
                    <a:pt x="3867" y="4644"/>
                  </a:lnTo>
                  <a:lnTo>
                    <a:pt x="3867" y="4708"/>
                  </a:lnTo>
                  <a:close/>
                  <a:moveTo>
                    <a:pt x="3867" y="4819"/>
                  </a:moveTo>
                  <a:lnTo>
                    <a:pt x="3931" y="4819"/>
                  </a:lnTo>
                  <a:lnTo>
                    <a:pt x="3931" y="4755"/>
                  </a:lnTo>
                  <a:lnTo>
                    <a:pt x="3867" y="4755"/>
                  </a:lnTo>
                  <a:lnTo>
                    <a:pt x="3867" y="4819"/>
                  </a:lnTo>
                  <a:close/>
                  <a:moveTo>
                    <a:pt x="3867" y="4933"/>
                  </a:moveTo>
                  <a:lnTo>
                    <a:pt x="3931" y="4933"/>
                  </a:lnTo>
                  <a:lnTo>
                    <a:pt x="3931" y="4869"/>
                  </a:lnTo>
                  <a:lnTo>
                    <a:pt x="3867" y="4869"/>
                  </a:lnTo>
                  <a:lnTo>
                    <a:pt x="3867" y="4933"/>
                  </a:lnTo>
                  <a:close/>
                  <a:moveTo>
                    <a:pt x="3867" y="5047"/>
                  </a:moveTo>
                  <a:lnTo>
                    <a:pt x="3931" y="5047"/>
                  </a:lnTo>
                  <a:lnTo>
                    <a:pt x="3931" y="4982"/>
                  </a:lnTo>
                  <a:lnTo>
                    <a:pt x="3867" y="4982"/>
                  </a:lnTo>
                  <a:lnTo>
                    <a:pt x="3867" y="5047"/>
                  </a:lnTo>
                  <a:close/>
                  <a:moveTo>
                    <a:pt x="3867" y="5160"/>
                  </a:moveTo>
                  <a:lnTo>
                    <a:pt x="3931" y="5160"/>
                  </a:lnTo>
                  <a:lnTo>
                    <a:pt x="3931" y="5096"/>
                  </a:lnTo>
                  <a:lnTo>
                    <a:pt x="3867" y="5096"/>
                  </a:lnTo>
                  <a:lnTo>
                    <a:pt x="3867" y="5160"/>
                  </a:lnTo>
                  <a:close/>
                  <a:moveTo>
                    <a:pt x="3867" y="5271"/>
                  </a:moveTo>
                  <a:lnTo>
                    <a:pt x="3931" y="5271"/>
                  </a:lnTo>
                  <a:lnTo>
                    <a:pt x="3931" y="5206"/>
                  </a:lnTo>
                  <a:lnTo>
                    <a:pt x="3867" y="5206"/>
                  </a:lnTo>
                  <a:lnTo>
                    <a:pt x="3867" y="5271"/>
                  </a:lnTo>
                  <a:close/>
                  <a:moveTo>
                    <a:pt x="3867" y="5383"/>
                  </a:moveTo>
                  <a:lnTo>
                    <a:pt x="3931" y="5383"/>
                  </a:lnTo>
                  <a:lnTo>
                    <a:pt x="3931" y="5320"/>
                  </a:lnTo>
                  <a:lnTo>
                    <a:pt x="3867" y="5320"/>
                  </a:lnTo>
                  <a:lnTo>
                    <a:pt x="3867" y="5383"/>
                  </a:lnTo>
                  <a:close/>
                  <a:moveTo>
                    <a:pt x="3867" y="5498"/>
                  </a:moveTo>
                  <a:lnTo>
                    <a:pt x="3931" y="5498"/>
                  </a:lnTo>
                  <a:lnTo>
                    <a:pt x="3931" y="5434"/>
                  </a:lnTo>
                  <a:lnTo>
                    <a:pt x="3867" y="5434"/>
                  </a:lnTo>
                  <a:lnTo>
                    <a:pt x="3867" y="5498"/>
                  </a:lnTo>
                  <a:close/>
                  <a:moveTo>
                    <a:pt x="3867" y="5611"/>
                  </a:moveTo>
                  <a:lnTo>
                    <a:pt x="3931" y="5611"/>
                  </a:lnTo>
                  <a:lnTo>
                    <a:pt x="3931" y="5547"/>
                  </a:lnTo>
                  <a:lnTo>
                    <a:pt x="3867" y="5547"/>
                  </a:lnTo>
                  <a:lnTo>
                    <a:pt x="3867" y="5611"/>
                  </a:lnTo>
                  <a:close/>
                  <a:moveTo>
                    <a:pt x="3867" y="5722"/>
                  </a:moveTo>
                  <a:lnTo>
                    <a:pt x="3931" y="5722"/>
                  </a:lnTo>
                  <a:lnTo>
                    <a:pt x="3931" y="5658"/>
                  </a:lnTo>
                  <a:lnTo>
                    <a:pt x="3867" y="5658"/>
                  </a:lnTo>
                  <a:lnTo>
                    <a:pt x="3867" y="5722"/>
                  </a:lnTo>
                  <a:close/>
                  <a:moveTo>
                    <a:pt x="3867" y="5836"/>
                  </a:moveTo>
                  <a:lnTo>
                    <a:pt x="3931" y="5836"/>
                  </a:lnTo>
                  <a:lnTo>
                    <a:pt x="3931" y="5771"/>
                  </a:lnTo>
                  <a:lnTo>
                    <a:pt x="3867" y="5771"/>
                  </a:lnTo>
                  <a:lnTo>
                    <a:pt x="3867" y="5836"/>
                  </a:lnTo>
                  <a:close/>
                  <a:moveTo>
                    <a:pt x="3867" y="5950"/>
                  </a:moveTo>
                  <a:lnTo>
                    <a:pt x="3931" y="5950"/>
                  </a:lnTo>
                  <a:lnTo>
                    <a:pt x="3931" y="5885"/>
                  </a:lnTo>
                  <a:lnTo>
                    <a:pt x="3867" y="5885"/>
                  </a:lnTo>
                  <a:lnTo>
                    <a:pt x="3867" y="5950"/>
                  </a:lnTo>
                  <a:close/>
                  <a:moveTo>
                    <a:pt x="3867" y="6063"/>
                  </a:moveTo>
                  <a:lnTo>
                    <a:pt x="3931" y="6063"/>
                  </a:lnTo>
                  <a:lnTo>
                    <a:pt x="3931" y="5999"/>
                  </a:lnTo>
                  <a:lnTo>
                    <a:pt x="3867" y="5999"/>
                  </a:lnTo>
                  <a:lnTo>
                    <a:pt x="3867" y="6063"/>
                  </a:lnTo>
                  <a:close/>
                  <a:moveTo>
                    <a:pt x="3867" y="6175"/>
                  </a:moveTo>
                  <a:lnTo>
                    <a:pt x="3931" y="6175"/>
                  </a:lnTo>
                  <a:lnTo>
                    <a:pt x="3931" y="6111"/>
                  </a:lnTo>
                  <a:lnTo>
                    <a:pt x="3867" y="6111"/>
                  </a:lnTo>
                  <a:lnTo>
                    <a:pt x="3867" y="6175"/>
                  </a:lnTo>
                  <a:close/>
                  <a:moveTo>
                    <a:pt x="3867" y="6289"/>
                  </a:moveTo>
                  <a:lnTo>
                    <a:pt x="3931" y="6289"/>
                  </a:lnTo>
                  <a:lnTo>
                    <a:pt x="3931" y="6224"/>
                  </a:lnTo>
                  <a:lnTo>
                    <a:pt x="3867" y="6224"/>
                  </a:lnTo>
                  <a:lnTo>
                    <a:pt x="3867" y="6289"/>
                  </a:lnTo>
                  <a:close/>
                  <a:moveTo>
                    <a:pt x="3867" y="6402"/>
                  </a:moveTo>
                  <a:lnTo>
                    <a:pt x="3931" y="6402"/>
                  </a:lnTo>
                  <a:lnTo>
                    <a:pt x="3931" y="6338"/>
                  </a:lnTo>
                  <a:lnTo>
                    <a:pt x="3867" y="6338"/>
                  </a:lnTo>
                  <a:lnTo>
                    <a:pt x="3867" y="6402"/>
                  </a:lnTo>
                  <a:close/>
                  <a:moveTo>
                    <a:pt x="3867" y="6516"/>
                  </a:moveTo>
                  <a:lnTo>
                    <a:pt x="3931" y="6516"/>
                  </a:lnTo>
                  <a:lnTo>
                    <a:pt x="3931" y="6451"/>
                  </a:lnTo>
                  <a:lnTo>
                    <a:pt x="3867" y="6451"/>
                  </a:lnTo>
                  <a:lnTo>
                    <a:pt x="3867" y="6516"/>
                  </a:lnTo>
                  <a:close/>
                  <a:moveTo>
                    <a:pt x="3867" y="6627"/>
                  </a:moveTo>
                  <a:lnTo>
                    <a:pt x="3931" y="6627"/>
                  </a:lnTo>
                  <a:lnTo>
                    <a:pt x="3931" y="6562"/>
                  </a:lnTo>
                  <a:lnTo>
                    <a:pt x="3867" y="6562"/>
                  </a:lnTo>
                  <a:lnTo>
                    <a:pt x="3867" y="6627"/>
                  </a:lnTo>
                  <a:close/>
                  <a:moveTo>
                    <a:pt x="3867" y="6740"/>
                  </a:moveTo>
                  <a:lnTo>
                    <a:pt x="3931" y="6740"/>
                  </a:lnTo>
                  <a:lnTo>
                    <a:pt x="3931" y="6676"/>
                  </a:lnTo>
                  <a:lnTo>
                    <a:pt x="3867" y="6676"/>
                  </a:lnTo>
                  <a:lnTo>
                    <a:pt x="3867" y="6740"/>
                  </a:lnTo>
                  <a:close/>
                  <a:moveTo>
                    <a:pt x="3867" y="6855"/>
                  </a:moveTo>
                  <a:lnTo>
                    <a:pt x="3931" y="6855"/>
                  </a:lnTo>
                  <a:lnTo>
                    <a:pt x="3931" y="6790"/>
                  </a:lnTo>
                  <a:lnTo>
                    <a:pt x="3867" y="6790"/>
                  </a:lnTo>
                  <a:lnTo>
                    <a:pt x="3867" y="6855"/>
                  </a:lnTo>
                  <a:close/>
                  <a:moveTo>
                    <a:pt x="3867" y="6967"/>
                  </a:moveTo>
                  <a:lnTo>
                    <a:pt x="3931" y="6967"/>
                  </a:lnTo>
                  <a:lnTo>
                    <a:pt x="3931" y="6903"/>
                  </a:lnTo>
                  <a:lnTo>
                    <a:pt x="3867" y="6903"/>
                  </a:lnTo>
                  <a:lnTo>
                    <a:pt x="3867" y="6967"/>
                  </a:lnTo>
                  <a:close/>
                  <a:moveTo>
                    <a:pt x="3867" y="7085"/>
                  </a:moveTo>
                  <a:lnTo>
                    <a:pt x="3931" y="7085"/>
                  </a:lnTo>
                  <a:lnTo>
                    <a:pt x="3931" y="7020"/>
                  </a:lnTo>
                  <a:lnTo>
                    <a:pt x="3867" y="7020"/>
                  </a:lnTo>
                  <a:lnTo>
                    <a:pt x="3867" y="7085"/>
                  </a:lnTo>
                  <a:close/>
                  <a:moveTo>
                    <a:pt x="3867" y="7199"/>
                  </a:moveTo>
                  <a:lnTo>
                    <a:pt x="3931" y="7199"/>
                  </a:lnTo>
                  <a:lnTo>
                    <a:pt x="3931" y="7135"/>
                  </a:lnTo>
                  <a:lnTo>
                    <a:pt x="3867" y="7135"/>
                  </a:lnTo>
                  <a:lnTo>
                    <a:pt x="3867" y="7199"/>
                  </a:lnTo>
                  <a:close/>
                  <a:moveTo>
                    <a:pt x="3867" y="7312"/>
                  </a:moveTo>
                  <a:lnTo>
                    <a:pt x="3931" y="7312"/>
                  </a:lnTo>
                  <a:lnTo>
                    <a:pt x="3931" y="7248"/>
                  </a:lnTo>
                  <a:lnTo>
                    <a:pt x="3867" y="7248"/>
                  </a:lnTo>
                  <a:lnTo>
                    <a:pt x="3867" y="7312"/>
                  </a:lnTo>
                  <a:close/>
                  <a:moveTo>
                    <a:pt x="3979" y="179"/>
                  </a:moveTo>
                  <a:lnTo>
                    <a:pt x="4043" y="179"/>
                  </a:lnTo>
                  <a:lnTo>
                    <a:pt x="4043" y="115"/>
                  </a:lnTo>
                  <a:lnTo>
                    <a:pt x="3979" y="115"/>
                  </a:lnTo>
                  <a:lnTo>
                    <a:pt x="3979" y="179"/>
                  </a:lnTo>
                  <a:close/>
                  <a:moveTo>
                    <a:pt x="3979" y="292"/>
                  </a:moveTo>
                  <a:lnTo>
                    <a:pt x="4043" y="292"/>
                  </a:lnTo>
                  <a:lnTo>
                    <a:pt x="4043" y="228"/>
                  </a:lnTo>
                  <a:lnTo>
                    <a:pt x="3979" y="228"/>
                  </a:lnTo>
                  <a:lnTo>
                    <a:pt x="3979" y="292"/>
                  </a:lnTo>
                  <a:close/>
                  <a:moveTo>
                    <a:pt x="3979" y="403"/>
                  </a:moveTo>
                  <a:lnTo>
                    <a:pt x="4043" y="403"/>
                  </a:lnTo>
                  <a:lnTo>
                    <a:pt x="4043" y="339"/>
                  </a:lnTo>
                  <a:lnTo>
                    <a:pt x="3979" y="339"/>
                  </a:lnTo>
                  <a:lnTo>
                    <a:pt x="3979" y="403"/>
                  </a:lnTo>
                  <a:close/>
                  <a:moveTo>
                    <a:pt x="3979" y="517"/>
                  </a:moveTo>
                  <a:lnTo>
                    <a:pt x="4043" y="517"/>
                  </a:lnTo>
                  <a:lnTo>
                    <a:pt x="4043" y="452"/>
                  </a:lnTo>
                  <a:lnTo>
                    <a:pt x="3979" y="452"/>
                  </a:lnTo>
                  <a:lnTo>
                    <a:pt x="3979" y="517"/>
                  </a:lnTo>
                  <a:close/>
                  <a:moveTo>
                    <a:pt x="3979" y="631"/>
                  </a:moveTo>
                  <a:lnTo>
                    <a:pt x="4043" y="631"/>
                  </a:lnTo>
                  <a:lnTo>
                    <a:pt x="4043" y="566"/>
                  </a:lnTo>
                  <a:lnTo>
                    <a:pt x="3979" y="566"/>
                  </a:lnTo>
                  <a:lnTo>
                    <a:pt x="3979" y="631"/>
                  </a:lnTo>
                  <a:close/>
                  <a:moveTo>
                    <a:pt x="3979" y="744"/>
                  </a:moveTo>
                  <a:lnTo>
                    <a:pt x="4043" y="744"/>
                  </a:lnTo>
                  <a:lnTo>
                    <a:pt x="4043" y="680"/>
                  </a:lnTo>
                  <a:lnTo>
                    <a:pt x="3979" y="680"/>
                  </a:lnTo>
                  <a:lnTo>
                    <a:pt x="3979" y="744"/>
                  </a:lnTo>
                  <a:close/>
                  <a:moveTo>
                    <a:pt x="3979" y="856"/>
                  </a:moveTo>
                  <a:lnTo>
                    <a:pt x="4043" y="856"/>
                  </a:lnTo>
                  <a:lnTo>
                    <a:pt x="4043" y="792"/>
                  </a:lnTo>
                  <a:lnTo>
                    <a:pt x="3979" y="792"/>
                  </a:lnTo>
                  <a:lnTo>
                    <a:pt x="3979" y="856"/>
                  </a:lnTo>
                  <a:close/>
                  <a:moveTo>
                    <a:pt x="3979" y="969"/>
                  </a:moveTo>
                  <a:lnTo>
                    <a:pt x="4043" y="969"/>
                  </a:lnTo>
                  <a:lnTo>
                    <a:pt x="4043" y="905"/>
                  </a:lnTo>
                  <a:lnTo>
                    <a:pt x="3979" y="905"/>
                  </a:lnTo>
                  <a:lnTo>
                    <a:pt x="3979" y="969"/>
                  </a:lnTo>
                  <a:close/>
                  <a:moveTo>
                    <a:pt x="3979" y="1084"/>
                  </a:moveTo>
                  <a:lnTo>
                    <a:pt x="4043" y="1084"/>
                  </a:lnTo>
                  <a:lnTo>
                    <a:pt x="4043" y="1019"/>
                  </a:lnTo>
                  <a:lnTo>
                    <a:pt x="3979" y="1019"/>
                  </a:lnTo>
                  <a:lnTo>
                    <a:pt x="3979" y="1084"/>
                  </a:lnTo>
                  <a:close/>
                  <a:moveTo>
                    <a:pt x="3979" y="1880"/>
                  </a:moveTo>
                  <a:lnTo>
                    <a:pt x="4043" y="1880"/>
                  </a:lnTo>
                  <a:lnTo>
                    <a:pt x="4043" y="1816"/>
                  </a:lnTo>
                  <a:lnTo>
                    <a:pt x="3979" y="1816"/>
                  </a:lnTo>
                  <a:lnTo>
                    <a:pt x="3979" y="1880"/>
                  </a:lnTo>
                  <a:close/>
                  <a:moveTo>
                    <a:pt x="3979" y="1994"/>
                  </a:moveTo>
                  <a:lnTo>
                    <a:pt x="4043" y="1994"/>
                  </a:lnTo>
                  <a:lnTo>
                    <a:pt x="4043" y="1929"/>
                  </a:lnTo>
                  <a:lnTo>
                    <a:pt x="3979" y="1929"/>
                  </a:lnTo>
                  <a:lnTo>
                    <a:pt x="3979" y="1994"/>
                  </a:lnTo>
                  <a:close/>
                  <a:moveTo>
                    <a:pt x="3979" y="2105"/>
                  </a:moveTo>
                  <a:lnTo>
                    <a:pt x="4043" y="2105"/>
                  </a:lnTo>
                  <a:lnTo>
                    <a:pt x="4043" y="2040"/>
                  </a:lnTo>
                  <a:lnTo>
                    <a:pt x="3979" y="2040"/>
                  </a:lnTo>
                  <a:lnTo>
                    <a:pt x="3979" y="2105"/>
                  </a:lnTo>
                  <a:close/>
                  <a:moveTo>
                    <a:pt x="3979" y="2218"/>
                  </a:moveTo>
                  <a:lnTo>
                    <a:pt x="4043" y="2218"/>
                  </a:lnTo>
                  <a:lnTo>
                    <a:pt x="4043" y="2153"/>
                  </a:lnTo>
                  <a:lnTo>
                    <a:pt x="3979" y="2153"/>
                  </a:lnTo>
                  <a:lnTo>
                    <a:pt x="3979" y="2218"/>
                  </a:lnTo>
                  <a:close/>
                  <a:moveTo>
                    <a:pt x="3979" y="2332"/>
                  </a:moveTo>
                  <a:lnTo>
                    <a:pt x="4043" y="2332"/>
                  </a:lnTo>
                  <a:lnTo>
                    <a:pt x="4043" y="2268"/>
                  </a:lnTo>
                  <a:lnTo>
                    <a:pt x="3979" y="2268"/>
                  </a:lnTo>
                  <a:lnTo>
                    <a:pt x="3979" y="2332"/>
                  </a:lnTo>
                  <a:close/>
                  <a:moveTo>
                    <a:pt x="3979" y="2445"/>
                  </a:moveTo>
                  <a:lnTo>
                    <a:pt x="4043" y="2445"/>
                  </a:lnTo>
                  <a:lnTo>
                    <a:pt x="4043" y="2381"/>
                  </a:lnTo>
                  <a:lnTo>
                    <a:pt x="3979" y="2381"/>
                  </a:lnTo>
                  <a:lnTo>
                    <a:pt x="3979" y="2445"/>
                  </a:lnTo>
                  <a:close/>
                  <a:moveTo>
                    <a:pt x="3979" y="2557"/>
                  </a:moveTo>
                  <a:lnTo>
                    <a:pt x="4043" y="2557"/>
                  </a:lnTo>
                  <a:lnTo>
                    <a:pt x="4043" y="2493"/>
                  </a:lnTo>
                  <a:lnTo>
                    <a:pt x="3979" y="2493"/>
                  </a:lnTo>
                  <a:lnTo>
                    <a:pt x="3979" y="2557"/>
                  </a:lnTo>
                  <a:close/>
                  <a:moveTo>
                    <a:pt x="3979" y="2670"/>
                  </a:moveTo>
                  <a:lnTo>
                    <a:pt x="4043" y="2670"/>
                  </a:lnTo>
                  <a:lnTo>
                    <a:pt x="4043" y="2606"/>
                  </a:lnTo>
                  <a:lnTo>
                    <a:pt x="3979" y="2606"/>
                  </a:lnTo>
                  <a:lnTo>
                    <a:pt x="3979" y="2670"/>
                  </a:lnTo>
                  <a:close/>
                  <a:moveTo>
                    <a:pt x="3979" y="2785"/>
                  </a:moveTo>
                  <a:lnTo>
                    <a:pt x="4043" y="2785"/>
                  </a:lnTo>
                  <a:lnTo>
                    <a:pt x="4043" y="2720"/>
                  </a:lnTo>
                  <a:lnTo>
                    <a:pt x="3979" y="2720"/>
                  </a:lnTo>
                  <a:lnTo>
                    <a:pt x="3979" y="2785"/>
                  </a:lnTo>
                  <a:close/>
                  <a:moveTo>
                    <a:pt x="3979" y="2898"/>
                  </a:moveTo>
                  <a:lnTo>
                    <a:pt x="4043" y="2898"/>
                  </a:lnTo>
                  <a:lnTo>
                    <a:pt x="4043" y="2834"/>
                  </a:lnTo>
                  <a:lnTo>
                    <a:pt x="3979" y="2834"/>
                  </a:lnTo>
                  <a:lnTo>
                    <a:pt x="3979" y="2898"/>
                  </a:lnTo>
                  <a:close/>
                  <a:moveTo>
                    <a:pt x="3979" y="3009"/>
                  </a:moveTo>
                  <a:lnTo>
                    <a:pt x="4043" y="3009"/>
                  </a:lnTo>
                  <a:lnTo>
                    <a:pt x="4043" y="2945"/>
                  </a:lnTo>
                  <a:lnTo>
                    <a:pt x="3979" y="2945"/>
                  </a:lnTo>
                  <a:lnTo>
                    <a:pt x="3979" y="3009"/>
                  </a:lnTo>
                  <a:close/>
                  <a:moveTo>
                    <a:pt x="3979" y="3122"/>
                  </a:moveTo>
                  <a:lnTo>
                    <a:pt x="4043" y="3122"/>
                  </a:lnTo>
                  <a:lnTo>
                    <a:pt x="4043" y="3058"/>
                  </a:lnTo>
                  <a:lnTo>
                    <a:pt x="3979" y="3058"/>
                  </a:lnTo>
                  <a:lnTo>
                    <a:pt x="3979" y="3122"/>
                  </a:lnTo>
                  <a:close/>
                  <a:moveTo>
                    <a:pt x="3979" y="3237"/>
                  </a:moveTo>
                  <a:lnTo>
                    <a:pt x="4043" y="3237"/>
                  </a:lnTo>
                  <a:lnTo>
                    <a:pt x="4043" y="3172"/>
                  </a:lnTo>
                  <a:lnTo>
                    <a:pt x="3979" y="3172"/>
                  </a:lnTo>
                  <a:lnTo>
                    <a:pt x="3979" y="3237"/>
                  </a:lnTo>
                  <a:close/>
                  <a:moveTo>
                    <a:pt x="3979" y="3350"/>
                  </a:moveTo>
                  <a:lnTo>
                    <a:pt x="4043" y="3350"/>
                  </a:lnTo>
                  <a:lnTo>
                    <a:pt x="4043" y="3285"/>
                  </a:lnTo>
                  <a:lnTo>
                    <a:pt x="3979" y="3285"/>
                  </a:lnTo>
                  <a:lnTo>
                    <a:pt x="3979" y="3350"/>
                  </a:lnTo>
                  <a:close/>
                  <a:moveTo>
                    <a:pt x="3979" y="3463"/>
                  </a:moveTo>
                  <a:lnTo>
                    <a:pt x="4043" y="3463"/>
                  </a:lnTo>
                  <a:lnTo>
                    <a:pt x="4043" y="3399"/>
                  </a:lnTo>
                  <a:lnTo>
                    <a:pt x="3979" y="3399"/>
                  </a:lnTo>
                  <a:lnTo>
                    <a:pt x="3979" y="3463"/>
                  </a:lnTo>
                  <a:close/>
                  <a:moveTo>
                    <a:pt x="3979" y="4481"/>
                  </a:moveTo>
                  <a:lnTo>
                    <a:pt x="4043" y="4481"/>
                  </a:lnTo>
                  <a:lnTo>
                    <a:pt x="4043" y="4417"/>
                  </a:lnTo>
                  <a:lnTo>
                    <a:pt x="3979" y="4417"/>
                  </a:lnTo>
                  <a:lnTo>
                    <a:pt x="3979" y="4481"/>
                  </a:lnTo>
                  <a:close/>
                  <a:moveTo>
                    <a:pt x="3979" y="4819"/>
                  </a:moveTo>
                  <a:lnTo>
                    <a:pt x="4043" y="4819"/>
                  </a:lnTo>
                  <a:lnTo>
                    <a:pt x="4043" y="4755"/>
                  </a:lnTo>
                  <a:lnTo>
                    <a:pt x="3979" y="4755"/>
                  </a:lnTo>
                  <a:lnTo>
                    <a:pt x="3979" y="4819"/>
                  </a:lnTo>
                  <a:close/>
                  <a:moveTo>
                    <a:pt x="3979" y="4933"/>
                  </a:moveTo>
                  <a:lnTo>
                    <a:pt x="4043" y="4933"/>
                  </a:lnTo>
                  <a:lnTo>
                    <a:pt x="4043" y="4869"/>
                  </a:lnTo>
                  <a:lnTo>
                    <a:pt x="3979" y="4869"/>
                  </a:lnTo>
                  <a:lnTo>
                    <a:pt x="3979" y="4933"/>
                  </a:lnTo>
                  <a:close/>
                  <a:moveTo>
                    <a:pt x="3979" y="5047"/>
                  </a:moveTo>
                  <a:lnTo>
                    <a:pt x="4043" y="5047"/>
                  </a:lnTo>
                  <a:lnTo>
                    <a:pt x="4043" y="4982"/>
                  </a:lnTo>
                  <a:lnTo>
                    <a:pt x="3979" y="4982"/>
                  </a:lnTo>
                  <a:lnTo>
                    <a:pt x="3979" y="5047"/>
                  </a:lnTo>
                  <a:close/>
                  <a:moveTo>
                    <a:pt x="3979" y="5160"/>
                  </a:moveTo>
                  <a:lnTo>
                    <a:pt x="4043" y="5160"/>
                  </a:lnTo>
                  <a:lnTo>
                    <a:pt x="4043" y="5096"/>
                  </a:lnTo>
                  <a:lnTo>
                    <a:pt x="3979" y="5096"/>
                  </a:lnTo>
                  <a:lnTo>
                    <a:pt x="3979" y="5160"/>
                  </a:lnTo>
                  <a:close/>
                  <a:moveTo>
                    <a:pt x="3979" y="5271"/>
                  </a:moveTo>
                  <a:lnTo>
                    <a:pt x="4043" y="5271"/>
                  </a:lnTo>
                  <a:lnTo>
                    <a:pt x="4043" y="5206"/>
                  </a:lnTo>
                  <a:lnTo>
                    <a:pt x="3979" y="5206"/>
                  </a:lnTo>
                  <a:lnTo>
                    <a:pt x="3979" y="5271"/>
                  </a:lnTo>
                  <a:close/>
                  <a:moveTo>
                    <a:pt x="3979" y="5383"/>
                  </a:moveTo>
                  <a:lnTo>
                    <a:pt x="4043" y="5383"/>
                  </a:lnTo>
                  <a:lnTo>
                    <a:pt x="4043" y="5320"/>
                  </a:lnTo>
                  <a:lnTo>
                    <a:pt x="3979" y="5320"/>
                  </a:lnTo>
                  <a:lnTo>
                    <a:pt x="3979" y="5383"/>
                  </a:lnTo>
                  <a:close/>
                  <a:moveTo>
                    <a:pt x="3979" y="5498"/>
                  </a:moveTo>
                  <a:lnTo>
                    <a:pt x="4043" y="5498"/>
                  </a:lnTo>
                  <a:lnTo>
                    <a:pt x="4043" y="5434"/>
                  </a:lnTo>
                  <a:lnTo>
                    <a:pt x="3979" y="5434"/>
                  </a:lnTo>
                  <a:lnTo>
                    <a:pt x="3979" y="5498"/>
                  </a:lnTo>
                  <a:close/>
                  <a:moveTo>
                    <a:pt x="3979" y="5611"/>
                  </a:moveTo>
                  <a:lnTo>
                    <a:pt x="4043" y="5611"/>
                  </a:lnTo>
                  <a:lnTo>
                    <a:pt x="4043" y="5547"/>
                  </a:lnTo>
                  <a:lnTo>
                    <a:pt x="3979" y="5547"/>
                  </a:lnTo>
                  <a:lnTo>
                    <a:pt x="3979" y="5611"/>
                  </a:lnTo>
                  <a:close/>
                  <a:moveTo>
                    <a:pt x="3979" y="5722"/>
                  </a:moveTo>
                  <a:lnTo>
                    <a:pt x="4043" y="5722"/>
                  </a:lnTo>
                  <a:lnTo>
                    <a:pt x="4043" y="5658"/>
                  </a:lnTo>
                  <a:lnTo>
                    <a:pt x="3979" y="5658"/>
                  </a:lnTo>
                  <a:lnTo>
                    <a:pt x="3979" y="5722"/>
                  </a:lnTo>
                  <a:close/>
                  <a:moveTo>
                    <a:pt x="3979" y="5836"/>
                  </a:moveTo>
                  <a:lnTo>
                    <a:pt x="4043" y="5836"/>
                  </a:lnTo>
                  <a:lnTo>
                    <a:pt x="4043" y="5771"/>
                  </a:lnTo>
                  <a:lnTo>
                    <a:pt x="3979" y="5771"/>
                  </a:lnTo>
                  <a:lnTo>
                    <a:pt x="3979" y="5836"/>
                  </a:lnTo>
                  <a:close/>
                  <a:moveTo>
                    <a:pt x="3979" y="5950"/>
                  </a:moveTo>
                  <a:lnTo>
                    <a:pt x="4043" y="5950"/>
                  </a:lnTo>
                  <a:lnTo>
                    <a:pt x="4043" y="5885"/>
                  </a:lnTo>
                  <a:lnTo>
                    <a:pt x="3979" y="5885"/>
                  </a:lnTo>
                  <a:lnTo>
                    <a:pt x="3979" y="5950"/>
                  </a:lnTo>
                  <a:close/>
                  <a:moveTo>
                    <a:pt x="3979" y="6063"/>
                  </a:moveTo>
                  <a:lnTo>
                    <a:pt x="4043" y="6063"/>
                  </a:lnTo>
                  <a:lnTo>
                    <a:pt x="4043" y="5999"/>
                  </a:lnTo>
                  <a:lnTo>
                    <a:pt x="3979" y="5999"/>
                  </a:lnTo>
                  <a:lnTo>
                    <a:pt x="3979" y="6063"/>
                  </a:lnTo>
                  <a:close/>
                  <a:moveTo>
                    <a:pt x="3979" y="6175"/>
                  </a:moveTo>
                  <a:lnTo>
                    <a:pt x="4043" y="6175"/>
                  </a:lnTo>
                  <a:lnTo>
                    <a:pt x="4043" y="6111"/>
                  </a:lnTo>
                  <a:lnTo>
                    <a:pt x="3979" y="6111"/>
                  </a:lnTo>
                  <a:lnTo>
                    <a:pt x="3979" y="6175"/>
                  </a:lnTo>
                  <a:close/>
                  <a:moveTo>
                    <a:pt x="3979" y="6289"/>
                  </a:moveTo>
                  <a:lnTo>
                    <a:pt x="4043" y="6289"/>
                  </a:lnTo>
                  <a:lnTo>
                    <a:pt x="4043" y="6224"/>
                  </a:lnTo>
                  <a:lnTo>
                    <a:pt x="3979" y="6224"/>
                  </a:lnTo>
                  <a:lnTo>
                    <a:pt x="3979" y="6289"/>
                  </a:lnTo>
                  <a:close/>
                  <a:moveTo>
                    <a:pt x="3979" y="6402"/>
                  </a:moveTo>
                  <a:lnTo>
                    <a:pt x="4043" y="6402"/>
                  </a:lnTo>
                  <a:lnTo>
                    <a:pt x="4043" y="6338"/>
                  </a:lnTo>
                  <a:lnTo>
                    <a:pt x="3979" y="6338"/>
                  </a:lnTo>
                  <a:lnTo>
                    <a:pt x="3979" y="6402"/>
                  </a:lnTo>
                  <a:close/>
                  <a:moveTo>
                    <a:pt x="3979" y="6516"/>
                  </a:moveTo>
                  <a:lnTo>
                    <a:pt x="4043" y="6516"/>
                  </a:lnTo>
                  <a:lnTo>
                    <a:pt x="4043" y="6451"/>
                  </a:lnTo>
                  <a:lnTo>
                    <a:pt x="3979" y="6451"/>
                  </a:lnTo>
                  <a:lnTo>
                    <a:pt x="3979" y="6516"/>
                  </a:lnTo>
                  <a:close/>
                  <a:moveTo>
                    <a:pt x="3979" y="6627"/>
                  </a:moveTo>
                  <a:lnTo>
                    <a:pt x="4043" y="6627"/>
                  </a:lnTo>
                  <a:lnTo>
                    <a:pt x="4043" y="6562"/>
                  </a:lnTo>
                  <a:lnTo>
                    <a:pt x="3979" y="6562"/>
                  </a:lnTo>
                  <a:lnTo>
                    <a:pt x="3979" y="6627"/>
                  </a:lnTo>
                  <a:close/>
                  <a:moveTo>
                    <a:pt x="3979" y="6740"/>
                  </a:moveTo>
                  <a:lnTo>
                    <a:pt x="4043" y="6740"/>
                  </a:lnTo>
                  <a:lnTo>
                    <a:pt x="4043" y="6676"/>
                  </a:lnTo>
                  <a:lnTo>
                    <a:pt x="3979" y="6676"/>
                  </a:lnTo>
                  <a:lnTo>
                    <a:pt x="3979" y="6740"/>
                  </a:lnTo>
                  <a:close/>
                  <a:moveTo>
                    <a:pt x="3979" y="6855"/>
                  </a:moveTo>
                  <a:lnTo>
                    <a:pt x="4043" y="6855"/>
                  </a:lnTo>
                  <a:lnTo>
                    <a:pt x="4043" y="6790"/>
                  </a:lnTo>
                  <a:lnTo>
                    <a:pt x="3979" y="6790"/>
                  </a:lnTo>
                  <a:lnTo>
                    <a:pt x="3979" y="6855"/>
                  </a:lnTo>
                  <a:close/>
                  <a:moveTo>
                    <a:pt x="3979" y="6967"/>
                  </a:moveTo>
                  <a:lnTo>
                    <a:pt x="4043" y="6967"/>
                  </a:lnTo>
                  <a:lnTo>
                    <a:pt x="4043" y="6903"/>
                  </a:lnTo>
                  <a:lnTo>
                    <a:pt x="3979" y="6903"/>
                  </a:lnTo>
                  <a:lnTo>
                    <a:pt x="3979" y="6967"/>
                  </a:lnTo>
                  <a:close/>
                  <a:moveTo>
                    <a:pt x="3979" y="7312"/>
                  </a:moveTo>
                  <a:lnTo>
                    <a:pt x="4043" y="7312"/>
                  </a:lnTo>
                  <a:lnTo>
                    <a:pt x="4043" y="7248"/>
                  </a:lnTo>
                  <a:lnTo>
                    <a:pt x="3979" y="7248"/>
                  </a:lnTo>
                  <a:lnTo>
                    <a:pt x="3979" y="7312"/>
                  </a:lnTo>
                  <a:close/>
                  <a:moveTo>
                    <a:pt x="4093" y="65"/>
                  </a:moveTo>
                  <a:lnTo>
                    <a:pt x="4157" y="65"/>
                  </a:lnTo>
                  <a:lnTo>
                    <a:pt x="4157" y="0"/>
                  </a:lnTo>
                  <a:lnTo>
                    <a:pt x="4093" y="0"/>
                  </a:lnTo>
                  <a:lnTo>
                    <a:pt x="4093" y="65"/>
                  </a:lnTo>
                  <a:close/>
                  <a:moveTo>
                    <a:pt x="4093" y="179"/>
                  </a:moveTo>
                  <a:lnTo>
                    <a:pt x="4157" y="179"/>
                  </a:lnTo>
                  <a:lnTo>
                    <a:pt x="4157" y="115"/>
                  </a:lnTo>
                  <a:lnTo>
                    <a:pt x="4093" y="115"/>
                  </a:lnTo>
                  <a:lnTo>
                    <a:pt x="4093" y="179"/>
                  </a:lnTo>
                  <a:close/>
                  <a:moveTo>
                    <a:pt x="4093" y="292"/>
                  </a:moveTo>
                  <a:lnTo>
                    <a:pt x="4157" y="292"/>
                  </a:lnTo>
                  <a:lnTo>
                    <a:pt x="4157" y="228"/>
                  </a:lnTo>
                  <a:lnTo>
                    <a:pt x="4093" y="228"/>
                  </a:lnTo>
                  <a:lnTo>
                    <a:pt x="4093" y="292"/>
                  </a:lnTo>
                  <a:close/>
                  <a:moveTo>
                    <a:pt x="4093" y="403"/>
                  </a:moveTo>
                  <a:lnTo>
                    <a:pt x="4157" y="403"/>
                  </a:lnTo>
                  <a:lnTo>
                    <a:pt x="4157" y="339"/>
                  </a:lnTo>
                  <a:lnTo>
                    <a:pt x="4093" y="339"/>
                  </a:lnTo>
                  <a:lnTo>
                    <a:pt x="4093" y="403"/>
                  </a:lnTo>
                  <a:close/>
                  <a:moveTo>
                    <a:pt x="4093" y="517"/>
                  </a:moveTo>
                  <a:lnTo>
                    <a:pt x="4157" y="517"/>
                  </a:lnTo>
                  <a:lnTo>
                    <a:pt x="4157" y="452"/>
                  </a:lnTo>
                  <a:lnTo>
                    <a:pt x="4093" y="452"/>
                  </a:lnTo>
                  <a:lnTo>
                    <a:pt x="4093" y="517"/>
                  </a:lnTo>
                  <a:close/>
                  <a:moveTo>
                    <a:pt x="4093" y="631"/>
                  </a:moveTo>
                  <a:lnTo>
                    <a:pt x="4157" y="631"/>
                  </a:lnTo>
                  <a:lnTo>
                    <a:pt x="4157" y="566"/>
                  </a:lnTo>
                  <a:lnTo>
                    <a:pt x="4093" y="566"/>
                  </a:lnTo>
                  <a:lnTo>
                    <a:pt x="4093" y="631"/>
                  </a:lnTo>
                  <a:close/>
                  <a:moveTo>
                    <a:pt x="4093" y="744"/>
                  </a:moveTo>
                  <a:lnTo>
                    <a:pt x="4157" y="744"/>
                  </a:lnTo>
                  <a:lnTo>
                    <a:pt x="4157" y="680"/>
                  </a:lnTo>
                  <a:lnTo>
                    <a:pt x="4093" y="680"/>
                  </a:lnTo>
                  <a:lnTo>
                    <a:pt x="4093" y="744"/>
                  </a:lnTo>
                  <a:close/>
                  <a:moveTo>
                    <a:pt x="4093" y="856"/>
                  </a:moveTo>
                  <a:lnTo>
                    <a:pt x="4157" y="856"/>
                  </a:lnTo>
                  <a:lnTo>
                    <a:pt x="4157" y="792"/>
                  </a:lnTo>
                  <a:lnTo>
                    <a:pt x="4093" y="792"/>
                  </a:lnTo>
                  <a:lnTo>
                    <a:pt x="4093" y="856"/>
                  </a:lnTo>
                  <a:close/>
                  <a:moveTo>
                    <a:pt x="4093" y="969"/>
                  </a:moveTo>
                  <a:lnTo>
                    <a:pt x="4157" y="969"/>
                  </a:lnTo>
                  <a:lnTo>
                    <a:pt x="4157" y="905"/>
                  </a:lnTo>
                  <a:lnTo>
                    <a:pt x="4093" y="905"/>
                  </a:lnTo>
                  <a:lnTo>
                    <a:pt x="4093" y="969"/>
                  </a:lnTo>
                  <a:close/>
                  <a:moveTo>
                    <a:pt x="4093" y="1084"/>
                  </a:moveTo>
                  <a:lnTo>
                    <a:pt x="4157" y="1084"/>
                  </a:lnTo>
                  <a:lnTo>
                    <a:pt x="4157" y="1019"/>
                  </a:lnTo>
                  <a:lnTo>
                    <a:pt x="4093" y="1019"/>
                  </a:lnTo>
                  <a:lnTo>
                    <a:pt x="4093" y="1084"/>
                  </a:lnTo>
                  <a:close/>
                  <a:moveTo>
                    <a:pt x="4093" y="2105"/>
                  </a:moveTo>
                  <a:lnTo>
                    <a:pt x="4157" y="2105"/>
                  </a:lnTo>
                  <a:lnTo>
                    <a:pt x="4157" y="2040"/>
                  </a:lnTo>
                  <a:lnTo>
                    <a:pt x="4093" y="2040"/>
                  </a:lnTo>
                  <a:lnTo>
                    <a:pt x="4093" y="2105"/>
                  </a:lnTo>
                  <a:close/>
                  <a:moveTo>
                    <a:pt x="4093" y="2218"/>
                  </a:moveTo>
                  <a:lnTo>
                    <a:pt x="4157" y="2218"/>
                  </a:lnTo>
                  <a:lnTo>
                    <a:pt x="4157" y="2153"/>
                  </a:lnTo>
                  <a:lnTo>
                    <a:pt x="4093" y="2153"/>
                  </a:lnTo>
                  <a:lnTo>
                    <a:pt x="4093" y="2218"/>
                  </a:lnTo>
                  <a:close/>
                  <a:moveTo>
                    <a:pt x="4093" y="2785"/>
                  </a:moveTo>
                  <a:lnTo>
                    <a:pt x="4157" y="2785"/>
                  </a:lnTo>
                  <a:lnTo>
                    <a:pt x="4157" y="2720"/>
                  </a:lnTo>
                  <a:lnTo>
                    <a:pt x="4093" y="2720"/>
                  </a:lnTo>
                  <a:lnTo>
                    <a:pt x="4093" y="2785"/>
                  </a:lnTo>
                  <a:close/>
                  <a:moveTo>
                    <a:pt x="4093" y="2898"/>
                  </a:moveTo>
                  <a:lnTo>
                    <a:pt x="4157" y="2898"/>
                  </a:lnTo>
                  <a:lnTo>
                    <a:pt x="4157" y="2834"/>
                  </a:lnTo>
                  <a:lnTo>
                    <a:pt x="4093" y="2834"/>
                  </a:lnTo>
                  <a:lnTo>
                    <a:pt x="4093" y="2898"/>
                  </a:lnTo>
                  <a:close/>
                  <a:moveTo>
                    <a:pt x="4093" y="3009"/>
                  </a:moveTo>
                  <a:lnTo>
                    <a:pt x="4157" y="3009"/>
                  </a:lnTo>
                  <a:lnTo>
                    <a:pt x="4157" y="2945"/>
                  </a:lnTo>
                  <a:lnTo>
                    <a:pt x="4093" y="2945"/>
                  </a:lnTo>
                  <a:lnTo>
                    <a:pt x="4093" y="3009"/>
                  </a:lnTo>
                  <a:close/>
                  <a:moveTo>
                    <a:pt x="4093" y="3122"/>
                  </a:moveTo>
                  <a:lnTo>
                    <a:pt x="4157" y="3122"/>
                  </a:lnTo>
                  <a:lnTo>
                    <a:pt x="4157" y="3058"/>
                  </a:lnTo>
                  <a:lnTo>
                    <a:pt x="4093" y="3058"/>
                  </a:lnTo>
                  <a:lnTo>
                    <a:pt x="4093" y="3122"/>
                  </a:lnTo>
                  <a:close/>
                  <a:moveTo>
                    <a:pt x="4093" y="3237"/>
                  </a:moveTo>
                  <a:lnTo>
                    <a:pt x="4157" y="3237"/>
                  </a:lnTo>
                  <a:lnTo>
                    <a:pt x="4157" y="3172"/>
                  </a:lnTo>
                  <a:lnTo>
                    <a:pt x="4093" y="3172"/>
                  </a:lnTo>
                  <a:lnTo>
                    <a:pt x="4093" y="3237"/>
                  </a:lnTo>
                  <a:close/>
                  <a:moveTo>
                    <a:pt x="4093" y="3350"/>
                  </a:moveTo>
                  <a:lnTo>
                    <a:pt x="4157" y="3350"/>
                  </a:lnTo>
                  <a:lnTo>
                    <a:pt x="4157" y="3285"/>
                  </a:lnTo>
                  <a:lnTo>
                    <a:pt x="4093" y="3285"/>
                  </a:lnTo>
                  <a:lnTo>
                    <a:pt x="4093" y="3350"/>
                  </a:lnTo>
                  <a:close/>
                  <a:moveTo>
                    <a:pt x="4093" y="3463"/>
                  </a:moveTo>
                  <a:lnTo>
                    <a:pt x="4157" y="3463"/>
                  </a:lnTo>
                  <a:lnTo>
                    <a:pt x="4157" y="3399"/>
                  </a:lnTo>
                  <a:lnTo>
                    <a:pt x="4093" y="3399"/>
                  </a:lnTo>
                  <a:lnTo>
                    <a:pt x="4093" y="3463"/>
                  </a:lnTo>
                  <a:close/>
                  <a:moveTo>
                    <a:pt x="4093" y="4481"/>
                  </a:moveTo>
                  <a:lnTo>
                    <a:pt x="4157" y="4481"/>
                  </a:lnTo>
                  <a:lnTo>
                    <a:pt x="4157" y="4417"/>
                  </a:lnTo>
                  <a:lnTo>
                    <a:pt x="4093" y="4417"/>
                  </a:lnTo>
                  <a:lnTo>
                    <a:pt x="4093" y="4481"/>
                  </a:lnTo>
                  <a:close/>
                  <a:moveTo>
                    <a:pt x="4093" y="4708"/>
                  </a:moveTo>
                  <a:lnTo>
                    <a:pt x="4157" y="4708"/>
                  </a:lnTo>
                  <a:lnTo>
                    <a:pt x="4157" y="4644"/>
                  </a:lnTo>
                  <a:lnTo>
                    <a:pt x="4093" y="4644"/>
                  </a:lnTo>
                  <a:lnTo>
                    <a:pt x="4093" y="4708"/>
                  </a:lnTo>
                  <a:close/>
                  <a:moveTo>
                    <a:pt x="4093" y="4819"/>
                  </a:moveTo>
                  <a:lnTo>
                    <a:pt x="4157" y="4819"/>
                  </a:lnTo>
                  <a:lnTo>
                    <a:pt x="4157" y="4755"/>
                  </a:lnTo>
                  <a:lnTo>
                    <a:pt x="4093" y="4755"/>
                  </a:lnTo>
                  <a:lnTo>
                    <a:pt x="4093" y="4819"/>
                  </a:lnTo>
                  <a:close/>
                  <a:moveTo>
                    <a:pt x="4093" y="4933"/>
                  </a:moveTo>
                  <a:lnTo>
                    <a:pt x="4157" y="4933"/>
                  </a:lnTo>
                  <a:lnTo>
                    <a:pt x="4157" y="4869"/>
                  </a:lnTo>
                  <a:lnTo>
                    <a:pt x="4093" y="4869"/>
                  </a:lnTo>
                  <a:lnTo>
                    <a:pt x="4093" y="4933"/>
                  </a:lnTo>
                  <a:close/>
                  <a:moveTo>
                    <a:pt x="4093" y="5047"/>
                  </a:moveTo>
                  <a:lnTo>
                    <a:pt x="4157" y="5047"/>
                  </a:lnTo>
                  <a:lnTo>
                    <a:pt x="4157" y="4982"/>
                  </a:lnTo>
                  <a:lnTo>
                    <a:pt x="4093" y="4982"/>
                  </a:lnTo>
                  <a:lnTo>
                    <a:pt x="4093" y="5047"/>
                  </a:lnTo>
                  <a:close/>
                  <a:moveTo>
                    <a:pt x="4093" y="5160"/>
                  </a:moveTo>
                  <a:lnTo>
                    <a:pt x="4157" y="5160"/>
                  </a:lnTo>
                  <a:lnTo>
                    <a:pt x="4157" y="5096"/>
                  </a:lnTo>
                  <a:lnTo>
                    <a:pt x="4093" y="5096"/>
                  </a:lnTo>
                  <a:lnTo>
                    <a:pt x="4093" y="5160"/>
                  </a:lnTo>
                  <a:close/>
                  <a:moveTo>
                    <a:pt x="4093" y="5271"/>
                  </a:moveTo>
                  <a:lnTo>
                    <a:pt x="4157" y="5271"/>
                  </a:lnTo>
                  <a:lnTo>
                    <a:pt x="4157" y="5206"/>
                  </a:lnTo>
                  <a:lnTo>
                    <a:pt x="4093" y="5206"/>
                  </a:lnTo>
                  <a:lnTo>
                    <a:pt x="4093" y="5271"/>
                  </a:lnTo>
                  <a:close/>
                  <a:moveTo>
                    <a:pt x="4093" y="5383"/>
                  </a:moveTo>
                  <a:lnTo>
                    <a:pt x="4157" y="5383"/>
                  </a:lnTo>
                  <a:lnTo>
                    <a:pt x="4157" y="5320"/>
                  </a:lnTo>
                  <a:lnTo>
                    <a:pt x="4093" y="5320"/>
                  </a:lnTo>
                  <a:lnTo>
                    <a:pt x="4093" y="5383"/>
                  </a:lnTo>
                  <a:close/>
                  <a:moveTo>
                    <a:pt x="4093" y="5498"/>
                  </a:moveTo>
                  <a:lnTo>
                    <a:pt x="4157" y="5498"/>
                  </a:lnTo>
                  <a:lnTo>
                    <a:pt x="4157" y="5434"/>
                  </a:lnTo>
                  <a:lnTo>
                    <a:pt x="4093" y="5434"/>
                  </a:lnTo>
                  <a:lnTo>
                    <a:pt x="4093" y="5498"/>
                  </a:lnTo>
                  <a:close/>
                  <a:moveTo>
                    <a:pt x="4093" y="5611"/>
                  </a:moveTo>
                  <a:lnTo>
                    <a:pt x="4157" y="5611"/>
                  </a:lnTo>
                  <a:lnTo>
                    <a:pt x="4157" y="5547"/>
                  </a:lnTo>
                  <a:lnTo>
                    <a:pt x="4093" y="5547"/>
                  </a:lnTo>
                  <a:lnTo>
                    <a:pt x="4093" y="5611"/>
                  </a:lnTo>
                  <a:close/>
                  <a:moveTo>
                    <a:pt x="4093" y="5722"/>
                  </a:moveTo>
                  <a:lnTo>
                    <a:pt x="4157" y="5722"/>
                  </a:lnTo>
                  <a:lnTo>
                    <a:pt x="4157" y="5658"/>
                  </a:lnTo>
                  <a:lnTo>
                    <a:pt x="4093" y="5658"/>
                  </a:lnTo>
                  <a:lnTo>
                    <a:pt x="4093" y="5722"/>
                  </a:lnTo>
                  <a:close/>
                  <a:moveTo>
                    <a:pt x="4093" y="5836"/>
                  </a:moveTo>
                  <a:lnTo>
                    <a:pt x="4157" y="5836"/>
                  </a:lnTo>
                  <a:lnTo>
                    <a:pt x="4157" y="5771"/>
                  </a:lnTo>
                  <a:lnTo>
                    <a:pt x="4093" y="5771"/>
                  </a:lnTo>
                  <a:lnTo>
                    <a:pt x="4093" y="5836"/>
                  </a:lnTo>
                  <a:close/>
                  <a:moveTo>
                    <a:pt x="4093" y="5950"/>
                  </a:moveTo>
                  <a:lnTo>
                    <a:pt x="4157" y="5950"/>
                  </a:lnTo>
                  <a:lnTo>
                    <a:pt x="4157" y="5885"/>
                  </a:lnTo>
                  <a:lnTo>
                    <a:pt x="4093" y="5885"/>
                  </a:lnTo>
                  <a:lnTo>
                    <a:pt x="4093" y="5950"/>
                  </a:lnTo>
                  <a:close/>
                  <a:moveTo>
                    <a:pt x="4093" y="6063"/>
                  </a:moveTo>
                  <a:lnTo>
                    <a:pt x="4157" y="6063"/>
                  </a:lnTo>
                  <a:lnTo>
                    <a:pt x="4157" y="5999"/>
                  </a:lnTo>
                  <a:lnTo>
                    <a:pt x="4093" y="5999"/>
                  </a:lnTo>
                  <a:lnTo>
                    <a:pt x="4093" y="6063"/>
                  </a:lnTo>
                  <a:close/>
                  <a:moveTo>
                    <a:pt x="4093" y="6175"/>
                  </a:moveTo>
                  <a:lnTo>
                    <a:pt x="4157" y="6175"/>
                  </a:lnTo>
                  <a:lnTo>
                    <a:pt x="4157" y="6111"/>
                  </a:lnTo>
                  <a:lnTo>
                    <a:pt x="4093" y="6111"/>
                  </a:lnTo>
                  <a:lnTo>
                    <a:pt x="4093" y="6175"/>
                  </a:lnTo>
                  <a:close/>
                  <a:moveTo>
                    <a:pt x="4093" y="6289"/>
                  </a:moveTo>
                  <a:lnTo>
                    <a:pt x="4157" y="6289"/>
                  </a:lnTo>
                  <a:lnTo>
                    <a:pt x="4157" y="6224"/>
                  </a:lnTo>
                  <a:lnTo>
                    <a:pt x="4093" y="6224"/>
                  </a:lnTo>
                  <a:lnTo>
                    <a:pt x="4093" y="6289"/>
                  </a:lnTo>
                  <a:close/>
                  <a:moveTo>
                    <a:pt x="4093" y="6402"/>
                  </a:moveTo>
                  <a:lnTo>
                    <a:pt x="4157" y="6402"/>
                  </a:lnTo>
                  <a:lnTo>
                    <a:pt x="4157" y="6338"/>
                  </a:lnTo>
                  <a:lnTo>
                    <a:pt x="4093" y="6338"/>
                  </a:lnTo>
                  <a:lnTo>
                    <a:pt x="4093" y="6402"/>
                  </a:lnTo>
                  <a:close/>
                  <a:moveTo>
                    <a:pt x="4093" y="6516"/>
                  </a:moveTo>
                  <a:lnTo>
                    <a:pt x="4157" y="6516"/>
                  </a:lnTo>
                  <a:lnTo>
                    <a:pt x="4157" y="6451"/>
                  </a:lnTo>
                  <a:lnTo>
                    <a:pt x="4093" y="6451"/>
                  </a:lnTo>
                  <a:lnTo>
                    <a:pt x="4093" y="6516"/>
                  </a:lnTo>
                  <a:close/>
                  <a:moveTo>
                    <a:pt x="4093" y="6627"/>
                  </a:moveTo>
                  <a:lnTo>
                    <a:pt x="4157" y="6627"/>
                  </a:lnTo>
                  <a:lnTo>
                    <a:pt x="4157" y="6562"/>
                  </a:lnTo>
                  <a:lnTo>
                    <a:pt x="4093" y="6562"/>
                  </a:lnTo>
                  <a:lnTo>
                    <a:pt x="4093" y="6627"/>
                  </a:lnTo>
                  <a:close/>
                  <a:moveTo>
                    <a:pt x="5343" y="2330"/>
                  </a:moveTo>
                  <a:lnTo>
                    <a:pt x="5407" y="2330"/>
                  </a:lnTo>
                  <a:lnTo>
                    <a:pt x="5407" y="2265"/>
                  </a:lnTo>
                  <a:lnTo>
                    <a:pt x="5343" y="2265"/>
                  </a:lnTo>
                  <a:lnTo>
                    <a:pt x="5343" y="2330"/>
                  </a:lnTo>
                  <a:close/>
                  <a:moveTo>
                    <a:pt x="5458" y="2330"/>
                  </a:moveTo>
                  <a:lnTo>
                    <a:pt x="5522" y="2330"/>
                  </a:lnTo>
                  <a:lnTo>
                    <a:pt x="5522" y="2265"/>
                  </a:lnTo>
                  <a:lnTo>
                    <a:pt x="5458" y="2265"/>
                  </a:lnTo>
                  <a:lnTo>
                    <a:pt x="5458" y="2330"/>
                  </a:lnTo>
                  <a:close/>
                  <a:moveTo>
                    <a:pt x="5458" y="2444"/>
                  </a:moveTo>
                  <a:lnTo>
                    <a:pt x="5522" y="2444"/>
                  </a:lnTo>
                  <a:lnTo>
                    <a:pt x="5522" y="2380"/>
                  </a:lnTo>
                  <a:lnTo>
                    <a:pt x="5458" y="2380"/>
                  </a:lnTo>
                  <a:lnTo>
                    <a:pt x="5458" y="2444"/>
                  </a:lnTo>
                  <a:close/>
                  <a:moveTo>
                    <a:pt x="5572" y="2330"/>
                  </a:moveTo>
                  <a:lnTo>
                    <a:pt x="5635" y="2330"/>
                  </a:lnTo>
                  <a:lnTo>
                    <a:pt x="5635" y="2265"/>
                  </a:lnTo>
                  <a:lnTo>
                    <a:pt x="5572" y="2265"/>
                  </a:lnTo>
                  <a:lnTo>
                    <a:pt x="5572" y="2330"/>
                  </a:lnTo>
                  <a:close/>
                  <a:moveTo>
                    <a:pt x="5572" y="2444"/>
                  </a:moveTo>
                  <a:lnTo>
                    <a:pt x="5635" y="2444"/>
                  </a:lnTo>
                  <a:lnTo>
                    <a:pt x="5635" y="2380"/>
                  </a:lnTo>
                  <a:lnTo>
                    <a:pt x="5572" y="2380"/>
                  </a:lnTo>
                  <a:lnTo>
                    <a:pt x="5572" y="2444"/>
                  </a:lnTo>
                  <a:close/>
                  <a:moveTo>
                    <a:pt x="5572" y="4479"/>
                  </a:moveTo>
                  <a:lnTo>
                    <a:pt x="5635" y="4479"/>
                  </a:lnTo>
                  <a:lnTo>
                    <a:pt x="5635" y="4415"/>
                  </a:lnTo>
                  <a:lnTo>
                    <a:pt x="5572" y="4415"/>
                  </a:lnTo>
                  <a:lnTo>
                    <a:pt x="5572" y="4479"/>
                  </a:lnTo>
                  <a:close/>
                  <a:moveTo>
                    <a:pt x="5572" y="4593"/>
                  </a:moveTo>
                  <a:lnTo>
                    <a:pt x="5635" y="4593"/>
                  </a:lnTo>
                  <a:lnTo>
                    <a:pt x="5635" y="4528"/>
                  </a:lnTo>
                  <a:lnTo>
                    <a:pt x="5572" y="4528"/>
                  </a:lnTo>
                  <a:lnTo>
                    <a:pt x="5572" y="4593"/>
                  </a:lnTo>
                  <a:close/>
                  <a:moveTo>
                    <a:pt x="5572" y="4707"/>
                  </a:moveTo>
                  <a:lnTo>
                    <a:pt x="5635" y="4707"/>
                  </a:lnTo>
                  <a:lnTo>
                    <a:pt x="5635" y="4642"/>
                  </a:lnTo>
                  <a:lnTo>
                    <a:pt x="5572" y="4642"/>
                  </a:lnTo>
                  <a:lnTo>
                    <a:pt x="5572" y="4707"/>
                  </a:lnTo>
                  <a:close/>
                  <a:moveTo>
                    <a:pt x="5572" y="4820"/>
                  </a:moveTo>
                  <a:lnTo>
                    <a:pt x="5635" y="4820"/>
                  </a:lnTo>
                  <a:lnTo>
                    <a:pt x="5635" y="4755"/>
                  </a:lnTo>
                  <a:lnTo>
                    <a:pt x="5572" y="4755"/>
                  </a:lnTo>
                  <a:lnTo>
                    <a:pt x="5572" y="4820"/>
                  </a:lnTo>
                  <a:close/>
                  <a:moveTo>
                    <a:pt x="5686" y="2330"/>
                  </a:moveTo>
                  <a:lnTo>
                    <a:pt x="5750" y="2330"/>
                  </a:lnTo>
                  <a:lnTo>
                    <a:pt x="5750" y="2265"/>
                  </a:lnTo>
                  <a:lnTo>
                    <a:pt x="5686" y="2265"/>
                  </a:lnTo>
                  <a:lnTo>
                    <a:pt x="5686" y="2330"/>
                  </a:lnTo>
                  <a:close/>
                  <a:moveTo>
                    <a:pt x="5686" y="4367"/>
                  </a:moveTo>
                  <a:lnTo>
                    <a:pt x="5750" y="4367"/>
                  </a:lnTo>
                  <a:lnTo>
                    <a:pt x="5750" y="4303"/>
                  </a:lnTo>
                  <a:lnTo>
                    <a:pt x="5686" y="4303"/>
                  </a:lnTo>
                  <a:lnTo>
                    <a:pt x="5686" y="4367"/>
                  </a:lnTo>
                  <a:close/>
                  <a:moveTo>
                    <a:pt x="5686" y="4479"/>
                  </a:moveTo>
                  <a:lnTo>
                    <a:pt x="5750" y="4479"/>
                  </a:lnTo>
                  <a:lnTo>
                    <a:pt x="5750" y="4415"/>
                  </a:lnTo>
                  <a:lnTo>
                    <a:pt x="5686" y="4415"/>
                  </a:lnTo>
                  <a:lnTo>
                    <a:pt x="5686" y="4479"/>
                  </a:lnTo>
                  <a:close/>
                  <a:moveTo>
                    <a:pt x="5686" y="4593"/>
                  </a:moveTo>
                  <a:lnTo>
                    <a:pt x="5750" y="4593"/>
                  </a:lnTo>
                  <a:lnTo>
                    <a:pt x="5750" y="4528"/>
                  </a:lnTo>
                  <a:lnTo>
                    <a:pt x="5686" y="4528"/>
                  </a:lnTo>
                  <a:lnTo>
                    <a:pt x="5686" y="4593"/>
                  </a:lnTo>
                  <a:close/>
                  <a:moveTo>
                    <a:pt x="5686" y="4707"/>
                  </a:moveTo>
                  <a:lnTo>
                    <a:pt x="5750" y="4707"/>
                  </a:lnTo>
                  <a:lnTo>
                    <a:pt x="5750" y="4642"/>
                  </a:lnTo>
                  <a:lnTo>
                    <a:pt x="5686" y="4642"/>
                  </a:lnTo>
                  <a:lnTo>
                    <a:pt x="5686" y="4707"/>
                  </a:lnTo>
                  <a:close/>
                  <a:moveTo>
                    <a:pt x="5686" y="4820"/>
                  </a:moveTo>
                  <a:lnTo>
                    <a:pt x="5750" y="4820"/>
                  </a:lnTo>
                  <a:lnTo>
                    <a:pt x="5750" y="4755"/>
                  </a:lnTo>
                  <a:lnTo>
                    <a:pt x="5686" y="4755"/>
                  </a:lnTo>
                  <a:lnTo>
                    <a:pt x="5686" y="4820"/>
                  </a:lnTo>
                  <a:close/>
                  <a:moveTo>
                    <a:pt x="5686" y="4931"/>
                  </a:moveTo>
                  <a:lnTo>
                    <a:pt x="5750" y="4931"/>
                  </a:lnTo>
                  <a:lnTo>
                    <a:pt x="5750" y="4866"/>
                  </a:lnTo>
                  <a:lnTo>
                    <a:pt x="5686" y="4866"/>
                  </a:lnTo>
                  <a:lnTo>
                    <a:pt x="5686" y="4931"/>
                  </a:lnTo>
                  <a:close/>
                  <a:moveTo>
                    <a:pt x="5798" y="1878"/>
                  </a:moveTo>
                  <a:lnTo>
                    <a:pt x="5862" y="1878"/>
                  </a:lnTo>
                  <a:lnTo>
                    <a:pt x="5862" y="1814"/>
                  </a:lnTo>
                  <a:lnTo>
                    <a:pt x="5798" y="1814"/>
                  </a:lnTo>
                  <a:lnTo>
                    <a:pt x="5798" y="1878"/>
                  </a:lnTo>
                  <a:close/>
                  <a:moveTo>
                    <a:pt x="5798" y="3010"/>
                  </a:moveTo>
                  <a:lnTo>
                    <a:pt x="5862" y="3010"/>
                  </a:lnTo>
                  <a:lnTo>
                    <a:pt x="5862" y="2946"/>
                  </a:lnTo>
                  <a:lnTo>
                    <a:pt x="5798" y="2946"/>
                  </a:lnTo>
                  <a:lnTo>
                    <a:pt x="5798" y="3010"/>
                  </a:lnTo>
                  <a:close/>
                  <a:moveTo>
                    <a:pt x="5798" y="3121"/>
                  </a:moveTo>
                  <a:lnTo>
                    <a:pt x="5862" y="3121"/>
                  </a:lnTo>
                  <a:lnTo>
                    <a:pt x="5862" y="3057"/>
                  </a:lnTo>
                  <a:lnTo>
                    <a:pt x="5798" y="3057"/>
                  </a:lnTo>
                  <a:lnTo>
                    <a:pt x="5798" y="3121"/>
                  </a:lnTo>
                  <a:close/>
                  <a:moveTo>
                    <a:pt x="5798" y="3688"/>
                  </a:moveTo>
                  <a:lnTo>
                    <a:pt x="5862" y="3688"/>
                  </a:lnTo>
                  <a:lnTo>
                    <a:pt x="5862" y="3624"/>
                  </a:lnTo>
                  <a:lnTo>
                    <a:pt x="5798" y="3624"/>
                  </a:lnTo>
                  <a:lnTo>
                    <a:pt x="5798" y="3688"/>
                  </a:lnTo>
                  <a:close/>
                  <a:moveTo>
                    <a:pt x="5798" y="3802"/>
                  </a:moveTo>
                  <a:lnTo>
                    <a:pt x="5862" y="3802"/>
                  </a:lnTo>
                  <a:lnTo>
                    <a:pt x="5862" y="3738"/>
                  </a:lnTo>
                  <a:lnTo>
                    <a:pt x="5798" y="3738"/>
                  </a:lnTo>
                  <a:lnTo>
                    <a:pt x="5798" y="3802"/>
                  </a:lnTo>
                  <a:close/>
                  <a:moveTo>
                    <a:pt x="5798" y="4140"/>
                  </a:moveTo>
                  <a:lnTo>
                    <a:pt x="5862" y="4140"/>
                  </a:lnTo>
                  <a:lnTo>
                    <a:pt x="5862" y="4076"/>
                  </a:lnTo>
                  <a:lnTo>
                    <a:pt x="5798" y="4076"/>
                  </a:lnTo>
                  <a:lnTo>
                    <a:pt x="5798" y="4140"/>
                  </a:lnTo>
                  <a:close/>
                  <a:moveTo>
                    <a:pt x="5798" y="4254"/>
                  </a:moveTo>
                  <a:lnTo>
                    <a:pt x="5862" y="4254"/>
                  </a:lnTo>
                  <a:lnTo>
                    <a:pt x="5862" y="4190"/>
                  </a:lnTo>
                  <a:lnTo>
                    <a:pt x="5798" y="4190"/>
                  </a:lnTo>
                  <a:lnTo>
                    <a:pt x="5798" y="4254"/>
                  </a:lnTo>
                  <a:close/>
                  <a:moveTo>
                    <a:pt x="5798" y="4367"/>
                  </a:moveTo>
                  <a:lnTo>
                    <a:pt x="5862" y="4367"/>
                  </a:lnTo>
                  <a:lnTo>
                    <a:pt x="5862" y="4303"/>
                  </a:lnTo>
                  <a:lnTo>
                    <a:pt x="5798" y="4303"/>
                  </a:lnTo>
                  <a:lnTo>
                    <a:pt x="5798" y="4367"/>
                  </a:lnTo>
                  <a:close/>
                  <a:moveTo>
                    <a:pt x="5798" y="4479"/>
                  </a:moveTo>
                  <a:lnTo>
                    <a:pt x="5862" y="4479"/>
                  </a:lnTo>
                  <a:lnTo>
                    <a:pt x="5862" y="4415"/>
                  </a:lnTo>
                  <a:lnTo>
                    <a:pt x="5798" y="4415"/>
                  </a:lnTo>
                  <a:lnTo>
                    <a:pt x="5798" y="4479"/>
                  </a:lnTo>
                  <a:close/>
                  <a:moveTo>
                    <a:pt x="5798" y="4593"/>
                  </a:moveTo>
                  <a:lnTo>
                    <a:pt x="5862" y="4593"/>
                  </a:lnTo>
                  <a:lnTo>
                    <a:pt x="5862" y="4528"/>
                  </a:lnTo>
                  <a:lnTo>
                    <a:pt x="5798" y="4528"/>
                  </a:lnTo>
                  <a:lnTo>
                    <a:pt x="5798" y="4593"/>
                  </a:lnTo>
                  <a:close/>
                  <a:moveTo>
                    <a:pt x="5798" y="4707"/>
                  </a:moveTo>
                  <a:lnTo>
                    <a:pt x="5862" y="4707"/>
                  </a:lnTo>
                  <a:lnTo>
                    <a:pt x="5862" y="4642"/>
                  </a:lnTo>
                  <a:lnTo>
                    <a:pt x="5798" y="4642"/>
                  </a:lnTo>
                  <a:lnTo>
                    <a:pt x="5798" y="4707"/>
                  </a:lnTo>
                  <a:close/>
                  <a:moveTo>
                    <a:pt x="5798" y="4820"/>
                  </a:moveTo>
                  <a:lnTo>
                    <a:pt x="5862" y="4820"/>
                  </a:lnTo>
                  <a:lnTo>
                    <a:pt x="5862" y="4755"/>
                  </a:lnTo>
                  <a:lnTo>
                    <a:pt x="5798" y="4755"/>
                  </a:lnTo>
                  <a:lnTo>
                    <a:pt x="5798" y="4820"/>
                  </a:lnTo>
                  <a:close/>
                  <a:moveTo>
                    <a:pt x="5798" y="4931"/>
                  </a:moveTo>
                  <a:lnTo>
                    <a:pt x="5862" y="4931"/>
                  </a:lnTo>
                  <a:lnTo>
                    <a:pt x="5862" y="4866"/>
                  </a:lnTo>
                  <a:lnTo>
                    <a:pt x="5798" y="4866"/>
                  </a:lnTo>
                  <a:lnTo>
                    <a:pt x="5798" y="4931"/>
                  </a:lnTo>
                  <a:close/>
                  <a:moveTo>
                    <a:pt x="5798" y="5044"/>
                  </a:moveTo>
                  <a:lnTo>
                    <a:pt x="5862" y="5044"/>
                  </a:lnTo>
                  <a:lnTo>
                    <a:pt x="5862" y="4980"/>
                  </a:lnTo>
                  <a:lnTo>
                    <a:pt x="5798" y="4980"/>
                  </a:lnTo>
                  <a:lnTo>
                    <a:pt x="5798" y="5044"/>
                  </a:lnTo>
                  <a:close/>
                  <a:moveTo>
                    <a:pt x="5912" y="2783"/>
                  </a:moveTo>
                  <a:lnTo>
                    <a:pt x="5976" y="2783"/>
                  </a:lnTo>
                  <a:lnTo>
                    <a:pt x="5976" y="2718"/>
                  </a:lnTo>
                  <a:lnTo>
                    <a:pt x="5912" y="2718"/>
                  </a:lnTo>
                  <a:lnTo>
                    <a:pt x="5912" y="2783"/>
                  </a:lnTo>
                  <a:close/>
                  <a:moveTo>
                    <a:pt x="5912" y="2897"/>
                  </a:moveTo>
                  <a:lnTo>
                    <a:pt x="5976" y="2897"/>
                  </a:lnTo>
                  <a:lnTo>
                    <a:pt x="5976" y="2832"/>
                  </a:lnTo>
                  <a:lnTo>
                    <a:pt x="5912" y="2832"/>
                  </a:lnTo>
                  <a:lnTo>
                    <a:pt x="5912" y="2897"/>
                  </a:lnTo>
                  <a:close/>
                  <a:moveTo>
                    <a:pt x="5912" y="3010"/>
                  </a:moveTo>
                  <a:lnTo>
                    <a:pt x="5976" y="3010"/>
                  </a:lnTo>
                  <a:lnTo>
                    <a:pt x="5976" y="2946"/>
                  </a:lnTo>
                  <a:lnTo>
                    <a:pt x="5912" y="2946"/>
                  </a:lnTo>
                  <a:lnTo>
                    <a:pt x="5912" y="3010"/>
                  </a:lnTo>
                  <a:close/>
                  <a:moveTo>
                    <a:pt x="5912" y="3234"/>
                  </a:moveTo>
                  <a:lnTo>
                    <a:pt x="5976" y="3234"/>
                  </a:lnTo>
                  <a:lnTo>
                    <a:pt x="5976" y="3170"/>
                  </a:lnTo>
                  <a:lnTo>
                    <a:pt x="5912" y="3170"/>
                  </a:lnTo>
                  <a:lnTo>
                    <a:pt x="5912" y="3234"/>
                  </a:lnTo>
                  <a:close/>
                  <a:moveTo>
                    <a:pt x="5912" y="3688"/>
                  </a:moveTo>
                  <a:lnTo>
                    <a:pt x="5976" y="3688"/>
                  </a:lnTo>
                  <a:lnTo>
                    <a:pt x="5976" y="3624"/>
                  </a:lnTo>
                  <a:lnTo>
                    <a:pt x="5912" y="3624"/>
                  </a:lnTo>
                  <a:lnTo>
                    <a:pt x="5912" y="3688"/>
                  </a:lnTo>
                  <a:close/>
                  <a:moveTo>
                    <a:pt x="5912" y="3802"/>
                  </a:moveTo>
                  <a:lnTo>
                    <a:pt x="5976" y="3802"/>
                  </a:lnTo>
                  <a:lnTo>
                    <a:pt x="5976" y="3738"/>
                  </a:lnTo>
                  <a:lnTo>
                    <a:pt x="5912" y="3738"/>
                  </a:lnTo>
                  <a:lnTo>
                    <a:pt x="5912" y="3802"/>
                  </a:lnTo>
                  <a:close/>
                  <a:moveTo>
                    <a:pt x="5912" y="3916"/>
                  </a:moveTo>
                  <a:lnTo>
                    <a:pt x="5976" y="3916"/>
                  </a:lnTo>
                  <a:lnTo>
                    <a:pt x="5976" y="3851"/>
                  </a:lnTo>
                  <a:lnTo>
                    <a:pt x="5912" y="3851"/>
                  </a:lnTo>
                  <a:lnTo>
                    <a:pt x="5912" y="3916"/>
                  </a:lnTo>
                  <a:close/>
                  <a:moveTo>
                    <a:pt x="5912" y="4026"/>
                  </a:moveTo>
                  <a:lnTo>
                    <a:pt x="5976" y="4026"/>
                  </a:lnTo>
                  <a:lnTo>
                    <a:pt x="5976" y="3962"/>
                  </a:lnTo>
                  <a:lnTo>
                    <a:pt x="5912" y="3962"/>
                  </a:lnTo>
                  <a:lnTo>
                    <a:pt x="5912" y="4026"/>
                  </a:lnTo>
                  <a:close/>
                  <a:moveTo>
                    <a:pt x="5912" y="4140"/>
                  </a:moveTo>
                  <a:lnTo>
                    <a:pt x="5976" y="4140"/>
                  </a:lnTo>
                  <a:lnTo>
                    <a:pt x="5976" y="4076"/>
                  </a:lnTo>
                  <a:lnTo>
                    <a:pt x="5912" y="4076"/>
                  </a:lnTo>
                  <a:lnTo>
                    <a:pt x="5912" y="4140"/>
                  </a:lnTo>
                  <a:close/>
                  <a:moveTo>
                    <a:pt x="5912" y="4254"/>
                  </a:moveTo>
                  <a:lnTo>
                    <a:pt x="5976" y="4254"/>
                  </a:lnTo>
                  <a:lnTo>
                    <a:pt x="5976" y="4190"/>
                  </a:lnTo>
                  <a:lnTo>
                    <a:pt x="5912" y="4190"/>
                  </a:lnTo>
                  <a:lnTo>
                    <a:pt x="5912" y="4254"/>
                  </a:lnTo>
                  <a:close/>
                  <a:moveTo>
                    <a:pt x="5912" y="4367"/>
                  </a:moveTo>
                  <a:lnTo>
                    <a:pt x="5976" y="4367"/>
                  </a:lnTo>
                  <a:lnTo>
                    <a:pt x="5976" y="4303"/>
                  </a:lnTo>
                  <a:lnTo>
                    <a:pt x="5912" y="4303"/>
                  </a:lnTo>
                  <a:lnTo>
                    <a:pt x="5912" y="4367"/>
                  </a:lnTo>
                  <a:close/>
                  <a:moveTo>
                    <a:pt x="5912" y="4479"/>
                  </a:moveTo>
                  <a:lnTo>
                    <a:pt x="5976" y="4479"/>
                  </a:lnTo>
                  <a:lnTo>
                    <a:pt x="5976" y="4415"/>
                  </a:lnTo>
                  <a:lnTo>
                    <a:pt x="5912" y="4415"/>
                  </a:lnTo>
                  <a:lnTo>
                    <a:pt x="5912" y="4479"/>
                  </a:lnTo>
                  <a:close/>
                  <a:moveTo>
                    <a:pt x="5912" y="4593"/>
                  </a:moveTo>
                  <a:lnTo>
                    <a:pt x="5976" y="4593"/>
                  </a:lnTo>
                  <a:lnTo>
                    <a:pt x="5976" y="4528"/>
                  </a:lnTo>
                  <a:lnTo>
                    <a:pt x="5912" y="4528"/>
                  </a:lnTo>
                  <a:lnTo>
                    <a:pt x="5912" y="4593"/>
                  </a:lnTo>
                  <a:close/>
                  <a:moveTo>
                    <a:pt x="5912" y="4707"/>
                  </a:moveTo>
                  <a:lnTo>
                    <a:pt x="5976" y="4707"/>
                  </a:lnTo>
                  <a:lnTo>
                    <a:pt x="5976" y="4642"/>
                  </a:lnTo>
                  <a:lnTo>
                    <a:pt x="5912" y="4642"/>
                  </a:lnTo>
                  <a:lnTo>
                    <a:pt x="5912" y="4707"/>
                  </a:lnTo>
                  <a:close/>
                  <a:moveTo>
                    <a:pt x="5912" y="4820"/>
                  </a:moveTo>
                  <a:lnTo>
                    <a:pt x="5976" y="4820"/>
                  </a:lnTo>
                  <a:lnTo>
                    <a:pt x="5976" y="4755"/>
                  </a:lnTo>
                  <a:lnTo>
                    <a:pt x="5912" y="4755"/>
                  </a:lnTo>
                  <a:lnTo>
                    <a:pt x="5912" y="4820"/>
                  </a:lnTo>
                  <a:close/>
                  <a:moveTo>
                    <a:pt x="5912" y="4931"/>
                  </a:moveTo>
                  <a:lnTo>
                    <a:pt x="5976" y="4931"/>
                  </a:lnTo>
                  <a:lnTo>
                    <a:pt x="5976" y="4866"/>
                  </a:lnTo>
                  <a:lnTo>
                    <a:pt x="5912" y="4866"/>
                  </a:lnTo>
                  <a:lnTo>
                    <a:pt x="5912" y="4931"/>
                  </a:lnTo>
                  <a:close/>
                  <a:moveTo>
                    <a:pt x="5912" y="5044"/>
                  </a:moveTo>
                  <a:lnTo>
                    <a:pt x="5976" y="5044"/>
                  </a:lnTo>
                  <a:lnTo>
                    <a:pt x="5976" y="4980"/>
                  </a:lnTo>
                  <a:lnTo>
                    <a:pt x="5912" y="4980"/>
                  </a:lnTo>
                  <a:lnTo>
                    <a:pt x="5912" y="5044"/>
                  </a:lnTo>
                  <a:close/>
                  <a:moveTo>
                    <a:pt x="6026" y="2783"/>
                  </a:moveTo>
                  <a:lnTo>
                    <a:pt x="6090" y="2783"/>
                  </a:lnTo>
                  <a:lnTo>
                    <a:pt x="6090" y="2718"/>
                  </a:lnTo>
                  <a:lnTo>
                    <a:pt x="6026" y="2718"/>
                  </a:lnTo>
                  <a:lnTo>
                    <a:pt x="6026" y="2783"/>
                  </a:lnTo>
                  <a:close/>
                  <a:moveTo>
                    <a:pt x="6026" y="3010"/>
                  </a:moveTo>
                  <a:lnTo>
                    <a:pt x="6090" y="3010"/>
                  </a:lnTo>
                  <a:lnTo>
                    <a:pt x="6090" y="2946"/>
                  </a:lnTo>
                  <a:lnTo>
                    <a:pt x="6026" y="2946"/>
                  </a:lnTo>
                  <a:lnTo>
                    <a:pt x="6026" y="3010"/>
                  </a:lnTo>
                  <a:close/>
                  <a:moveTo>
                    <a:pt x="6026" y="3121"/>
                  </a:moveTo>
                  <a:lnTo>
                    <a:pt x="6090" y="3121"/>
                  </a:lnTo>
                  <a:lnTo>
                    <a:pt x="6090" y="3057"/>
                  </a:lnTo>
                  <a:lnTo>
                    <a:pt x="6026" y="3057"/>
                  </a:lnTo>
                  <a:lnTo>
                    <a:pt x="6026" y="3121"/>
                  </a:lnTo>
                  <a:close/>
                  <a:moveTo>
                    <a:pt x="6026" y="3234"/>
                  </a:moveTo>
                  <a:lnTo>
                    <a:pt x="6090" y="3234"/>
                  </a:lnTo>
                  <a:lnTo>
                    <a:pt x="6090" y="3170"/>
                  </a:lnTo>
                  <a:lnTo>
                    <a:pt x="6026" y="3170"/>
                  </a:lnTo>
                  <a:lnTo>
                    <a:pt x="6026" y="3234"/>
                  </a:lnTo>
                  <a:close/>
                  <a:moveTo>
                    <a:pt x="6026" y="3349"/>
                  </a:moveTo>
                  <a:lnTo>
                    <a:pt x="6090" y="3349"/>
                  </a:lnTo>
                  <a:lnTo>
                    <a:pt x="6090" y="3284"/>
                  </a:lnTo>
                  <a:lnTo>
                    <a:pt x="6026" y="3284"/>
                  </a:lnTo>
                  <a:lnTo>
                    <a:pt x="6026" y="3349"/>
                  </a:lnTo>
                  <a:close/>
                  <a:moveTo>
                    <a:pt x="6026" y="3462"/>
                  </a:moveTo>
                  <a:lnTo>
                    <a:pt x="6090" y="3462"/>
                  </a:lnTo>
                  <a:lnTo>
                    <a:pt x="6090" y="3397"/>
                  </a:lnTo>
                  <a:lnTo>
                    <a:pt x="6026" y="3397"/>
                  </a:lnTo>
                  <a:lnTo>
                    <a:pt x="6026" y="3462"/>
                  </a:lnTo>
                  <a:close/>
                  <a:moveTo>
                    <a:pt x="6026" y="3688"/>
                  </a:moveTo>
                  <a:lnTo>
                    <a:pt x="6090" y="3688"/>
                  </a:lnTo>
                  <a:lnTo>
                    <a:pt x="6090" y="3624"/>
                  </a:lnTo>
                  <a:lnTo>
                    <a:pt x="6026" y="3624"/>
                  </a:lnTo>
                  <a:lnTo>
                    <a:pt x="6026" y="3688"/>
                  </a:lnTo>
                  <a:close/>
                  <a:moveTo>
                    <a:pt x="6026" y="3802"/>
                  </a:moveTo>
                  <a:lnTo>
                    <a:pt x="6090" y="3802"/>
                  </a:lnTo>
                  <a:lnTo>
                    <a:pt x="6090" y="3738"/>
                  </a:lnTo>
                  <a:lnTo>
                    <a:pt x="6026" y="3738"/>
                  </a:lnTo>
                  <a:lnTo>
                    <a:pt x="6026" y="3802"/>
                  </a:lnTo>
                  <a:close/>
                  <a:moveTo>
                    <a:pt x="6026" y="3916"/>
                  </a:moveTo>
                  <a:lnTo>
                    <a:pt x="6090" y="3916"/>
                  </a:lnTo>
                  <a:lnTo>
                    <a:pt x="6090" y="3851"/>
                  </a:lnTo>
                  <a:lnTo>
                    <a:pt x="6026" y="3851"/>
                  </a:lnTo>
                  <a:lnTo>
                    <a:pt x="6026" y="3916"/>
                  </a:lnTo>
                  <a:close/>
                  <a:moveTo>
                    <a:pt x="6026" y="4026"/>
                  </a:moveTo>
                  <a:lnTo>
                    <a:pt x="6090" y="4026"/>
                  </a:lnTo>
                  <a:lnTo>
                    <a:pt x="6090" y="3962"/>
                  </a:lnTo>
                  <a:lnTo>
                    <a:pt x="6026" y="3962"/>
                  </a:lnTo>
                  <a:lnTo>
                    <a:pt x="6026" y="4026"/>
                  </a:lnTo>
                  <a:close/>
                  <a:moveTo>
                    <a:pt x="6026" y="4140"/>
                  </a:moveTo>
                  <a:lnTo>
                    <a:pt x="6090" y="4140"/>
                  </a:lnTo>
                  <a:lnTo>
                    <a:pt x="6090" y="4076"/>
                  </a:lnTo>
                  <a:lnTo>
                    <a:pt x="6026" y="4076"/>
                  </a:lnTo>
                  <a:lnTo>
                    <a:pt x="6026" y="4140"/>
                  </a:lnTo>
                  <a:close/>
                  <a:moveTo>
                    <a:pt x="6026" y="4254"/>
                  </a:moveTo>
                  <a:lnTo>
                    <a:pt x="6090" y="4254"/>
                  </a:lnTo>
                  <a:lnTo>
                    <a:pt x="6090" y="4190"/>
                  </a:lnTo>
                  <a:lnTo>
                    <a:pt x="6026" y="4190"/>
                  </a:lnTo>
                  <a:lnTo>
                    <a:pt x="6026" y="4254"/>
                  </a:lnTo>
                  <a:close/>
                  <a:moveTo>
                    <a:pt x="6026" y="4367"/>
                  </a:moveTo>
                  <a:lnTo>
                    <a:pt x="6090" y="4367"/>
                  </a:lnTo>
                  <a:lnTo>
                    <a:pt x="6090" y="4303"/>
                  </a:lnTo>
                  <a:lnTo>
                    <a:pt x="6026" y="4303"/>
                  </a:lnTo>
                  <a:lnTo>
                    <a:pt x="6026" y="4367"/>
                  </a:lnTo>
                  <a:close/>
                  <a:moveTo>
                    <a:pt x="6026" y="4479"/>
                  </a:moveTo>
                  <a:lnTo>
                    <a:pt x="6090" y="4479"/>
                  </a:lnTo>
                  <a:lnTo>
                    <a:pt x="6090" y="4415"/>
                  </a:lnTo>
                  <a:lnTo>
                    <a:pt x="6026" y="4415"/>
                  </a:lnTo>
                  <a:lnTo>
                    <a:pt x="6026" y="4479"/>
                  </a:lnTo>
                  <a:close/>
                  <a:moveTo>
                    <a:pt x="6026" y="4593"/>
                  </a:moveTo>
                  <a:lnTo>
                    <a:pt x="6090" y="4593"/>
                  </a:lnTo>
                  <a:lnTo>
                    <a:pt x="6090" y="4528"/>
                  </a:lnTo>
                  <a:lnTo>
                    <a:pt x="6026" y="4528"/>
                  </a:lnTo>
                  <a:lnTo>
                    <a:pt x="6026" y="4593"/>
                  </a:lnTo>
                  <a:close/>
                  <a:moveTo>
                    <a:pt x="6026" y="4707"/>
                  </a:moveTo>
                  <a:lnTo>
                    <a:pt x="6090" y="4707"/>
                  </a:lnTo>
                  <a:lnTo>
                    <a:pt x="6090" y="4642"/>
                  </a:lnTo>
                  <a:lnTo>
                    <a:pt x="6026" y="4642"/>
                  </a:lnTo>
                  <a:lnTo>
                    <a:pt x="6026" y="4707"/>
                  </a:lnTo>
                  <a:close/>
                  <a:moveTo>
                    <a:pt x="6026" y="4820"/>
                  </a:moveTo>
                  <a:lnTo>
                    <a:pt x="6090" y="4820"/>
                  </a:lnTo>
                  <a:lnTo>
                    <a:pt x="6090" y="4755"/>
                  </a:lnTo>
                  <a:lnTo>
                    <a:pt x="6026" y="4755"/>
                  </a:lnTo>
                  <a:lnTo>
                    <a:pt x="6026" y="4820"/>
                  </a:lnTo>
                  <a:close/>
                  <a:moveTo>
                    <a:pt x="6026" y="4931"/>
                  </a:moveTo>
                  <a:lnTo>
                    <a:pt x="6090" y="4931"/>
                  </a:lnTo>
                  <a:lnTo>
                    <a:pt x="6090" y="4866"/>
                  </a:lnTo>
                  <a:lnTo>
                    <a:pt x="6026" y="4866"/>
                  </a:lnTo>
                  <a:lnTo>
                    <a:pt x="6026" y="4931"/>
                  </a:lnTo>
                  <a:close/>
                  <a:moveTo>
                    <a:pt x="6026" y="5044"/>
                  </a:moveTo>
                  <a:lnTo>
                    <a:pt x="6090" y="5044"/>
                  </a:lnTo>
                  <a:lnTo>
                    <a:pt x="6090" y="4980"/>
                  </a:lnTo>
                  <a:lnTo>
                    <a:pt x="6026" y="4980"/>
                  </a:lnTo>
                  <a:lnTo>
                    <a:pt x="6026" y="5044"/>
                  </a:lnTo>
                  <a:close/>
                  <a:moveTo>
                    <a:pt x="6140" y="3121"/>
                  </a:moveTo>
                  <a:lnTo>
                    <a:pt x="6204" y="3121"/>
                  </a:lnTo>
                  <a:lnTo>
                    <a:pt x="6204" y="3057"/>
                  </a:lnTo>
                  <a:lnTo>
                    <a:pt x="6140" y="3057"/>
                  </a:lnTo>
                  <a:lnTo>
                    <a:pt x="6140" y="3121"/>
                  </a:lnTo>
                  <a:close/>
                  <a:moveTo>
                    <a:pt x="6140" y="3349"/>
                  </a:moveTo>
                  <a:lnTo>
                    <a:pt x="6204" y="3349"/>
                  </a:lnTo>
                  <a:lnTo>
                    <a:pt x="6204" y="3284"/>
                  </a:lnTo>
                  <a:lnTo>
                    <a:pt x="6140" y="3284"/>
                  </a:lnTo>
                  <a:lnTo>
                    <a:pt x="6140" y="3349"/>
                  </a:lnTo>
                  <a:close/>
                  <a:moveTo>
                    <a:pt x="6140" y="3462"/>
                  </a:moveTo>
                  <a:lnTo>
                    <a:pt x="6204" y="3462"/>
                  </a:lnTo>
                  <a:lnTo>
                    <a:pt x="6204" y="3397"/>
                  </a:lnTo>
                  <a:lnTo>
                    <a:pt x="6140" y="3397"/>
                  </a:lnTo>
                  <a:lnTo>
                    <a:pt x="6140" y="3462"/>
                  </a:lnTo>
                  <a:close/>
                  <a:moveTo>
                    <a:pt x="6140" y="3575"/>
                  </a:moveTo>
                  <a:lnTo>
                    <a:pt x="6204" y="3575"/>
                  </a:lnTo>
                  <a:lnTo>
                    <a:pt x="6204" y="3510"/>
                  </a:lnTo>
                  <a:lnTo>
                    <a:pt x="6140" y="3510"/>
                  </a:lnTo>
                  <a:lnTo>
                    <a:pt x="6140" y="3575"/>
                  </a:lnTo>
                  <a:close/>
                  <a:moveTo>
                    <a:pt x="6140" y="3688"/>
                  </a:moveTo>
                  <a:lnTo>
                    <a:pt x="6204" y="3688"/>
                  </a:lnTo>
                  <a:lnTo>
                    <a:pt x="6204" y="3624"/>
                  </a:lnTo>
                  <a:lnTo>
                    <a:pt x="6140" y="3624"/>
                  </a:lnTo>
                  <a:lnTo>
                    <a:pt x="6140" y="3688"/>
                  </a:lnTo>
                  <a:close/>
                  <a:moveTo>
                    <a:pt x="6140" y="3802"/>
                  </a:moveTo>
                  <a:lnTo>
                    <a:pt x="6204" y="3802"/>
                  </a:lnTo>
                  <a:lnTo>
                    <a:pt x="6204" y="3738"/>
                  </a:lnTo>
                  <a:lnTo>
                    <a:pt x="6140" y="3738"/>
                  </a:lnTo>
                  <a:lnTo>
                    <a:pt x="6140" y="3802"/>
                  </a:lnTo>
                  <a:close/>
                  <a:moveTo>
                    <a:pt x="6140" y="3916"/>
                  </a:moveTo>
                  <a:lnTo>
                    <a:pt x="6204" y="3916"/>
                  </a:lnTo>
                  <a:lnTo>
                    <a:pt x="6204" y="3851"/>
                  </a:lnTo>
                  <a:lnTo>
                    <a:pt x="6140" y="3851"/>
                  </a:lnTo>
                  <a:lnTo>
                    <a:pt x="6140" y="3916"/>
                  </a:lnTo>
                  <a:close/>
                  <a:moveTo>
                    <a:pt x="6140" y="4026"/>
                  </a:moveTo>
                  <a:lnTo>
                    <a:pt x="6204" y="4026"/>
                  </a:lnTo>
                  <a:lnTo>
                    <a:pt x="6204" y="3962"/>
                  </a:lnTo>
                  <a:lnTo>
                    <a:pt x="6140" y="3962"/>
                  </a:lnTo>
                  <a:lnTo>
                    <a:pt x="6140" y="4026"/>
                  </a:lnTo>
                  <a:close/>
                  <a:moveTo>
                    <a:pt x="6140" y="4140"/>
                  </a:moveTo>
                  <a:lnTo>
                    <a:pt x="6204" y="4140"/>
                  </a:lnTo>
                  <a:lnTo>
                    <a:pt x="6204" y="4076"/>
                  </a:lnTo>
                  <a:lnTo>
                    <a:pt x="6140" y="4076"/>
                  </a:lnTo>
                  <a:lnTo>
                    <a:pt x="6140" y="4140"/>
                  </a:lnTo>
                  <a:close/>
                  <a:moveTo>
                    <a:pt x="6140" y="4254"/>
                  </a:moveTo>
                  <a:lnTo>
                    <a:pt x="6204" y="4254"/>
                  </a:lnTo>
                  <a:lnTo>
                    <a:pt x="6204" y="4190"/>
                  </a:lnTo>
                  <a:lnTo>
                    <a:pt x="6140" y="4190"/>
                  </a:lnTo>
                  <a:lnTo>
                    <a:pt x="6140" y="4254"/>
                  </a:lnTo>
                  <a:close/>
                  <a:moveTo>
                    <a:pt x="6140" y="4367"/>
                  </a:moveTo>
                  <a:lnTo>
                    <a:pt x="6204" y="4367"/>
                  </a:lnTo>
                  <a:lnTo>
                    <a:pt x="6204" y="4303"/>
                  </a:lnTo>
                  <a:lnTo>
                    <a:pt x="6140" y="4303"/>
                  </a:lnTo>
                  <a:lnTo>
                    <a:pt x="6140" y="4367"/>
                  </a:lnTo>
                  <a:close/>
                  <a:moveTo>
                    <a:pt x="6140" y="4479"/>
                  </a:moveTo>
                  <a:lnTo>
                    <a:pt x="6204" y="4479"/>
                  </a:lnTo>
                  <a:lnTo>
                    <a:pt x="6204" y="4415"/>
                  </a:lnTo>
                  <a:lnTo>
                    <a:pt x="6140" y="4415"/>
                  </a:lnTo>
                  <a:lnTo>
                    <a:pt x="6140" y="4479"/>
                  </a:lnTo>
                  <a:close/>
                  <a:moveTo>
                    <a:pt x="6140" y="4593"/>
                  </a:moveTo>
                  <a:lnTo>
                    <a:pt x="6204" y="4593"/>
                  </a:lnTo>
                  <a:lnTo>
                    <a:pt x="6204" y="4528"/>
                  </a:lnTo>
                  <a:lnTo>
                    <a:pt x="6140" y="4528"/>
                  </a:lnTo>
                  <a:lnTo>
                    <a:pt x="6140" y="4593"/>
                  </a:lnTo>
                  <a:close/>
                  <a:moveTo>
                    <a:pt x="6140" y="4707"/>
                  </a:moveTo>
                  <a:lnTo>
                    <a:pt x="6204" y="4707"/>
                  </a:lnTo>
                  <a:lnTo>
                    <a:pt x="6204" y="4642"/>
                  </a:lnTo>
                  <a:lnTo>
                    <a:pt x="6140" y="4642"/>
                  </a:lnTo>
                  <a:lnTo>
                    <a:pt x="6140" y="4707"/>
                  </a:lnTo>
                  <a:close/>
                  <a:moveTo>
                    <a:pt x="6140" y="4820"/>
                  </a:moveTo>
                  <a:lnTo>
                    <a:pt x="6204" y="4820"/>
                  </a:lnTo>
                  <a:lnTo>
                    <a:pt x="6204" y="4755"/>
                  </a:lnTo>
                  <a:lnTo>
                    <a:pt x="6140" y="4755"/>
                  </a:lnTo>
                  <a:lnTo>
                    <a:pt x="6140" y="4820"/>
                  </a:lnTo>
                  <a:close/>
                  <a:moveTo>
                    <a:pt x="6140" y="4931"/>
                  </a:moveTo>
                  <a:lnTo>
                    <a:pt x="6204" y="4931"/>
                  </a:lnTo>
                  <a:lnTo>
                    <a:pt x="6204" y="4866"/>
                  </a:lnTo>
                  <a:lnTo>
                    <a:pt x="6140" y="4866"/>
                  </a:lnTo>
                  <a:lnTo>
                    <a:pt x="6140" y="4931"/>
                  </a:lnTo>
                  <a:close/>
                  <a:moveTo>
                    <a:pt x="6140" y="5044"/>
                  </a:moveTo>
                  <a:lnTo>
                    <a:pt x="6204" y="5044"/>
                  </a:lnTo>
                  <a:lnTo>
                    <a:pt x="6204" y="4980"/>
                  </a:lnTo>
                  <a:lnTo>
                    <a:pt x="6140" y="4980"/>
                  </a:lnTo>
                  <a:lnTo>
                    <a:pt x="6140" y="5044"/>
                  </a:lnTo>
                  <a:close/>
                  <a:moveTo>
                    <a:pt x="6252" y="3234"/>
                  </a:moveTo>
                  <a:lnTo>
                    <a:pt x="6316" y="3234"/>
                  </a:lnTo>
                  <a:lnTo>
                    <a:pt x="6316" y="3170"/>
                  </a:lnTo>
                  <a:lnTo>
                    <a:pt x="6252" y="3170"/>
                  </a:lnTo>
                  <a:lnTo>
                    <a:pt x="6252" y="3234"/>
                  </a:lnTo>
                  <a:close/>
                  <a:moveTo>
                    <a:pt x="6252" y="3349"/>
                  </a:moveTo>
                  <a:lnTo>
                    <a:pt x="6316" y="3349"/>
                  </a:lnTo>
                  <a:lnTo>
                    <a:pt x="6316" y="3284"/>
                  </a:lnTo>
                  <a:lnTo>
                    <a:pt x="6252" y="3284"/>
                  </a:lnTo>
                  <a:lnTo>
                    <a:pt x="6252" y="3349"/>
                  </a:lnTo>
                  <a:close/>
                  <a:moveTo>
                    <a:pt x="6252" y="3462"/>
                  </a:moveTo>
                  <a:lnTo>
                    <a:pt x="6316" y="3462"/>
                  </a:lnTo>
                  <a:lnTo>
                    <a:pt x="6316" y="3397"/>
                  </a:lnTo>
                  <a:lnTo>
                    <a:pt x="6252" y="3397"/>
                  </a:lnTo>
                  <a:lnTo>
                    <a:pt x="6252" y="3462"/>
                  </a:lnTo>
                  <a:close/>
                  <a:moveTo>
                    <a:pt x="6252" y="3575"/>
                  </a:moveTo>
                  <a:lnTo>
                    <a:pt x="6316" y="3575"/>
                  </a:lnTo>
                  <a:lnTo>
                    <a:pt x="6316" y="3510"/>
                  </a:lnTo>
                  <a:lnTo>
                    <a:pt x="6252" y="3510"/>
                  </a:lnTo>
                  <a:lnTo>
                    <a:pt x="6252" y="3575"/>
                  </a:lnTo>
                  <a:close/>
                  <a:moveTo>
                    <a:pt x="6252" y="3688"/>
                  </a:moveTo>
                  <a:lnTo>
                    <a:pt x="6316" y="3688"/>
                  </a:lnTo>
                  <a:lnTo>
                    <a:pt x="6316" y="3624"/>
                  </a:lnTo>
                  <a:lnTo>
                    <a:pt x="6252" y="3624"/>
                  </a:lnTo>
                  <a:lnTo>
                    <a:pt x="6252" y="3688"/>
                  </a:lnTo>
                  <a:close/>
                  <a:moveTo>
                    <a:pt x="6252" y="3916"/>
                  </a:moveTo>
                  <a:lnTo>
                    <a:pt x="6316" y="3916"/>
                  </a:lnTo>
                  <a:lnTo>
                    <a:pt x="6316" y="3851"/>
                  </a:lnTo>
                  <a:lnTo>
                    <a:pt x="6252" y="3851"/>
                  </a:lnTo>
                  <a:lnTo>
                    <a:pt x="6252" y="3916"/>
                  </a:lnTo>
                  <a:close/>
                  <a:moveTo>
                    <a:pt x="6252" y="4026"/>
                  </a:moveTo>
                  <a:lnTo>
                    <a:pt x="6316" y="4026"/>
                  </a:lnTo>
                  <a:lnTo>
                    <a:pt x="6316" y="3962"/>
                  </a:lnTo>
                  <a:lnTo>
                    <a:pt x="6252" y="3962"/>
                  </a:lnTo>
                  <a:lnTo>
                    <a:pt x="6252" y="4026"/>
                  </a:lnTo>
                  <a:close/>
                  <a:moveTo>
                    <a:pt x="6252" y="4140"/>
                  </a:moveTo>
                  <a:lnTo>
                    <a:pt x="6316" y="4140"/>
                  </a:lnTo>
                  <a:lnTo>
                    <a:pt x="6316" y="4076"/>
                  </a:lnTo>
                  <a:lnTo>
                    <a:pt x="6252" y="4076"/>
                  </a:lnTo>
                  <a:lnTo>
                    <a:pt x="6252" y="4140"/>
                  </a:lnTo>
                  <a:close/>
                  <a:moveTo>
                    <a:pt x="6252" y="4254"/>
                  </a:moveTo>
                  <a:lnTo>
                    <a:pt x="6316" y="4254"/>
                  </a:lnTo>
                  <a:lnTo>
                    <a:pt x="6316" y="4190"/>
                  </a:lnTo>
                  <a:lnTo>
                    <a:pt x="6252" y="4190"/>
                  </a:lnTo>
                  <a:lnTo>
                    <a:pt x="6252" y="4254"/>
                  </a:lnTo>
                  <a:close/>
                  <a:moveTo>
                    <a:pt x="6252" y="4367"/>
                  </a:moveTo>
                  <a:lnTo>
                    <a:pt x="6316" y="4367"/>
                  </a:lnTo>
                  <a:lnTo>
                    <a:pt x="6316" y="4303"/>
                  </a:lnTo>
                  <a:lnTo>
                    <a:pt x="6252" y="4303"/>
                  </a:lnTo>
                  <a:lnTo>
                    <a:pt x="6252" y="4367"/>
                  </a:lnTo>
                  <a:close/>
                  <a:moveTo>
                    <a:pt x="6252" y="4479"/>
                  </a:moveTo>
                  <a:lnTo>
                    <a:pt x="6316" y="4479"/>
                  </a:lnTo>
                  <a:lnTo>
                    <a:pt x="6316" y="4415"/>
                  </a:lnTo>
                  <a:lnTo>
                    <a:pt x="6252" y="4415"/>
                  </a:lnTo>
                  <a:lnTo>
                    <a:pt x="6252" y="4479"/>
                  </a:lnTo>
                  <a:close/>
                  <a:moveTo>
                    <a:pt x="6252" y="4593"/>
                  </a:moveTo>
                  <a:lnTo>
                    <a:pt x="6316" y="4593"/>
                  </a:lnTo>
                  <a:lnTo>
                    <a:pt x="6316" y="4528"/>
                  </a:lnTo>
                  <a:lnTo>
                    <a:pt x="6252" y="4528"/>
                  </a:lnTo>
                  <a:lnTo>
                    <a:pt x="6252" y="4593"/>
                  </a:lnTo>
                  <a:close/>
                  <a:moveTo>
                    <a:pt x="6252" y="4707"/>
                  </a:moveTo>
                  <a:lnTo>
                    <a:pt x="6316" y="4707"/>
                  </a:lnTo>
                  <a:lnTo>
                    <a:pt x="6316" y="4642"/>
                  </a:lnTo>
                  <a:lnTo>
                    <a:pt x="6252" y="4642"/>
                  </a:lnTo>
                  <a:lnTo>
                    <a:pt x="6252" y="4707"/>
                  </a:lnTo>
                  <a:close/>
                  <a:moveTo>
                    <a:pt x="6252" y="4820"/>
                  </a:moveTo>
                  <a:lnTo>
                    <a:pt x="6316" y="4820"/>
                  </a:lnTo>
                  <a:lnTo>
                    <a:pt x="6316" y="4755"/>
                  </a:lnTo>
                  <a:lnTo>
                    <a:pt x="6252" y="4755"/>
                  </a:lnTo>
                  <a:lnTo>
                    <a:pt x="6252" y="4820"/>
                  </a:lnTo>
                  <a:close/>
                  <a:moveTo>
                    <a:pt x="6252" y="4931"/>
                  </a:moveTo>
                  <a:lnTo>
                    <a:pt x="6316" y="4931"/>
                  </a:lnTo>
                  <a:lnTo>
                    <a:pt x="6316" y="4866"/>
                  </a:lnTo>
                  <a:lnTo>
                    <a:pt x="6252" y="4866"/>
                  </a:lnTo>
                  <a:lnTo>
                    <a:pt x="6252" y="4931"/>
                  </a:lnTo>
                  <a:close/>
                  <a:moveTo>
                    <a:pt x="6252" y="5044"/>
                  </a:moveTo>
                  <a:lnTo>
                    <a:pt x="6316" y="5044"/>
                  </a:lnTo>
                  <a:lnTo>
                    <a:pt x="6316" y="4980"/>
                  </a:lnTo>
                  <a:lnTo>
                    <a:pt x="6252" y="4980"/>
                  </a:lnTo>
                  <a:lnTo>
                    <a:pt x="6252" y="5044"/>
                  </a:lnTo>
                  <a:close/>
                  <a:moveTo>
                    <a:pt x="6366" y="2558"/>
                  </a:moveTo>
                  <a:lnTo>
                    <a:pt x="6430" y="2558"/>
                  </a:lnTo>
                  <a:lnTo>
                    <a:pt x="6430" y="2493"/>
                  </a:lnTo>
                  <a:lnTo>
                    <a:pt x="6366" y="2493"/>
                  </a:lnTo>
                  <a:lnTo>
                    <a:pt x="6366" y="2558"/>
                  </a:lnTo>
                  <a:close/>
                  <a:moveTo>
                    <a:pt x="6366" y="2669"/>
                  </a:moveTo>
                  <a:lnTo>
                    <a:pt x="6430" y="2669"/>
                  </a:lnTo>
                  <a:lnTo>
                    <a:pt x="6430" y="2605"/>
                  </a:lnTo>
                  <a:lnTo>
                    <a:pt x="6366" y="2605"/>
                  </a:lnTo>
                  <a:lnTo>
                    <a:pt x="6366" y="2669"/>
                  </a:lnTo>
                  <a:close/>
                  <a:moveTo>
                    <a:pt x="6366" y="2783"/>
                  </a:moveTo>
                  <a:lnTo>
                    <a:pt x="6430" y="2783"/>
                  </a:lnTo>
                  <a:lnTo>
                    <a:pt x="6430" y="2718"/>
                  </a:lnTo>
                  <a:lnTo>
                    <a:pt x="6366" y="2718"/>
                  </a:lnTo>
                  <a:lnTo>
                    <a:pt x="6366" y="2783"/>
                  </a:lnTo>
                  <a:close/>
                  <a:moveTo>
                    <a:pt x="6366" y="3121"/>
                  </a:moveTo>
                  <a:lnTo>
                    <a:pt x="6430" y="3121"/>
                  </a:lnTo>
                  <a:lnTo>
                    <a:pt x="6430" y="3057"/>
                  </a:lnTo>
                  <a:lnTo>
                    <a:pt x="6366" y="3057"/>
                  </a:lnTo>
                  <a:lnTo>
                    <a:pt x="6366" y="3121"/>
                  </a:lnTo>
                  <a:close/>
                  <a:moveTo>
                    <a:pt x="6366" y="3234"/>
                  </a:moveTo>
                  <a:lnTo>
                    <a:pt x="6430" y="3234"/>
                  </a:lnTo>
                  <a:lnTo>
                    <a:pt x="6430" y="3170"/>
                  </a:lnTo>
                  <a:lnTo>
                    <a:pt x="6366" y="3170"/>
                  </a:lnTo>
                  <a:lnTo>
                    <a:pt x="6366" y="3234"/>
                  </a:lnTo>
                  <a:close/>
                  <a:moveTo>
                    <a:pt x="6366" y="3349"/>
                  </a:moveTo>
                  <a:lnTo>
                    <a:pt x="6430" y="3349"/>
                  </a:lnTo>
                  <a:lnTo>
                    <a:pt x="6430" y="3284"/>
                  </a:lnTo>
                  <a:lnTo>
                    <a:pt x="6366" y="3284"/>
                  </a:lnTo>
                  <a:lnTo>
                    <a:pt x="6366" y="3349"/>
                  </a:lnTo>
                  <a:close/>
                  <a:moveTo>
                    <a:pt x="6366" y="3462"/>
                  </a:moveTo>
                  <a:lnTo>
                    <a:pt x="6430" y="3462"/>
                  </a:lnTo>
                  <a:lnTo>
                    <a:pt x="6430" y="3397"/>
                  </a:lnTo>
                  <a:lnTo>
                    <a:pt x="6366" y="3397"/>
                  </a:lnTo>
                  <a:lnTo>
                    <a:pt x="6366" y="3462"/>
                  </a:lnTo>
                  <a:close/>
                  <a:moveTo>
                    <a:pt x="6366" y="3575"/>
                  </a:moveTo>
                  <a:lnTo>
                    <a:pt x="6430" y="3575"/>
                  </a:lnTo>
                  <a:lnTo>
                    <a:pt x="6430" y="3510"/>
                  </a:lnTo>
                  <a:lnTo>
                    <a:pt x="6366" y="3510"/>
                  </a:lnTo>
                  <a:lnTo>
                    <a:pt x="6366" y="3575"/>
                  </a:lnTo>
                  <a:close/>
                  <a:moveTo>
                    <a:pt x="6366" y="3916"/>
                  </a:moveTo>
                  <a:lnTo>
                    <a:pt x="6430" y="3916"/>
                  </a:lnTo>
                  <a:lnTo>
                    <a:pt x="6430" y="3851"/>
                  </a:lnTo>
                  <a:lnTo>
                    <a:pt x="6366" y="3851"/>
                  </a:lnTo>
                  <a:lnTo>
                    <a:pt x="6366" y="3916"/>
                  </a:lnTo>
                  <a:close/>
                  <a:moveTo>
                    <a:pt x="6366" y="4026"/>
                  </a:moveTo>
                  <a:lnTo>
                    <a:pt x="6430" y="4026"/>
                  </a:lnTo>
                  <a:lnTo>
                    <a:pt x="6430" y="3962"/>
                  </a:lnTo>
                  <a:lnTo>
                    <a:pt x="6366" y="3962"/>
                  </a:lnTo>
                  <a:lnTo>
                    <a:pt x="6366" y="4026"/>
                  </a:lnTo>
                  <a:close/>
                  <a:moveTo>
                    <a:pt x="6366" y="4140"/>
                  </a:moveTo>
                  <a:lnTo>
                    <a:pt x="6430" y="4140"/>
                  </a:lnTo>
                  <a:lnTo>
                    <a:pt x="6430" y="4076"/>
                  </a:lnTo>
                  <a:lnTo>
                    <a:pt x="6366" y="4076"/>
                  </a:lnTo>
                  <a:lnTo>
                    <a:pt x="6366" y="4140"/>
                  </a:lnTo>
                  <a:close/>
                  <a:moveTo>
                    <a:pt x="6366" y="4254"/>
                  </a:moveTo>
                  <a:lnTo>
                    <a:pt x="6430" y="4254"/>
                  </a:lnTo>
                  <a:lnTo>
                    <a:pt x="6430" y="4190"/>
                  </a:lnTo>
                  <a:lnTo>
                    <a:pt x="6366" y="4190"/>
                  </a:lnTo>
                  <a:lnTo>
                    <a:pt x="6366" y="4254"/>
                  </a:lnTo>
                  <a:close/>
                  <a:moveTo>
                    <a:pt x="6366" y="4367"/>
                  </a:moveTo>
                  <a:lnTo>
                    <a:pt x="6430" y="4367"/>
                  </a:lnTo>
                  <a:lnTo>
                    <a:pt x="6430" y="4303"/>
                  </a:lnTo>
                  <a:lnTo>
                    <a:pt x="6366" y="4303"/>
                  </a:lnTo>
                  <a:lnTo>
                    <a:pt x="6366" y="4367"/>
                  </a:lnTo>
                  <a:close/>
                  <a:moveTo>
                    <a:pt x="6366" y="4479"/>
                  </a:moveTo>
                  <a:lnTo>
                    <a:pt x="6430" y="4479"/>
                  </a:lnTo>
                  <a:lnTo>
                    <a:pt x="6430" y="4415"/>
                  </a:lnTo>
                  <a:lnTo>
                    <a:pt x="6366" y="4415"/>
                  </a:lnTo>
                  <a:lnTo>
                    <a:pt x="6366" y="4479"/>
                  </a:lnTo>
                  <a:close/>
                  <a:moveTo>
                    <a:pt x="6366" y="4593"/>
                  </a:moveTo>
                  <a:lnTo>
                    <a:pt x="6430" y="4593"/>
                  </a:lnTo>
                  <a:lnTo>
                    <a:pt x="6430" y="4528"/>
                  </a:lnTo>
                  <a:lnTo>
                    <a:pt x="6366" y="4528"/>
                  </a:lnTo>
                  <a:lnTo>
                    <a:pt x="6366" y="4593"/>
                  </a:lnTo>
                  <a:close/>
                  <a:moveTo>
                    <a:pt x="6366" y="4707"/>
                  </a:moveTo>
                  <a:lnTo>
                    <a:pt x="6430" y="4707"/>
                  </a:lnTo>
                  <a:lnTo>
                    <a:pt x="6430" y="4642"/>
                  </a:lnTo>
                  <a:lnTo>
                    <a:pt x="6366" y="4642"/>
                  </a:lnTo>
                  <a:lnTo>
                    <a:pt x="6366" y="4707"/>
                  </a:lnTo>
                  <a:close/>
                  <a:moveTo>
                    <a:pt x="6366" y="4820"/>
                  </a:moveTo>
                  <a:lnTo>
                    <a:pt x="6430" y="4820"/>
                  </a:lnTo>
                  <a:lnTo>
                    <a:pt x="6430" y="4755"/>
                  </a:lnTo>
                  <a:lnTo>
                    <a:pt x="6366" y="4755"/>
                  </a:lnTo>
                  <a:lnTo>
                    <a:pt x="6366" y="4820"/>
                  </a:lnTo>
                  <a:close/>
                  <a:moveTo>
                    <a:pt x="6366" y="4931"/>
                  </a:moveTo>
                  <a:lnTo>
                    <a:pt x="6430" y="4931"/>
                  </a:lnTo>
                  <a:lnTo>
                    <a:pt x="6430" y="4866"/>
                  </a:lnTo>
                  <a:lnTo>
                    <a:pt x="6366" y="4866"/>
                  </a:lnTo>
                  <a:lnTo>
                    <a:pt x="6366" y="4931"/>
                  </a:lnTo>
                  <a:close/>
                  <a:moveTo>
                    <a:pt x="6366" y="5044"/>
                  </a:moveTo>
                  <a:lnTo>
                    <a:pt x="6430" y="5044"/>
                  </a:lnTo>
                  <a:lnTo>
                    <a:pt x="6430" y="4980"/>
                  </a:lnTo>
                  <a:lnTo>
                    <a:pt x="6366" y="4980"/>
                  </a:lnTo>
                  <a:lnTo>
                    <a:pt x="6366" y="5044"/>
                  </a:lnTo>
                  <a:close/>
                  <a:moveTo>
                    <a:pt x="6480" y="630"/>
                  </a:moveTo>
                  <a:lnTo>
                    <a:pt x="6544" y="630"/>
                  </a:lnTo>
                  <a:lnTo>
                    <a:pt x="6544" y="565"/>
                  </a:lnTo>
                  <a:lnTo>
                    <a:pt x="6480" y="565"/>
                  </a:lnTo>
                  <a:lnTo>
                    <a:pt x="6480" y="630"/>
                  </a:lnTo>
                  <a:close/>
                  <a:moveTo>
                    <a:pt x="6480" y="744"/>
                  </a:moveTo>
                  <a:lnTo>
                    <a:pt x="6544" y="744"/>
                  </a:lnTo>
                  <a:lnTo>
                    <a:pt x="6544" y="679"/>
                  </a:lnTo>
                  <a:lnTo>
                    <a:pt x="6480" y="679"/>
                  </a:lnTo>
                  <a:lnTo>
                    <a:pt x="6480" y="744"/>
                  </a:lnTo>
                  <a:close/>
                  <a:moveTo>
                    <a:pt x="6480" y="857"/>
                  </a:moveTo>
                  <a:lnTo>
                    <a:pt x="6544" y="857"/>
                  </a:lnTo>
                  <a:lnTo>
                    <a:pt x="6544" y="792"/>
                  </a:lnTo>
                  <a:lnTo>
                    <a:pt x="6480" y="792"/>
                  </a:lnTo>
                  <a:lnTo>
                    <a:pt x="6480" y="857"/>
                  </a:lnTo>
                  <a:close/>
                  <a:moveTo>
                    <a:pt x="6480" y="2444"/>
                  </a:moveTo>
                  <a:lnTo>
                    <a:pt x="6544" y="2444"/>
                  </a:lnTo>
                  <a:lnTo>
                    <a:pt x="6544" y="2380"/>
                  </a:lnTo>
                  <a:lnTo>
                    <a:pt x="6480" y="2380"/>
                  </a:lnTo>
                  <a:lnTo>
                    <a:pt x="6480" y="2444"/>
                  </a:lnTo>
                  <a:close/>
                  <a:moveTo>
                    <a:pt x="6480" y="2558"/>
                  </a:moveTo>
                  <a:lnTo>
                    <a:pt x="6544" y="2558"/>
                  </a:lnTo>
                  <a:lnTo>
                    <a:pt x="6544" y="2493"/>
                  </a:lnTo>
                  <a:lnTo>
                    <a:pt x="6480" y="2493"/>
                  </a:lnTo>
                  <a:lnTo>
                    <a:pt x="6480" y="2558"/>
                  </a:lnTo>
                  <a:close/>
                  <a:moveTo>
                    <a:pt x="6480" y="2669"/>
                  </a:moveTo>
                  <a:lnTo>
                    <a:pt x="6544" y="2669"/>
                  </a:lnTo>
                  <a:lnTo>
                    <a:pt x="6544" y="2605"/>
                  </a:lnTo>
                  <a:lnTo>
                    <a:pt x="6480" y="2605"/>
                  </a:lnTo>
                  <a:lnTo>
                    <a:pt x="6480" y="2669"/>
                  </a:lnTo>
                  <a:close/>
                  <a:moveTo>
                    <a:pt x="6480" y="2783"/>
                  </a:moveTo>
                  <a:lnTo>
                    <a:pt x="6544" y="2783"/>
                  </a:lnTo>
                  <a:lnTo>
                    <a:pt x="6544" y="2718"/>
                  </a:lnTo>
                  <a:lnTo>
                    <a:pt x="6480" y="2718"/>
                  </a:lnTo>
                  <a:lnTo>
                    <a:pt x="6480" y="2783"/>
                  </a:lnTo>
                  <a:close/>
                  <a:moveTo>
                    <a:pt x="6480" y="2897"/>
                  </a:moveTo>
                  <a:lnTo>
                    <a:pt x="6544" y="2897"/>
                  </a:lnTo>
                  <a:lnTo>
                    <a:pt x="6544" y="2832"/>
                  </a:lnTo>
                  <a:lnTo>
                    <a:pt x="6480" y="2832"/>
                  </a:lnTo>
                  <a:lnTo>
                    <a:pt x="6480" y="2897"/>
                  </a:lnTo>
                  <a:close/>
                  <a:moveTo>
                    <a:pt x="6480" y="3010"/>
                  </a:moveTo>
                  <a:lnTo>
                    <a:pt x="6544" y="3010"/>
                  </a:lnTo>
                  <a:lnTo>
                    <a:pt x="6544" y="2946"/>
                  </a:lnTo>
                  <a:lnTo>
                    <a:pt x="6480" y="2946"/>
                  </a:lnTo>
                  <a:lnTo>
                    <a:pt x="6480" y="3010"/>
                  </a:lnTo>
                  <a:close/>
                  <a:moveTo>
                    <a:pt x="6480" y="3121"/>
                  </a:moveTo>
                  <a:lnTo>
                    <a:pt x="6544" y="3121"/>
                  </a:lnTo>
                  <a:lnTo>
                    <a:pt x="6544" y="3057"/>
                  </a:lnTo>
                  <a:lnTo>
                    <a:pt x="6480" y="3057"/>
                  </a:lnTo>
                  <a:lnTo>
                    <a:pt x="6480" y="3121"/>
                  </a:lnTo>
                  <a:close/>
                  <a:moveTo>
                    <a:pt x="6480" y="3234"/>
                  </a:moveTo>
                  <a:lnTo>
                    <a:pt x="6544" y="3234"/>
                  </a:lnTo>
                  <a:lnTo>
                    <a:pt x="6544" y="3170"/>
                  </a:lnTo>
                  <a:lnTo>
                    <a:pt x="6480" y="3170"/>
                  </a:lnTo>
                  <a:lnTo>
                    <a:pt x="6480" y="3234"/>
                  </a:lnTo>
                  <a:close/>
                  <a:moveTo>
                    <a:pt x="6480" y="3349"/>
                  </a:moveTo>
                  <a:lnTo>
                    <a:pt x="6544" y="3349"/>
                  </a:lnTo>
                  <a:lnTo>
                    <a:pt x="6544" y="3284"/>
                  </a:lnTo>
                  <a:lnTo>
                    <a:pt x="6480" y="3284"/>
                  </a:lnTo>
                  <a:lnTo>
                    <a:pt x="6480" y="3349"/>
                  </a:lnTo>
                  <a:close/>
                  <a:moveTo>
                    <a:pt x="6480" y="3462"/>
                  </a:moveTo>
                  <a:lnTo>
                    <a:pt x="6544" y="3462"/>
                  </a:lnTo>
                  <a:lnTo>
                    <a:pt x="6544" y="3397"/>
                  </a:lnTo>
                  <a:lnTo>
                    <a:pt x="6480" y="3397"/>
                  </a:lnTo>
                  <a:lnTo>
                    <a:pt x="6480" y="3462"/>
                  </a:lnTo>
                  <a:close/>
                  <a:moveTo>
                    <a:pt x="6480" y="3575"/>
                  </a:moveTo>
                  <a:lnTo>
                    <a:pt x="6544" y="3575"/>
                  </a:lnTo>
                  <a:lnTo>
                    <a:pt x="6544" y="3510"/>
                  </a:lnTo>
                  <a:lnTo>
                    <a:pt x="6480" y="3510"/>
                  </a:lnTo>
                  <a:lnTo>
                    <a:pt x="6480" y="3575"/>
                  </a:lnTo>
                  <a:close/>
                  <a:moveTo>
                    <a:pt x="6480" y="3688"/>
                  </a:moveTo>
                  <a:lnTo>
                    <a:pt x="6544" y="3688"/>
                  </a:lnTo>
                  <a:lnTo>
                    <a:pt x="6544" y="3624"/>
                  </a:lnTo>
                  <a:lnTo>
                    <a:pt x="6480" y="3624"/>
                  </a:lnTo>
                  <a:lnTo>
                    <a:pt x="6480" y="3688"/>
                  </a:lnTo>
                  <a:close/>
                  <a:moveTo>
                    <a:pt x="6480" y="3916"/>
                  </a:moveTo>
                  <a:lnTo>
                    <a:pt x="6544" y="3916"/>
                  </a:lnTo>
                  <a:lnTo>
                    <a:pt x="6544" y="3851"/>
                  </a:lnTo>
                  <a:lnTo>
                    <a:pt x="6480" y="3851"/>
                  </a:lnTo>
                  <a:lnTo>
                    <a:pt x="6480" y="3916"/>
                  </a:lnTo>
                  <a:close/>
                  <a:moveTo>
                    <a:pt x="6480" y="4026"/>
                  </a:moveTo>
                  <a:lnTo>
                    <a:pt x="6544" y="4026"/>
                  </a:lnTo>
                  <a:lnTo>
                    <a:pt x="6544" y="3962"/>
                  </a:lnTo>
                  <a:lnTo>
                    <a:pt x="6480" y="3962"/>
                  </a:lnTo>
                  <a:lnTo>
                    <a:pt x="6480" y="4026"/>
                  </a:lnTo>
                  <a:close/>
                  <a:moveTo>
                    <a:pt x="6480" y="4140"/>
                  </a:moveTo>
                  <a:lnTo>
                    <a:pt x="6544" y="4140"/>
                  </a:lnTo>
                  <a:lnTo>
                    <a:pt x="6544" y="4076"/>
                  </a:lnTo>
                  <a:lnTo>
                    <a:pt x="6480" y="4076"/>
                  </a:lnTo>
                  <a:lnTo>
                    <a:pt x="6480" y="4140"/>
                  </a:lnTo>
                  <a:close/>
                  <a:moveTo>
                    <a:pt x="6480" y="4254"/>
                  </a:moveTo>
                  <a:lnTo>
                    <a:pt x="6544" y="4254"/>
                  </a:lnTo>
                  <a:lnTo>
                    <a:pt x="6544" y="4190"/>
                  </a:lnTo>
                  <a:lnTo>
                    <a:pt x="6480" y="4190"/>
                  </a:lnTo>
                  <a:lnTo>
                    <a:pt x="6480" y="4254"/>
                  </a:lnTo>
                  <a:close/>
                  <a:moveTo>
                    <a:pt x="6480" y="4367"/>
                  </a:moveTo>
                  <a:lnTo>
                    <a:pt x="6544" y="4367"/>
                  </a:lnTo>
                  <a:lnTo>
                    <a:pt x="6544" y="4303"/>
                  </a:lnTo>
                  <a:lnTo>
                    <a:pt x="6480" y="4303"/>
                  </a:lnTo>
                  <a:lnTo>
                    <a:pt x="6480" y="4367"/>
                  </a:lnTo>
                  <a:close/>
                  <a:moveTo>
                    <a:pt x="6480" y="4479"/>
                  </a:moveTo>
                  <a:lnTo>
                    <a:pt x="6544" y="4479"/>
                  </a:lnTo>
                  <a:lnTo>
                    <a:pt x="6544" y="4415"/>
                  </a:lnTo>
                  <a:lnTo>
                    <a:pt x="6480" y="4415"/>
                  </a:lnTo>
                  <a:lnTo>
                    <a:pt x="6480" y="4479"/>
                  </a:lnTo>
                  <a:close/>
                  <a:moveTo>
                    <a:pt x="6480" y="4593"/>
                  </a:moveTo>
                  <a:lnTo>
                    <a:pt x="6544" y="4593"/>
                  </a:lnTo>
                  <a:lnTo>
                    <a:pt x="6544" y="4528"/>
                  </a:lnTo>
                  <a:lnTo>
                    <a:pt x="6480" y="4528"/>
                  </a:lnTo>
                  <a:lnTo>
                    <a:pt x="6480" y="4593"/>
                  </a:lnTo>
                  <a:close/>
                  <a:moveTo>
                    <a:pt x="6480" y="4707"/>
                  </a:moveTo>
                  <a:lnTo>
                    <a:pt x="6544" y="4707"/>
                  </a:lnTo>
                  <a:lnTo>
                    <a:pt x="6544" y="4642"/>
                  </a:lnTo>
                  <a:lnTo>
                    <a:pt x="6480" y="4642"/>
                  </a:lnTo>
                  <a:lnTo>
                    <a:pt x="6480" y="4707"/>
                  </a:lnTo>
                  <a:close/>
                  <a:moveTo>
                    <a:pt x="6480" y="4820"/>
                  </a:moveTo>
                  <a:lnTo>
                    <a:pt x="6544" y="4820"/>
                  </a:lnTo>
                  <a:lnTo>
                    <a:pt x="6544" y="4755"/>
                  </a:lnTo>
                  <a:lnTo>
                    <a:pt x="6480" y="4755"/>
                  </a:lnTo>
                  <a:lnTo>
                    <a:pt x="6480" y="4820"/>
                  </a:lnTo>
                  <a:close/>
                  <a:moveTo>
                    <a:pt x="6480" y="4931"/>
                  </a:moveTo>
                  <a:lnTo>
                    <a:pt x="6544" y="4931"/>
                  </a:lnTo>
                  <a:lnTo>
                    <a:pt x="6544" y="4866"/>
                  </a:lnTo>
                  <a:lnTo>
                    <a:pt x="6480" y="4866"/>
                  </a:lnTo>
                  <a:lnTo>
                    <a:pt x="6480" y="4931"/>
                  </a:lnTo>
                  <a:close/>
                  <a:moveTo>
                    <a:pt x="6480" y="5044"/>
                  </a:moveTo>
                  <a:lnTo>
                    <a:pt x="6544" y="5044"/>
                  </a:lnTo>
                  <a:lnTo>
                    <a:pt x="6544" y="4980"/>
                  </a:lnTo>
                  <a:lnTo>
                    <a:pt x="6480" y="4980"/>
                  </a:lnTo>
                  <a:lnTo>
                    <a:pt x="6480" y="5044"/>
                  </a:lnTo>
                  <a:close/>
                  <a:moveTo>
                    <a:pt x="6480" y="5158"/>
                  </a:moveTo>
                  <a:lnTo>
                    <a:pt x="6544" y="5158"/>
                  </a:lnTo>
                  <a:lnTo>
                    <a:pt x="6544" y="5094"/>
                  </a:lnTo>
                  <a:lnTo>
                    <a:pt x="6480" y="5094"/>
                  </a:lnTo>
                  <a:lnTo>
                    <a:pt x="6480" y="5158"/>
                  </a:lnTo>
                  <a:close/>
                  <a:moveTo>
                    <a:pt x="6480" y="5271"/>
                  </a:moveTo>
                  <a:lnTo>
                    <a:pt x="6544" y="5271"/>
                  </a:lnTo>
                  <a:lnTo>
                    <a:pt x="6544" y="5207"/>
                  </a:lnTo>
                  <a:lnTo>
                    <a:pt x="6480" y="5207"/>
                  </a:lnTo>
                  <a:lnTo>
                    <a:pt x="6480" y="5271"/>
                  </a:lnTo>
                  <a:close/>
                  <a:moveTo>
                    <a:pt x="6480" y="5382"/>
                  </a:moveTo>
                  <a:lnTo>
                    <a:pt x="6544" y="5382"/>
                  </a:lnTo>
                  <a:lnTo>
                    <a:pt x="6544" y="5318"/>
                  </a:lnTo>
                  <a:lnTo>
                    <a:pt x="6480" y="5318"/>
                  </a:lnTo>
                  <a:lnTo>
                    <a:pt x="6480" y="5382"/>
                  </a:lnTo>
                  <a:close/>
                  <a:moveTo>
                    <a:pt x="6594" y="516"/>
                  </a:moveTo>
                  <a:lnTo>
                    <a:pt x="6658" y="516"/>
                  </a:lnTo>
                  <a:lnTo>
                    <a:pt x="6658" y="452"/>
                  </a:lnTo>
                  <a:lnTo>
                    <a:pt x="6594" y="452"/>
                  </a:lnTo>
                  <a:lnTo>
                    <a:pt x="6594" y="516"/>
                  </a:lnTo>
                  <a:close/>
                  <a:moveTo>
                    <a:pt x="6594" y="630"/>
                  </a:moveTo>
                  <a:lnTo>
                    <a:pt x="6658" y="630"/>
                  </a:lnTo>
                  <a:lnTo>
                    <a:pt x="6658" y="565"/>
                  </a:lnTo>
                  <a:lnTo>
                    <a:pt x="6594" y="565"/>
                  </a:lnTo>
                  <a:lnTo>
                    <a:pt x="6594" y="630"/>
                  </a:lnTo>
                  <a:close/>
                  <a:moveTo>
                    <a:pt x="6594" y="744"/>
                  </a:moveTo>
                  <a:lnTo>
                    <a:pt x="6658" y="744"/>
                  </a:lnTo>
                  <a:lnTo>
                    <a:pt x="6658" y="679"/>
                  </a:lnTo>
                  <a:lnTo>
                    <a:pt x="6594" y="679"/>
                  </a:lnTo>
                  <a:lnTo>
                    <a:pt x="6594" y="744"/>
                  </a:lnTo>
                  <a:close/>
                  <a:moveTo>
                    <a:pt x="6594" y="857"/>
                  </a:moveTo>
                  <a:lnTo>
                    <a:pt x="6658" y="857"/>
                  </a:lnTo>
                  <a:lnTo>
                    <a:pt x="6658" y="792"/>
                  </a:lnTo>
                  <a:lnTo>
                    <a:pt x="6594" y="792"/>
                  </a:lnTo>
                  <a:lnTo>
                    <a:pt x="6594" y="857"/>
                  </a:lnTo>
                  <a:close/>
                  <a:moveTo>
                    <a:pt x="6594" y="969"/>
                  </a:moveTo>
                  <a:lnTo>
                    <a:pt x="6658" y="969"/>
                  </a:lnTo>
                  <a:lnTo>
                    <a:pt x="6658" y="904"/>
                  </a:lnTo>
                  <a:lnTo>
                    <a:pt x="6594" y="904"/>
                  </a:lnTo>
                  <a:lnTo>
                    <a:pt x="6594" y="969"/>
                  </a:lnTo>
                  <a:close/>
                  <a:moveTo>
                    <a:pt x="6594" y="1082"/>
                  </a:moveTo>
                  <a:lnTo>
                    <a:pt x="6658" y="1082"/>
                  </a:lnTo>
                  <a:lnTo>
                    <a:pt x="6658" y="1018"/>
                  </a:lnTo>
                  <a:lnTo>
                    <a:pt x="6594" y="1018"/>
                  </a:lnTo>
                  <a:lnTo>
                    <a:pt x="6594" y="1082"/>
                  </a:lnTo>
                  <a:close/>
                  <a:moveTo>
                    <a:pt x="6594" y="2106"/>
                  </a:moveTo>
                  <a:lnTo>
                    <a:pt x="6658" y="2106"/>
                  </a:lnTo>
                  <a:lnTo>
                    <a:pt x="6658" y="2042"/>
                  </a:lnTo>
                  <a:lnTo>
                    <a:pt x="6594" y="2042"/>
                  </a:lnTo>
                  <a:lnTo>
                    <a:pt x="6594" y="2106"/>
                  </a:lnTo>
                  <a:close/>
                  <a:moveTo>
                    <a:pt x="6594" y="2217"/>
                  </a:moveTo>
                  <a:lnTo>
                    <a:pt x="6658" y="2217"/>
                  </a:lnTo>
                  <a:lnTo>
                    <a:pt x="6658" y="2152"/>
                  </a:lnTo>
                  <a:lnTo>
                    <a:pt x="6594" y="2152"/>
                  </a:lnTo>
                  <a:lnTo>
                    <a:pt x="6594" y="2217"/>
                  </a:lnTo>
                  <a:close/>
                  <a:moveTo>
                    <a:pt x="6594" y="2330"/>
                  </a:moveTo>
                  <a:lnTo>
                    <a:pt x="6658" y="2330"/>
                  </a:lnTo>
                  <a:lnTo>
                    <a:pt x="6658" y="2265"/>
                  </a:lnTo>
                  <a:lnTo>
                    <a:pt x="6594" y="2265"/>
                  </a:lnTo>
                  <a:lnTo>
                    <a:pt x="6594" y="2330"/>
                  </a:lnTo>
                  <a:close/>
                  <a:moveTo>
                    <a:pt x="6594" y="2444"/>
                  </a:moveTo>
                  <a:lnTo>
                    <a:pt x="6658" y="2444"/>
                  </a:lnTo>
                  <a:lnTo>
                    <a:pt x="6658" y="2380"/>
                  </a:lnTo>
                  <a:lnTo>
                    <a:pt x="6594" y="2380"/>
                  </a:lnTo>
                  <a:lnTo>
                    <a:pt x="6594" y="2444"/>
                  </a:lnTo>
                  <a:close/>
                  <a:moveTo>
                    <a:pt x="6594" y="2558"/>
                  </a:moveTo>
                  <a:lnTo>
                    <a:pt x="6658" y="2558"/>
                  </a:lnTo>
                  <a:lnTo>
                    <a:pt x="6658" y="2493"/>
                  </a:lnTo>
                  <a:lnTo>
                    <a:pt x="6594" y="2493"/>
                  </a:lnTo>
                  <a:lnTo>
                    <a:pt x="6594" y="2558"/>
                  </a:lnTo>
                  <a:close/>
                  <a:moveTo>
                    <a:pt x="6594" y="2669"/>
                  </a:moveTo>
                  <a:lnTo>
                    <a:pt x="6658" y="2669"/>
                  </a:lnTo>
                  <a:lnTo>
                    <a:pt x="6658" y="2605"/>
                  </a:lnTo>
                  <a:lnTo>
                    <a:pt x="6594" y="2605"/>
                  </a:lnTo>
                  <a:lnTo>
                    <a:pt x="6594" y="2669"/>
                  </a:lnTo>
                  <a:close/>
                  <a:moveTo>
                    <a:pt x="6594" y="2783"/>
                  </a:moveTo>
                  <a:lnTo>
                    <a:pt x="6658" y="2783"/>
                  </a:lnTo>
                  <a:lnTo>
                    <a:pt x="6658" y="2718"/>
                  </a:lnTo>
                  <a:lnTo>
                    <a:pt x="6594" y="2718"/>
                  </a:lnTo>
                  <a:lnTo>
                    <a:pt x="6594" y="2783"/>
                  </a:lnTo>
                  <a:close/>
                  <a:moveTo>
                    <a:pt x="6594" y="2897"/>
                  </a:moveTo>
                  <a:lnTo>
                    <a:pt x="6658" y="2897"/>
                  </a:lnTo>
                  <a:lnTo>
                    <a:pt x="6658" y="2832"/>
                  </a:lnTo>
                  <a:lnTo>
                    <a:pt x="6594" y="2832"/>
                  </a:lnTo>
                  <a:lnTo>
                    <a:pt x="6594" y="2897"/>
                  </a:lnTo>
                  <a:close/>
                  <a:moveTo>
                    <a:pt x="6594" y="3010"/>
                  </a:moveTo>
                  <a:lnTo>
                    <a:pt x="6658" y="3010"/>
                  </a:lnTo>
                  <a:lnTo>
                    <a:pt x="6658" y="2946"/>
                  </a:lnTo>
                  <a:lnTo>
                    <a:pt x="6594" y="2946"/>
                  </a:lnTo>
                  <a:lnTo>
                    <a:pt x="6594" y="3010"/>
                  </a:lnTo>
                  <a:close/>
                  <a:moveTo>
                    <a:pt x="6594" y="3121"/>
                  </a:moveTo>
                  <a:lnTo>
                    <a:pt x="6658" y="3121"/>
                  </a:lnTo>
                  <a:lnTo>
                    <a:pt x="6658" y="3057"/>
                  </a:lnTo>
                  <a:lnTo>
                    <a:pt x="6594" y="3057"/>
                  </a:lnTo>
                  <a:lnTo>
                    <a:pt x="6594" y="3121"/>
                  </a:lnTo>
                  <a:close/>
                  <a:moveTo>
                    <a:pt x="6594" y="3234"/>
                  </a:moveTo>
                  <a:lnTo>
                    <a:pt x="6658" y="3234"/>
                  </a:lnTo>
                  <a:lnTo>
                    <a:pt x="6658" y="3170"/>
                  </a:lnTo>
                  <a:lnTo>
                    <a:pt x="6594" y="3170"/>
                  </a:lnTo>
                  <a:lnTo>
                    <a:pt x="6594" y="3234"/>
                  </a:lnTo>
                  <a:close/>
                  <a:moveTo>
                    <a:pt x="6594" y="3349"/>
                  </a:moveTo>
                  <a:lnTo>
                    <a:pt x="6658" y="3349"/>
                  </a:lnTo>
                  <a:lnTo>
                    <a:pt x="6658" y="3284"/>
                  </a:lnTo>
                  <a:lnTo>
                    <a:pt x="6594" y="3284"/>
                  </a:lnTo>
                  <a:lnTo>
                    <a:pt x="6594" y="3349"/>
                  </a:lnTo>
                  <a:close/>
                  <a:moveTo>
                    <a:pt x="6594" y="3462"/>
                  </a:moveTo>
                  <a:lnTo>
                    <a:pt x="6658" y="3462"/>
                  </a:lnTo>
                  <a:lnTo>
                    <a:pt x="6658" y="3397"/>
                  </a:lnTo>
                  <a:lnTo>
                    <a:pt x="6594" y="3397"/>
                  </a:lnTo>
                  <a:lnTo>
                    <a:pt x="6594" y="3462"/>
                  </a:lnTo>
                  <a:close/>
                  <a:moveTo>
                    <a:pt x="6594" y="3575"/>
                  </a:moveTo>
                  <a:lnTo>
                    <a:pt x="6658" y="3575"/>
                  </a:lnTo>
                  <a:lnTo>
                    <a:pt x="6658" y="3510"/>
                  </a:lnTo>
                  <a:lnTo>
                    <a:pt x="6594" y="3510"/>
                  </a:lnTo>
                  <a:lnTo>
                    <a:pt x="6594" y="3575"/>
                  </a:lnTo>
                  <a:close/>
                  <a:moveTo>
                    <a:pt x="6594" y="3688"/>
                  </a:moveTo>
                  <a:lnTo>
                    <a:pt x="6658" y="3688"/>
                  </a:lnTo>
                  <a:lnTo>
                    <a:pt x="6658" y="3624"/>
                  </a:lnTo>
                  <a:lnTo>
                    <a:pt x="6594" y="3624"/>
                  </a:lnTo>
                  <a:lnTo>
                    <a:pt x="6594" y="3688"/>
                  </a:lnTo>
                  <a:close/>
                  <a:moveTo>
                    <a:pt x="6594" y="3916"/>
                  </a:moveTo>
                  <a:lnTo>
                    <a:pt x="6658" y="3916"/>
                  </a:lnTo>
                  <a:lnTo>
                    <a:pt x="6658" y="3851"/>
                  </a:lnTo>
                  <a:lnTo>
                    <a:pt x="6594" y="3851"/>
                  </a:lnTo>
                  <a:lnTo>
                    <a:pt x="6594" y="3916"/>
                  </a:lnTo>
                  <a:close/>
                  <a:moveTo>
                    <a:pt x="6594" y="4140"/>
                  </a:moveTo>
                  <a:lnTo>
                    <a:pt x="6658" y="4140"/>
                  </a:lnTo>
                  <a:lnTo>
                    <a:pt x="6658" y="4076"/>
                  </a:lnTo>
                  <a:lnTo>
                    <a:pt x="6594" y="4076"/>
                  </a:lnTo>
                  <a:lnTo>
                    <a:pt x="6594" y="4140"/>
                  </a:lnTo>
                  <a:close/>
                  <a:moveTo>
                    <a:pt x="6594" y="4254"/>
                  </a:moveTo>
                  <a:lnTo>
                    <a:pt x="6658" y="4254"/>
                  </a:lnTo>
                  <a:lnTo>
                    <a:pt x="6658" y="4190"/>
                  </a:lnTo>
                  <a:lnTo>
                    <a:pt x="6594" y="4190"/>
                  </a:lnTo>
                  <a:lnTo>
                    <a:pt x="6594" y="4254"/>
                  </a:lnTo>
                  <a:close/>
                  <a:moveTo>
                    <a:pt x="6594" y="4367"/>
                  </a:moveTo>
                  <a:lnTo>
                    <a:pt x="6658" y="4367"/>
                  </a:lnTo>
                  <a:lnTo>
                    <a:pt x="6658" y="4303"/>
                  </a:lnTo>
                  <a:lnTo>
                    <a:pt x="6594" y="4303"/>
                  </a:lnTo>
                  <a:lnTo>
                    <a:pt x="6594" y="4367"/>
                  </a:lnTo>
                  <a:close/>
                  <a:moveTo>
                    <a:pt x="6594" y="4479"/>
                  </a:moveTo>
                  <a:lnTo>
                    <a:pt x="6658" y="4479"/>
                  </a:lnTo>
                  <a:lnTo>
                    <a:pt x="6658" y="4415"/>
                  </a:lnTo>
                  <a:lnTo>
                    <a:pt x="6594" y="4415"/>
                  </a:lnTo>
                  <a:lnTo>
                    <a:pt x="6594" y="4479"/>
                  </a:lnTo>
                  <a:close/>
                  <a:moveTo>
                    <a:pt x="6594" y="4593"/>
                  </a:moveTo>
                  <a:lnTo>
                    <a:pt x="6658" y="4593"/>
                  </a:lnTo>
                  <a:lnTo>
                    <a:pt x="6658" y="4528"/>
                  </a:lnTo>
                  <a:lnTo>
                    <a:pt x="6594" y="4528"/>
                  </a:lnTo>
                  <a:lnTo>
                    <a:pt x="6594" y="4593"/>
                  </a:lnTo>
                  <a:close/>
                  <a:moveTo>
                    <a:pt x="6594" y="4707"/>
                  </a:moveTo>
                  <a:lnTo>
                    <a:pt x="6658" y="4707"/>
                  </a:lnTo>
                  <a:lnTo>
                    <a:pt x="6658" y="4642"/>
                  </a:lnTo>
                  <a:lnTo>
                    <a:pt x="6594" y="4642"/>
                  </a:lnTo>
                  <a:lnTo>
                    <a:pt x="6594" y="4707"/>
                  </a:lnTo>
                  <a:close/>
                  <a:moveTo>
                    <a:pt x="6594" y="4820"/>
                  </a:moveTo>
                  <a:lnTo>
                    <a:pt x="6658" y="4820"/>
                  </a:lnTo>
                  <a:lnTo>
                    <a:pt x="6658" y="4755"/>
                  </a:lnTo>
                  <a:lnTo>
                    <a:pt x="6594" y="4755"/>
                  </a:lnTo>
                  <a:lnTo>
                    <a:pt x="6594" y="4820"/>
                  </a:lnTo>
                  <a:close/>
                  <a:moveTo>
                    <a:pt x="6594" y="4931"/>
                  </a:moveTo>
                  <a:lnTo>
                    <a:pt x="6658" y="4931"/>
                  </a:lnTo>
                  <a:lnTo>
                    <a:pt x="6658" y="4866"/>
                  </a:lnTo>
                  <a:lnTo>
                    <a:pt x="6594" y="4866"/>
                  </a:lnTo>
                  <a:lnTo>
                    <a:pt x="6594" y="4931"/>
                  </a:lnTo>
                  <a:close/>
                  <a:moveTo>
                    <a:pt x="6594" y="5044"/>
                  </a:moveTo>
                  <a:lnTo>
                    <a:pt x="6658" y="5044"/>
                  </a:lnTo>
                  <a:lnTo>
                    <a:pt x="6658" y="4980"/>
                  </a:lnTo>
                  <a:lnTo>
                    <a:pt x="6594" y="4980"/>
                  </a:lnTo>
                  <a:lnTo>
                    <a:pt x="6594" y="5044"/>
                  </a:lnTo>
                  <a:close/>
                  <a:moveTo>
                    <a:pt x="6594" y="5158"/>
                  </a:moveTo>
                  <a:lnTo>
                    <a:pt x="6658" y="5158"/>
                  </a:lnTo>
                  <a:lnTo>
                    <a:pt x="6658" y="5094"/>
                  </a:lnTo>
                  <a:lnTo>
                    <a:pt x="6594" y="5094"/>
                  </a:lnTo>
                  <a:lnTo>
                    <a:pt x="6594" y="5158"/>
                  </a:lnTo>
                  <a:close/>
                  <a:moveTo>
                    <a:pt x="6594" y="5271"/>
                  </a:moveTo>
                  <a:lnTo>
                    <a:pt x="6658" y="5271"/>
                  </a:lnTo>
                  <a:lnTo>
                    <a:pt x="6658" y="5207"/>
                  </a:lnTo>
                  <a:lnTo>
                    <a:pt x="6594" y="5207"/>
                  </a:lnTo>
                  <a:lnTo>
                    <a:pt x="6594" y="5271"/>
                  </a:lnTo>
                  <a:close/>
                  <a:moveTo>
                    <a:pt x="6594" y="5382"/>
                  </a:moveTo>
                  <a:lnTo>
                    <a:pt x="6658" y="5382"/>
                  </a:lnTo>
                  <a:lnTo>
                    <a:pt x="6658" y="5318"/>
                  </a:lnTo>
                  <a:lnTo>
                    <a:pt x="6594" y="5318"/>
                  </a:lnTo>
                  <a:lnTo>
                    <a:pt x="6594" y="5382"/>
                  </a:lnTo>
                  <a:close/>
                  <a:moveTo>
                    <a:pt x="6594" y="5495"/>
                  </a:moveTo>
                  <a:lnTo>
                    <a:pt x="6658" y="5495"/>
                  </a:lnTo>
                  <a:lnTo>
                    <a:pt x="6658" y="5431"/>
                  </a:lnTo>
                  <a:lnTo>
                    <a:pt x="6594" y="5431"/>
                  </a:lnTo>
                  <a:lnTo>
                    <a:pt x="6594" y="5495"/>
                  </a:lnTo>
                  <a:close/>
                  <a:moveTo>
                    <a:pt x="6594" y="5609"/>
                  </a:moveTo>
                  <a:lnTo>
                    <a:pt x="6658" y="5609"/>
                  </a:lnTo>
                  <a:lnTo>
                    <a:pt x="6658" y="5545"/>
                  </a:lnTo>
                  <a:lnTo>
                    <a:pt x="6594" y="5545"/>
                  </a:lnTo>
                  <a:lnTo>
                    <a:pt x="6594" y="5609"/>
                  </a:lnTo>
                  <a:close/>
                  <a:moveTo>
                    <a:pt x="6594" y="5723"/>
                  </a:moveTo>
                  <a:lnTo>
                    <a:pt x="6658" y="5723"/>
                  </a:lnTo>
                  <a:lnTo>
                    <a:pt x="6658" y="5658"/>
                  </a:lnTo>
                  <a:lnTo>
                    <a:pt x="6594" y="5658"/>
                  </a:lnTo>
                  <a:lnTo>
                    <a:pt x="6594" y="5723"/>
                  </a:lnTo>
                  <a:close/>
                  <a:moveTo>
                    <a:pt x="6594" y="5833"/>
                  </a:moveTo>
                  <a:lnTo>
                    <a:pt x="6658" y="5833"/>
                  </a:lnTo>
                  <a:lnTo>
                    <a:pt x="6658" y="5769"/>
                  </a:lnTo>
                  <a:lnTo>
                    <a:pt x="6594" y="5769"/>
                  </a:lnTo>
                  <a:lnTo>
                    <a:pt x="6594" y="5833"/>
                  </a:lnTo>
                  <a:close/>
                  <a:moveTo>
                    <a:pt x="6594" y="5947"/>
                  </a:moveTo>
                  <a:lnTo>
                    <a:pt x="6658" y="5947"/>
                  </a:lnTo>
                  <a:lnTo>
                    <a:pt x="6658" y="5883"/>
                  </a:lnTo>
                  <a:lnTo>
                    <a:pt x="6594" y="5883"/>
                  </a:lnTo>
                  <a:lnTo>
                    <a:pt x="6594" y="5947"/>
                  </a:lnTo>
                  <a:close/>
                  <a:moveTo>
                    <a:pt x="6594" y="6061"/>
                  </a:moveTo>
                  <a:lnTo>
                    <a:pt x="6658" y="6061"/>
                  </a:lnTo>
                  <a:lnTo>
                    <a:pt x="6658" y="5997"/>
                  </a:lnTo>
                  <a:lnTo>
                    <a:pt x="6594" y="5997"/>
                  </a:lnTo>
                  <a:lnTo>
                    <a:pt x="6594" y="6061"/>
                  </a:lnTo>
                  <a:close/>
                  <a:moveTo>
                    <a:pt x="6594" y="6174"/>
                  </a:moveTo>
                  <a:lnTo>
                    <a:pt x="6658" y="6174"/>
                  </a:lnTo>
                  <a:lnTo>
                    <a:pt x="6658" y="6110"/>
                  </a:lnTo>
                  <a:lnTo>
                    <a:pt x="6594" y="6110"/>
                  </a:lnTo>
                  <a:lnTo>
                    <a:pt x="6594" y="6174"/>
                  </a:lnTo>
                  <a:close/>
                  <a:moveTo>
                    <a:pt x="6707" y="630"/>
                  </a:moveTo>
                  <a:lnTo>
                    <a:pt x="6771" y="630"/>
                  </a:lnTo>
                  <a:lnTo>
                    <a:pt x="6771" y="565"/>
                  </a:lnTo>
                  <a:lnTo>
                    <a:pt x="6707" y="565"/>
                  </a:lnTo>
                  <a:lnTo>
                    <a:pt x="6707" y="630"/>
                  </a:lnTo>
                  <a:close/>
                  <a:moveTo>
                    <a:pt x="6707" y="744"/>
                  </a:moveTo>
                  <a:lnTo>
                    <a:pt x="6771" y="744"/>
                  </a:lnTo>
                  <a:lnTo>
                    <a:pt x="6771" y="679"/>
                  </a:lnTo>
                  <a:lnTo>
                    <a:pt x="6707" y="679"/>
                  </a:lnTo>
                  <a:lnTo>
                    <a:pt x="6707" y="744"/>
                  </a:lnTo>
                  <a:close/>
                  <a:moveTo>
                    <a:pt x="6707" y="857"/>
                  </a:moveTo>
                  <a:lnTo>
                    <a:pt x="6771" y="857"/>
                  </a:lnTo>
                  <a:lnTo>
                    <a:pt x="6771" y="792"/>
                  </a:lnTo>
                  <a:lnTo>
                    <a:pt x="6707" y="792"/>
                  </a:lnTo>
                  <a:lnTo>
                    <a:pt x="6707" y="857"/>
                  </a:lnTo>
                  <a:close/>
                  <a:moveTo>
                    <a:pt x="6707" y="969"/>
                  </a:moveTo>
                  <a:lnTo>
                    <a:pt x="6771" y="969"/>
                  </a:lnTo>
                  <a:lnTo>
                    <a:pt x="6771" y="904"/>
                  </a:lnTo>
                  <a:lnTo>
                    <a:pt x="6707" y="904"/>
                  </a:lnTo>
                  <a:lnTo>
                    <a:pt x="6707" y="969"/>
                  </a:lnTo>
                  <a:close/>
                  <a:moveTo>
                    <a:pt x="6707" y="1082"/>
                  </a:moveTo>
                  <a:lnTo>
                    <a:pt x="6771" y="1082"/>
                  </a:lnTo>
                  <a:lnTo>
                    <a:pt x="6771" y="1018"/>
                  </a:lnTo>
                  <a:lnTo>
                    <a:pt x="6707" y="1018"/>
                  </a:lnTo>
                  <a:lnTo>
                    <a:pt x="6707" y="1082"/>
                  </a:lnTo>
                  <a:close/>
                  <a:moveTo>
                    <a:pt x="6707" y="1197"/>
                  </a:moveTo>
                  <a:lnTo>
                    <a:pt x="6771" y="1197"/>
                  </a:lnTo>
                  <a:lnTo>
                    <a:pt x="6771" y="1132"/>
                  </a:lnTo>
                  <a:lnTo>
                    <a:pt x="6707" y="1132"/>
                  </a:lnTo>
                  <a:lnTo>
                    <a:pt x="6707" y="1197"/>
                  </a:lnTo>
                  <a:close/>
                  <a:moveTo>
                    <a:pt x="6707" y="1420"/>
                  </a:moveTo>
                  <a:lnTo>
                    <a:pt x="6771" y="1420"/>
                  </a:lnTo>
                  <a:lnTo>
                    <a:pt x="6771" y="1357"/>
                  </a:lnTo>
                  <a:lnTo>
                    <a:pt x="6707" y="1357"/>
                  </a:lnTo>
                  <a:lnTo>
                    <a:pt x="6707" y="1420"/>
                  </a:lnTo>
                  <a:close/>
                  <a:moveTo>
                    <a:pt x="6707" y="1992"/>
                  </a:moveTo>
                  <a:lnTo>
                    <a:pt x="6771" y="1992"/>
                  </a:lnTo>
                  <a:lnTo>
                    <a:pt x="6771" y="1928"/>
                  </a:lnTo>
                  <a:lnTo>
                    <a:pt x="6707" y="1928"/>
                  </a:lnTo>
                  <a:lnTo>
                    <a:pt x="6707" y="1992"/>
                  </a:lnTo>
                  <a:close/>
                  <a:moveTo>
                    <a:pt x="6707" y="2106"/>
                  </a:moveTo>
                  <a:lnTo>
                    <a:pt x="6771" y="2106"/>
                  </a:lnTo>
                  <a:lnTo>
                    <a:pt x="6771" y="2042"/>
                  </a:lnTo>
                  <a:lnTo>
                    <a:pt x="6707" y="2042"/>
                  </a:lnTo>
                  <a:lnTo>
                    <a:pt x="6707" y="2106"/>
                  </a:lnTo>
                  <a:close/>
                  <a:moveTo>
                    <a:pt x="6707" y="2217"/>
                  </a:moveTo>
                  <a:lnTo>
                    <a:pt x="6771" y="2217"/>
                  </a:lnTo>
                  <a:lnTo>
                    <a:pt x="6771" y="2152"/>
                  </a:lnTo>
                  <a:lnTo>
                    <a:pt x="6707" y="2152"/>
                  </a:lnTo>
                  <a:lnTo>
                    <a:pt x="6707" y="2217"/>
                  </a:lnTo>
                  <a:close/>
                  <a:moveTo>
                    <a:pt x="6707" y="2330"/>
                  </a:moveTo>
                  <a:lnTo>
                    <a:pt x="6771" y="2330"/>
                  </a:lnTo>
                  <a:lnTo>
                    <a:pt x="6771" y="2265"/>
                  </a:lnTo>
                  <a:lnTo>
                    <a:pt x="6707" y="2265"/>
                  </a:lnTo>
                  <a:lnTo>
                    <a:pt x="6707" y="2330"/>
                  </a:lnTo>
                  <a:close/>
                  <a:moveTo>
                    <a:pt x="6707" y="2444"/>
                  </a:moveTo>
                  <a:lnTo>
                    <a:pt x="6771" y="2444"/>
                  </a:lnTo>
                  <a:lnTo>
                    <a:pt x="6771" y="2380"/>
                  </a:lnTo>
                  <a:lnTo>
                    <a:pt x="6707" y="2380"/>
                  </a:lnTo>
                  <a:lnTo>
                    <a:pt x="6707" y="2444"/>
                  </a:lnTo>
                  <a:close/>
                  <a:moveTo>
                    <a:pt x="6707" y="2558"/>
                  </a:moveTo>
                  <a:lnTo>
                    <a:pt x="6771" y="2558"/>
                  </a:lnTo>
                  <a:lnTo>
                    <a:pt x="6771" y="2493"/>
                  </a:lnTo>
                  <a:lnTo>
                    <a:pt x="6707" y="2493"/>
                  </a:lnTo>
                  <a:lnTo>
                    <a:pt x="6707" y="2558"/>
                  </a:lnTo>
                  <a:close/>
                  <a:moveTo>
                    <a:pt x="6707" y="2669"/>
                  </a:moveTo>
                  <a:lnTo>
                    <a:pt x="6771" y="2669"/>
                  </a:lnTo>
                  <a:lnTo>
                    <a:pt x="6771" y="2605"/>
                  </a:lnTo>
                  <a:lnTo>
                    <a:pt x="6707" y="2605"/>
                  </a:lnTo>
                  <a:lnTo>
                    <a:pt x="6707" y="2669"/>
                  </a:lnTo>
                  <a:close/>
                  <a:moveTo>
                    <a:pt x="6707" y="2783"/>
                  </a:moveTo>
                  <a:lnTo>
                    <a:pt x="6771" y="2783"/>
                  </a:lnTo>
                  <a:lnTo>
                    <a:pt x="6771" y="2718"/>
                  </a:lnTo>
                  <a:lnTo>
                    <a:pt x="6707" y="2718"/>
                  </a:lnTo>
                  <a:lnTo>
                    <a:pt x="6707" y="2783"/>
                  </a:lnTo>
                  <a:close/>
                  <a:moveTo>
                    <a:pt x="6707" y="2897"/>
                  </a:moveTo>
                  <a:lnTo>
                    <a:pt x="6771" y="2897"/>
                  </a:lnTo>
                  <a:lnTo>
                    <a:pt x="6771" y="2832"/>
                  </a:lnTo>
                  <a:lnTo>
                    <a:pt x="6707" y="2832"/>
                  </a:lnTo>
                  <a:lnTo>
                    <a:pt x="6707" y="2897"/>
                  </a:lnTo>
                  <a:close/>
                  <a:moveTo>
                    <a:pt x="6707" y="3010"/>
                  </a:moveTo>
                  <a:lnTo>
                    <a:pt x="6771" y="3010"/>
                  </a:lnTo>
                  <a:lnTo>
                    <a:pt x="6771" y="2946"/>
                  </a:lnTo>
                  <a:lnTo>
                    <a:pt x="6707" y="2946"/>
                  </a:lnTo>
                  <a:lnTo>
                    <a:pt x="6707" y="3010"/>
                  </a:lnTo>
                  <a:close/>
                  <a:moveTo>
                    <a:pt x="6707" y="3121"/>
                  </a:moveTo>
                  <a:lnTo>
                    <a:pt x="6771" y="3121"/>
                  </a:lnTo>
                  <a:lnTo>
                    <a:pt x="6771" y="3057"/>
                  </a:lnTo>
                  <a:lnTo>
                    <a:pt x="6707" y="3057"/>
                  </a:lnTo>
                  <a:lnTo>
                    <a:pt x="6707" y="3121"/>
                  </a:lnTo>
                  <a:close/>
                  <a:moveTo>
                    <a:pt x="6707" y="3234"/>
                  </a:moveTo>
                  <a:lnTo>
                    <a:pt x="6771" y="3234"/>
                  </a:lnTo>
                  <a:lnTo>
                    <a:pt x="6771" y="3170"/>
                  </a:lnTo>
                  <a:lnTo>
                    <a:pt x="6707" y="3170"/>
                  </a:lnTo>
                  <a:lnTo>
                    <a:pt x="6707" y="3234"/>
                  </a:lnTo>
                  <a:close/>
                  <a:moveTo>
                    <a:pt x="6707" y="3349"/>
                  </a:moveTo>
                  <a:lnTo>
                    <a:pt x="6771" y="3349"/>
                  </a:lnTo>
                  <a:lnTo>
                    <a:pt x="6771" y="3284"/>
                  </a:lnTo>
                  <a:lnTo>
                    <a:pt x="6707" y="3284"/>
                  </a:lnTo>
                  <a:lnTo>
                    <a:pt x="6707" y="3349"/>
                  </a:lnTo>
                  <a:close/>
                  <a:moveTo>
                    <a:pt x="6707" y="3462"/>
                  </a:moveTo>
                  <a:lnTo>
                    <a:pt x="6771" y="3462"/>
                  </a:lnTo>
                  <a:lnTo>
                    <a:pt x="6771" y="3397"/>
                  </a:lnTo>
                  <a:lnTo>
                    <a:pt x="6707" y="3397"/>
                  </a:lnTo>
                  <a:lnTo>
                    <a:pt x="6707" y="3462"/>
                  </a:lnTo>
                  <a:close/>
                  <a:moveTo>
                    <a:pt x="6707" y="3575"/>
                  </a:moveTo>
                  <a:lnTo>
                    <a:pt x="6771" y="3575"/>
                  </a:lnTo>
                  <a:lnTo>
                    <a:pt x="6771" y="3510"/>
                  </a:lnTo>
                  <a:lnTo>
                    <a:pt x="6707" y="3510"/>
                  </a:lnTo>
                  <a:lnTo>
                    <a:pt x="6707" y="3575"/>
                  </a:lnTo>
                  <a:close/>
                  <a:moveTo>
                    <a:pt x="6707" y="3688"/>
                  </a:moveTo>
                  <a:lnTo>
                    <a:pt x="6771" y="3688"/>
                  </a:lnTo>
                  <a:lnTo>
                    <a:pt x="6771" y="3624"/>
                  </a:lnTo>
                  <a:lnTo>
                    <a:pt x="6707" y="3624"/>
                  </a:lnTo>
                  <a:lnTo>
                    <a:pt x="6707" y="3688"/>
                  </a:lnTo>
                  <a:close/>
                  <a:moveTo>
                    <a:pt x="6707" y="3802"/>
                  </a:moveTo>
                  <a:lnTo>
                    <a:pt x="6771" y="3802"/>
                  </a:lnTo>
                  <a:lnTo>
                    <a:pt x="6771" y="3738"/>
                  </a:lnTo>
                  <a:lnTo>
                    <a:pt x="6707" y="3738"/>
                  </a:lnTo>
                  <a:lnTo>
                    <a:pt x="6707" y="3802"/>
                  </a:lnTo>
                  <a:close/>
                  <a:moveTo>
                    <a:pt x="6707" y="4140"/>
                  </a:moveTo>
                  <a:lnTo>
                    <a:pt x="6771" y="4140"/>
                  </a:lnTo>
                  <a:lnTo>
                    <a:pt x="6771" y="4076"/>
                  </a:lnTo>
                  <a:lnTo>
                    <a:pt x="6707" y="4076"/>
                  </a:lnTo>
                  <a:lnTo>
                    <a:pt x="6707" y="4140"/>
                  </a:lnTo>
                  <a:close/>
                  <a:moveTo>
                    <a:pt x="6707" y="4254"/>
                  </a:moveTo>
                  <a:lnTo>
                    <a:pt x="6771" y="4254"/>
                  </a:lnTo>
                  <a:lnTo>
                    <a:pt x="6771" y="4190"/>
                  </a:lnTo>
                  <a:lnTo>
                    <a:pt x="6707" y="4190"/>
                  </a:lnTo>
                  <a:lnTo>
                    <a:pt x="6707" y="4254"/>
                  </a:lnTo>
                  <a:close/>
                  <a:moveTo>
                    <a:pt x="6707" y="4367"/>
                  </a:moveTo>
                  <a:lnTo>
                    <a:pt x="6771" y="4367"/>
                  </a:lnTo>
                  <a:lnTo>
                    <a:pt x="6771" y="4303"/>
                  </a:lnTo>
                  <a:lnTo>
                    <a:pt x="6707" y="4303"/>
                  </a:lnTo>
                  <a:lnTo>
                    <a:pt x="6707" y="4367"/>
                  </a:lnTo>
                  <a:close/>
                  <a:moveTo>
                    <a:pt x="6707" y="4479"/>
                  </a:moveTo>
                  <a:lnTo>
                    <a:pt x="6771" y="4479"/>
                  </a:lnTo>
                  <a:lnTo>
                    <a:pt x="6771" y="4415"/>
                  </a:lnTo>
                  <a:lnTo>
                    <a:pt x="6707" y="4415"/>
                  </a:lnTo>
                  <a:lnTo>
                    <a:pt x="6707" y="4479"/>
                  </a:lnTo>
                  <a:close/>
                  <a:moveTo>
                    <a:pt x="6707" y="4593"/>
                  </a:moveTo>
                  <a:lnTo>
                    <a:pt x="6771" y="4593"/>
                  </a:lnTo>
                  <a:lnTo>
                    <a:pt x="6771" y="4528"/>
                  </a:lnTo>
                  <a:lnTo>
                    <a:pt x="6707" y="4528"/>
                  </a:lnTo>
                  <a:lnTo>
                    <a:pt x="6707" y="4593"/>
                  </a:lnTo>
                  <a:close/>
                  <a:moveTo>
                    <a:pt x="6707" y="4707"/>
                  </a:moveTo>
                  <a:lnTo>
                    <a:pt x="6771" y="4707"/>
                  </a:lnTo>
                  <a:lnTo>
                    <a:pt x="6771" y="4642"/>
                  </a:lnTo>
                  <a:lnTo>
                    <a:pt x="6707" y="4642"/>
                  </a:lnTo>
                  <a:lnTo>
                    <a:pt x="6707" y="4707"/>
                  </a:lnTo>
                  <a:close/>
                  <a:moveTo>
                    <a:pt x="6707" y="4820"/>
                  </a:moveTo>
                  <a:lnTo>
                    <a:pt x="6771" y="4820"/>
                  </a:lnTo>
                  <a:lnTo>
                    <a:pt x="6771" y="4755"/>
                  </a:lnTo>
                  <a:lnTo>
                    <a:pt x="6707" y="4755"/>
                  </a:lnTo>
                  <a:lnTo>
                    <a:pt x="6707" y="4820"/>
                  </a:lnTo>
                  <a:close/>
                  <a:moveTo>
                    <a:pt x="6707" y="4931"/>
                  </a:moveTo>
                  <a:lnTo>
                    <a:pt x="6771" y="4931"/>
                  </a:lnTo>
                  <a:lnTo>
                    <a:pt x="6771" y="4866"/>
                  </a:lnTo>
                  <a:lnTo>
                    <a:pt x="6707" y="4866"/>
                  </a:lnTo>
                  <a:lnTo>
                    <a:pt x="6707" y="4931"/>
                  </a:lnTo>
                  <a:close/>
                  <a:moveTo>
                    <a:pt x="6707" y="5044"/>
                  </a:moveTo>
                  <a:lnTo>
                    <a:pt x="6771" y="5044"/>
                  </a:lnTo>
                  <a:lnTo>
                    <a:pt x="6771" y="4980"/>
                  </a:lnTo>
                  <a:lnTo>
                    <a:pt x="6707" y="4980"/>
                  </a:lnTo>
                  <a:lnTo>
                    <a:pt x="6707" y="5044"/>
                  </a:lnTo>
                  <a:close/>
                  <a:moveTo>
                    <a:pt x="6707" y="5158"/>
                  </a:moveTo>
                  <a:lnTo>
                    <a:pt x="6771" y="5158"/>
                  </a:lnTo>
                  <a:lnTo>
                    <a:pt x="6771" y="5094"/>
                  </a:lnTo>
                  <a:lnTo>
                    <a:pt x="6707" y="5094"/>
                  </a:lnTo>
                  <a:lnTo>
                    <a:pt x="6707" y="5158"/>
                  </a:lnTo>
                  <a:close/>
                  <a:moveTo>
                    <a:pt x="6707" y="5271"/>
                  </a:moveTo>
                  <a:lnTo>
                    <a:pt x="6771" y="5271"/>
                  </a:lnTo>
                  <a:lnTo>
                    <a:pt x="6771" y="5207"/>
                  </a:lnTo>
                  <a:lnTo>
                    <a:pt x="6707" y="5207"/>
                  </a:lnTo>
                  <a:lnTo>
                    <a:pt x="6707" y="5271"/>
                  </a:lnTo>
                  <a:close/>
                  <a:moveTo>
                    <a:pt x="6707" y="5382"/>
                  </a:moveTo>
                  <a:lnTo>
                    <a:pt x="6771" y="5382"/>
                  </a:lnTo>
                  <a:lnTo>
                    <a:pt x="6771" y="5318"/>
                  </a:lnTo>
                  <a:lnTo>
                    <a:pt x="6707" y="5318"/>
                  </a:lnTo>
                  <a:lnTo>
                    <a:pt x="6707" y="5382"/>
                  </a:lnTo>
                  <a:close/>
                  <a:moveTo>
                    <a:pt x="6707" y="5495"/>
                  </a:moveTo>
                  <a:lnTo>
                    <a:pt x="6771" y="5495"/>
                  </a:lnTo>
                  <a:lnTo>
                    <a:pt x="6771" y="5431"/>
                  </a:lnTo>
                  <a:lnTo>
                    <a:pt x="6707" y="5431"/>
                  </a:lnTo>
                  <a:lnTo>
                    <a:pt x="6707" y="5495"/>
                  </a:lnTo>
                  <a:close/>
                  <a:moveTo>
                    <a:pt x="6707" y="5609"/>
                  </a:moveTo>
                  <a:lnTo>
                    <a:pt x="6771" y="5609"/>
                  </a:lnTo>
                  <a:lnTo>
                    <a:pt x="6771" y="5545"/>
                  </a:lnTo>
                  <a:lnTo>
                    <a:pt x="6707" y="5545"/>
                  </a:lnTo>
                  <a:lnTo>
                    <a:pt x="6707" y="5609"/>
                  </a:lnTo>
                  <a:close/>
                  <a:moveTo>
                    <a:pt x="6707" y="5723"/>
                  </a:moveTo>
                  <a:lnTo>
                    <a:pt x="6771" y="5723"/>
                  </a:lnTo>
                  <a:lnTo>
                    <a:pt x="6771" y="5658"/>
                  </a:lnTo>
                  <a:lnTo>
                    <a:pt x="6707" y="5658"/>
                  </a:lnTo>
                  <a:lnTo>
                    <a:pt x="6707" y="5723"/>
                  </a:lnTo>
                  <a:close/>
                  <a:moveTo>
                    <a:pt x="6707" y="5833"/>
                  </a:moveTo>
                  <a:lnTo>
                    <a:pt x="6771" y="5833"/>
                  </a:lnTo>
                  <a:lnTo>
                    <a:pt x="6771" y="5769"/>
                  </a:lnTo>
                  <a:lnTo>
                    <a:pt x="6707" y="5769"/>
                  </a:lnTo>
                  <a:lnTo>
                    <a:pt x="6707" y="5833"/>
                  </a:lnTo>
                  <a:close/>
                  <a:moveTo>
                    <a:pt x="6707" y="5947"/>
                  </a:moveTo>
                  <a:lnTo>
                    <a:pt x="6771" y="5947"/>
                  </a:lnTo>
                  <a:lnTo>
                    <a:pt x="6771" y="5883"/>
                  </a:lnTo>
                  <a:lnTo>
                    <a:pt x="6707" y="5883"/>
                  </a:lnTo>
                  <a:lnTo>
                    <a:pt x="6707" y="5947"/>
                  </a:lnTo>
                  <a:close/>
                  <a:moveTo>
                    <a:pt x="6707" y="6061"/>
                  </a:moveTo>
                  <a:lnTo>
                    <a:pt x="6771" y="6061"/>
                  </a:lnTo>
                  <a:lnTo>
                    <a:pt x="6771" y="5997"/>
                  </a:lnTo>
                  <a:lnTo>
                    <a:pt x="6707" y="5997"/>
                  </a:lnTo>
                  <a:lnTo>
                    <a:pt x="6707" y="6061"/>
                  </a:lnTo>
                  <a:close/>
                  <a:moveTo>
                    <a:pt x="6707" y="6174"/>
                  </a:moveTo>
                  <a:lnTo>
                    <a:pt x="6771" y="6174"/>
                  </a:lnTo>
                  <a:lnTo>
                    <a:pt x="6771" y="6110"/>
                  </a:lnTo>
                  <a:lnTo>
                    <a:pt x="6707" y="6110"/>
                  </a:lnTo>
                  <a:lnTo>
                    <a:pt x="6707" y="6174"/>
                  </a:lnTo>
                  <a:close/>
                  <a:moveTo>
                    <a:pt x="6707" y="6286"/>
                  </a:moveTo>
                  <a:lnTo>
                    <a:pt x="6771" y="6286"/>
                  </a:lnTo>
                  <a:lnTo>
                    <a:pt x="6771" y="6222"/>
                  </a:lnTo>
                  <a:lnTo>
                    <a:pt x="6707" y="6222"/>
                  </a:lnTo>
                  <a:lnTo>
                    <a:pt x="6707" y="6286"/>
                  </a:lnTo>
                  <a:close/>
                  <a:moveTo>
                    <a:pt x="6707" y="6400"/>
                  </a:moveTo>
                  <a:lnTo>
                    <a:pt x="6771" y="6400"/>
                  </a:lnTo>
                  <a:lnTo>
                    <a:pt x="6771" y="6335"/>
                  </a:lnTo>
                  <a:lnTo>
                    <a:pt x="6707" y="6335"/>
                  </a:lnTo>
                  <a:lnTo>
                    <a:pt x="6707" y="6400"/>
                  </a:lnTo>
                  <a:close/>
                  <a:moveTo>
                    <a:pt x="6822" y="516"/>
                  </a:moveTo>
                  <a:lnTo>
                    <a:pt x="6885" y="516"/>
                  </a:lnTo>
                  <a:lnTo>
                    <a:pt x="6885" y="452"/>
                  </a:lnTo>
                  <a:lnTo>
                    <a:pt x="6822" y="452"/>
                  </a:lnTo>
                  <a:lnTo>
                    <a:pt x="6822" y="516"/>
                  </a:lnTo>
                  <a:close/>
                  <a:moveTo>
                    <a:pt x="6822" y="630"/>
                  </a:moveTo>
                  <a:lnTo>
                    <a:pt x="6885" y="630"/>
                  </a:lnTo>
                  <a:lnTo>
                    <a:pt x="6885" y="565"/>
                  </a:lnTo>
                  <a:lnTo>
                    <a:pt x="6822" y="565"/>
                  </a:lnTo>
                  <a:lnTo>
                    <a:pt x="6822" y="630"/>
                  </a:lnTo>
                  <a:close/>
                  <a:moveTo>
                    <a:pt x="6822" y="744"/>
                  </a:moveTo>
                  <a:lnTo>
                    <a:pt x="6885" y="744"/>
                  </a:lnTo>
                  <a:lnTo>
                    <a:pt x="6885" y="679"/>
                  </a:lnTo>
                  <a:lnTo>
                    <a:pt x="6822" y="679"/>
                  </a:lnTo>
                  <a:lnTo>
                    <a:pt x="6822" y="744"/>
                  </a:lnTo>
                  <a:close/>
                  <a:moveTo>
                    <a:pt x="6822" y="857"/>
                  </a:moveTo>
                  <a:lnTo>
                    <a:pt x="6885" y="857"/>
                  </a:lnTo>
                  <a:lnTo>
                    <a:pt x="6885" y="792"/>
                  </a:lnTo>
                  <a:lnTo>
                    <a:pt x="6822" y="792"/>
                  </a:lnTo>
                  <a:lnTo>
                    <a:pt x="6822" y="857"/>
                  </a:lnTo>
                  <a:close/>
                  <a:moveTo>
                    <a:pt x="6822" y="969"/>
                  </a:moveTo>
                  <a:lnTo>
                    <a:pt x="6885" y="969"/>
                  </a:lnTo>
                  <a:lnTo>
                    <a:pt x="6885" y="904"/>
                  </a:lnTo>
                  <a:lnTo>
                    <a:pt x="6822" y="904"/>
                  </a:lnTo>
                  <a:lnTo>
                    <a:pt x="6822" y="969"/>
                  </a:lnTo>
                  <a:close/>
                  <a:moveTo>
                    <a:pt x="6822" y="1082"/>
                  </a:moveTo>
                  <a:lnTo>
                    <a:pt x="6885" y="1082"/>
                  </a:lnTo>
                  <a:lnTo>
                    <a:pt x="6885" y="1018"/>
                  </a:lnTo>
                  <a:lnTo>
                    <a:pt x="6822" y="1018"/>
                  </a:lnTo>
                  <a:lnTo>
                    <a:pt x="6822" y="1082"/>
                  </a:lnTo>
                  <a:close/>
                  <a:moveTo>
                    <a:pt x="6822" y="1992"/>
                  </a:moveTo>
                  <a:lnTo>
                    <a:pt x="6885" y="1992"/>
                  </a:lnTo>
                  <a:lnTo>
                    <a:pt x="6885" y="1928"/>
                  </a:lnTo>
                  <a:lnTo>
                    <a:pt x="6822" y="1928"/>
                  </a:lnTo>
                  <a:lnTo>
                    <a:pt x="6822" y="1992"/>
                  </a:lnTo>
                  <a:close/>
                  <a:moveTo>
                    <a:pt x="6822" y="2106"/>
                  </a:moveTo>
                  <a:lnTo>
                    <a:pt x="6885" y="2106"/>
                  </a:lnTo>
                  <a:lnTo>
                    <a:pt x="6885" y="2042"/>
                  </a:lnTo>
                  <a:lnTo>
                    <a:pt x="6822" y="2042"/>
                  </a:lnTo>
                  <a:lnTo>
                    <a:pt x="6822" y="2106"/>
                  </a:lnTo>
                  <a:close/>
                  <a:moveTo>
                    <a:pt x="6822" y="2217"/>
                  </a:moveTo>
                  <a:lnTo>
                    <a:pt x="6885" y="2217"/>
                  </a:lnTo>
                  <a:lnTo>
                    <a:pt x="6885" y="2152"/>
                  </a:lnTo>
                  <a:lnTo>
                    <a:pt x="6822" y="2152"/>
                  </a:lnTo>
                  <a:lnTo>
                    <a:pt x="6822" y="2217"/>
                  </a:lnTo>
                  <a:close/>
                  <a:moveTo>
                    <a:pt x="6822" y="2330"/>
                  </a:moveTo>
                  <a:lnTo>
                    <a:pt x="6885" y="2330"/>
                  </a:lnTo>
                  <a:lnTo>
                    <a:pt x="6885" y="2265"/>
                  </a:lnTo>
                  <a:lnTo>
                    <a:pt x="6822" y="2265"/>
                  </a:lnTo>
                  <a:lnTo>
                    <a:pt x="6822" y="2330"/>
                  </a:lnTo>
                  <a:close/>
                  <a:moveTo>
                    <a:pt x="6822" y="2444"/>
                  </a:moveTo>
                  <a:lnTo>
                    <a:pt x="6885" y="2444"/>
                  </a:lnTo>
                  <a:lnTo>
                    <a:pt x="6885" y="2380"/>
                  </a:lnTo>
                  <a:lnTo>
                    <a:pt x="6822" y="2380"/>
                  </a:lnTo>
                  <a:lnTo>
                    <a:pt x="6822" y="2444"/>
                  </a:lnTo>
                  <a:close/>
                  <a:moveTo>
                    <a:pt x="6822" y="2558"/>
                  </a:moveTo>
                  <a:lnTo>
                    <a:pt x="6885" y="2558"/>
                  </a:lnTo>
                  <a:lnTo>
                    <a:pt x="6885" y="2493"/>
                  </a:lnTo>
                  <a:lnTo>
                    <a:pt x="6822" y="2493"/>
                  </a:lnTo>
                  <a:lnTo>
                    <a:pt x="6822" y="2558"/>
                  </a:lnTo>
                  <a:close/>
                  <a:moveTo>
                    <a:pt x="6822" y="2669"/>
                  </a:moveTo>
                  <a:lnTo>
                    <a:pt x="6885" y="2669"/>
                  </a:lnTo>
                  <a:lnTo>
                    <a:pt x="6885" y="2605"/>
                  </a:lnTo>
                  <a:lnTo>
                    <a:pt x="6822" y="2605"/>
                  </a:lnTo>
                  <a:lnTo>
                    <a:pt x="6822" y="2669"/>
                  </a:lnTo>
                  <a:close/>
                  <a:moveTo>
                    <a:pt x="6822" y="2783"/>
                  </a:moveTo>
                  <a:lnTo>
                    <a:pt x="6885" y="2783"/>
                  </a:lnTo>
                  <a:lnTo>
                    <a:pt x="6885" y="2718"/>
                  </a:lnTo>
                  <a:lnTo>
                    <a:pt x="6822" y="2718"/>
                  </a:lnTo>
                  <a:lnTo>
                    <a:pt x="6822" y="2783"/>
                  </a:lnTo>
                  <a:close/>
                  <a:moveTo>
                    <a:pt x="6822" y="2897"/>
                  </a:moveTo>
                  <a:lnTo>
                    <a:pt x="6885" y="2897"/>
                  </a:lnTo>
                  <a:lnTo>
                    <a:pt x="6885" y="2832"/>
                  </a:lnTo>
                  <a:lnTo>
                    <a:pt x="6822" y="2832"/>
                  </a:lnTo>
                  <a:lnTo>
                    <a:pt x="6822" y="2897"/>
                  </a:lnTo>
                  <a:close/>
                  <a:moveTo>
                    <a:pt x="6822" y="3010"/>
                  </a:moveTo>
                  <a:lnTo>
                    <a:pt x="6885" y="3010"/>
                  </a:lnTo>
                  <a:lnTo>
                    <a:pt x="6885" y="2946"/>
                  </a:lnTo>
                  <a:lnTo>
                    <a:pt x="6822" y="2946"/>
                  </a:lnTo>
                  <a:lnTo>
                    <a:pt x="6822" y="3010"/>
                  </a:lnTo>
                  <a:close/>
                  <a:moveTo>
                    <a:pt x="6822" y="3121"/>
                  </a:moveTo>
                  <a:lnTo>
                    <a:pt x="6885" y="3121"/>
                  </a:lnTo>
                  <a:lnTo>
                    <a:pt x="6885" y="3057"/>
                  </a:lnTo>
                  <a:lnTo>
                    <a:pt x="6822" y="3057"/>
                  </a:lnTo>
                  <a:lnTo>
                    <a:pt x="6822" y="3121"/>
                  </a:lnTo>
                  <a:close/>
                  <a:moveTo>
                    <a:pt x="6822" y="3234"/>
                  </a:moveTo>
                  <a:lnTo>
                    <a:pt x="6885" y="3234"/>
                  </a:lnTo>
                  <a:lnTo>
                    <a:pt x="6885" y="3170"/>
                  </a:lnTo>
                  <a:lnTo>
                    <a:pt x="6822" y="3170"/>
                  </a:lnTo>
                  <a:lnTo>
                    <a:pt x="6822" y="3234"/>
                  </a:lnTo>
                  <a:close/>
                  <a:moveTo>
                    <a:pt x="6822" y="3349"/>
                  </a:moveTo>
                  <a:lnTo>
                    <a:pt x="6885" y="3349"/>
                  </a:lnTo>
                  <a:lnTo>
                    <a:pt x="6885" y="3284"/>
                  </a:lnTo>
                  <a:lnTo>
                    <a:pt x="6822" y="3284"/>
                  </a:lnTo>
                  <a:lnTo>
                    <a:pt x="6822" y="3349"/>
                  </a:lnTo>
                  <a:close/>
                  <a:moveTo>
                    <a:pt x="6822" y="3462"/>
                  </a:moveTo>
                  <a:lnTo>
                    <a:pt x="6885" y="3462"/>
                  </a:lnTo>
                  <a:lnTo>
                    <a:pt x="6885" y="3397"/>
                  </a:lnTo>
                  <a:lnTo>
                    <a:pt x="6822" y="3397"/>
                  </a:lnTo>
                  <a:lnTo>
                    <a:pt x="6822" y="3462"/>
                  </a:lnTo>
                  <a:close/>
                  <a:moveTo>
                    <a:pt x="6822" y="3575"/>
                  </a:moveTo>
                  <a:lnTo>
                    <a:pt x="6885" y="3575"/>
                  </a:lnTo>
                  <a:lnTo>
                    <a:pt x="6885" y="3510"/>
                  </a:lnTo>
                  <a:lnTo>
                    <a:pt x="6822" y="3510"/>
                  </a:lnTo>
                  <a:lnTo>
                    <a:pt x="6822" y="3575"/>
                  </a:lnTo>
                  <a:close/>
                  <a:moveTo>
                    <a:pt x="6822" y="3688"/>
                  </a:moveTo>
                  <a:lnTo>
                    <a:pt x="6885" y="3688"/>
                  </a:lnTo>
                  <a:lnTo>
                    <a:pt x="6885" y="3624"/>
                  </a:lnTo>
                  <a:lnTo>
                    <a:pt x="6822" y="3624"/>
                  </a:lnTo>
                  <a:lnTo>
                    <a:pt x="6822" y="3688"/>
                  </a:lnTo>
                  <a:close/>
                  <a:moveTo>
                    <a:pt x="6822" y="3802"/>
                  </a:moveTo>
                  <a:lnTo>
                    <a:pt x="6885" y="3802"/>
                  </a:lnTo>
                  <a:lnTo>
                    <a:pt x="6885" y="3738"/>
                  </a:lnTo>
                  <a:lnTo>
                    <a:pt x="6822" y="3738"/>
                  </a:lnTo>
                  <a:lnTo>
                    <a:pt x="6822" y="3802"/>
                  </a:lnTo>
                  <a:close/>
                  <a:moveTo>
                    <a:pt x="6822" y="4140"/>
                  </a:moveTo>
                  <a:lnTo>
                    <a:pt x="6885" y="4140"/>
                  </a:lnTo>
                  <a:lnTo>
                    <a:pt x="6885" y="4076"/>
                  </a:lnTo>
                  <a:lnTo>
                    <a:pt x="6822" y="4076"/>
                  </a:lnTo>
                  <a:lnTo>
                    <a:pt x="6822" y="4140"/>
                  </a:lnTo>
                  <a:close/>
                  <a:moveTo>
                    <a:pt x="6822" y="4254"/>
                  </a:moveTo>
                  <a:lnTo>
                    <a:pt x="6885" y="4254"/>
                  </a:lnTo>
                  <a:lnTo>
                    <a:pt x="6885" y="4190"/>
                  </a:lnTo>
                  <a:lnTo>
                    <a:pt x="6822" y="4190"/>
                  </a:lnTo>
                  <a:lnTo>
                    <a:pt x="6822" y="4254"/>
                  </a:lnTo>
                  <a:close/>
                  <a:moveTo>
                    <a:pt x="6822" y="4367"/>
                  </a:moveTo>
                  <a:lnTo>
                    <a:pt x="6885" y="4367"/>
                  </a:lnTo>
                  <a:lnTo>
                    <a:pt x="6885" y="4303"/>
                  </a:lnTo>
                  <a:lnTo>
                    <a:pt x="6822" y="4303"/>
                  </a:lnTo>
                  <a:lnTo>
                    <a:pt x="6822" y="4367"/>
                  </a:lnTo>
                  <a:close/>
                  <a:moveTo>
                    <a:pt x="6822" y="4479"/>
                  </a:moveTo>
                  <a:lnTo>
                    <a:pt x="6885" y="4479"/>
                  </a:lnTo>
                  <a:lnTo>
                    <a:pt x="6885" y="4415"/>
                  </a:lnTo>
                  <a:lnTo>
                    <a:pt x="6822" y="4415"/>
                  </a:lnTo>
                  <a:lnTo>
                    <a:pt x="6822" y="4479"/>
                  </a:lnTo>
                  <a:close/>
                  <a:moveTo>
                    <a:pt x="6822" y="4593"/>
                  </a:moveTo>
                  <a:lnTo>
                    <a:pt x="6885" y="4593"/>
                  </a:lnTo>
                  <a:lnTo>
                    <a:pt x="6885" y="4528"/>
                  </a:lnTo>
                  <a:lnTo>
                    <a:pt x="6822" y="4528"/>
                  </a:lnTo>
                  <a:lnTo>
                    <a:pt x="6822" y="4593"/>
                  </a:lnTo>
                  <a:close/>
                  <a:moveTo>
                    <a:pt x="6822" y="4707"/>
                  </a:moveTo>
                  <a:lnTo>
                    <a:pt x="6885" y="4707"/>
                  </a:lnTo>
                  <a:lnTo>
                    <a:pt x="6885" y="4642"/>
                  </a:lnTo>
                  <a:lnTo>
                    <a:pt x="6822" y="4642"/>
                  </a:lnTo>
                  <a:lnTo>
                    <a:pt x="6822" y="4707"/>
                  </a:lnTo>
                  <a:close/>
                  <a:moveTo>
                    <a:pt x="6822" y="4820"/>
                  </a:moveTo>
                  <a:lnTo>
                    <a:pt x="6885" y="4820"/>
                  </a:lnTo>
                  <a:lnTo>
                    <a:pt x="6885" y="4755"/>
                  </a:lnTo>
                  <a:lnTo>
                    <a:pt x="6822" y="4755"/>
                  </a:lnTo>
                  <a:lnTo>
                    <a:pt x="6822" y="4820"/>
                  </a:lnTo>
                  <a:close/>
                  <a:moveTo>
                    <a:pt x="6822" y="4931"/>
                  </a:moveTo>
                  <a:lnTo>
                    <a:pt x="6885" y="4931"/>
                  </a:lnTo>
                  <a:lnTo>
                    <a:pt x="6885" y="4866"/>
                  </a:lnTo>
                  <a:lnTo>
                    <a:pt x="6822" y="4866"/>
                  </a:lnTo>
                  <a:lnTo>
                    <a:pt x="6822" y="4931"/>
                  </a:lnTo>
                  <a:close/>
                  <a:moveTo>
                    <a:pt x="6822" y="5044"/>
                  </a:moveTo>
                  <a:lnTo>
                    <a:pt x="6885" y="5044"/>
                  </a:lnTo>
                  <a:lnTo>
                    <a:pt x="6885" y="4980"/>
                  </a:lnTo>
                  <a:lnTo>
                    <a:pt x="6822" y="4980"/>
                  </a:lnTo>
                  <a:lnTo>
                    <a:pt x="6822" y="5044"/>
                  </a:lnTo>
                  <a:close/>
                  <a:moveTo>
                    <a:pt x="6822" y="5158"/>
                  </a:moveTo>
                  <a:lnTo>
                    <a:pt x="6885" y="5158"/>
                  </a:lnTo>
                  <a:lnTo>
                    <a:pt x="6885" y="5094"/>
                  </a:lnTo>
                  <a:lnTo>
                    <a:pt x="6822" y="5094"/>
                  </a:lnTo>
                  <a:lnTo>
                    <a:pt x="6822" y="5158"/>
                  </a:lnTo>
                  <a:close/>
                  <a:moveTo>
                    <a:pt x="6822" y="5271"/>
                  </a:moveTo>
                  <a:lnTo>
                    <a:pt x="6885" y="5271"/>
                  </a:lnTo>
                  <a:lnTo>
                    <a:pt x="6885" y="5207"/>
                  </a:lnTo>
                  <a:lnTo>
                    <a:pt x="6822" y="5207"/>
                  </a:lnTo>
                  <a:lnTo>
                    <a:pt x="6822" y="5271"/>
                  </a:lnTo>
                  <a:close/>
                  <a:moveTo>
                    <a:pt x="6822" y="5382"/>
                  </a:moveTo>
                  <a:lnTo>
                    <a:pt x="6885" y="5382"/>
                  </a:lnTo>
                  <a:lnTo>
                    <a:pt x="6885" y="5318"/>
                  </a:lnTo>
                  <a:lnTo>
                    <a:pt x="6822" y="5318"/>
                  </a:lnTo>
                  <a:lnTo>
                    <a:pt x="6822" y="5382"/>
                  </a:lnTo>
                  <a:close/>
                  <a:moveTo>
                    <a:pt x="6822" y="5495"/>
                  </a:moveTo>
                  <a:lnTo>
                    <a:pt x="6885" y="5495"/>
                  </a:lnTo>
                  <a:lnTo>
                    <a:pt x="6885" y="5431"/>
                  </a:lnTo>
                  <a:lnTo>
                    <a:pt x="6822" y="5431"/>
                  </a:lnTo>
                  <a:lnTo>
                    <a:pt x="6822" y="5495"/>
                  </a:lnTo>
                  <a:close/>
                  <a:moveTo>
                    <a:pt x="6822" y="5609"/>
                  </a:moveTo>
                  <a:lnTo>
                    <a:pt x="6885" y="5609"/>
                  </a:lnTo>
                  <a:lnTo>
                    <a:pt x="6885" y="5545"/>
                  </a:lnTo>
                  <a:lnTo>
                    <a:pt x="6822" y="5545"/>
                  </a:lnTo>
                  <a:lnTo>
                    <a:pt x="6822" y="5609"/>
                  </a:lnTo>
                  <a:close/>
                  <a:moveTo>
                    <a:pt x="6822" y="5723"/>
                  </a:moveTo>
                  <a:lnTo>
                    <a:pt x="6885" y="5723"/>
                  </a:lnTo>
                  <a:lnTo>
                    <a:pt x="6885" y="5658"/>
                  </a:lnTo>
                  <a:lnTo>
                    <a:pt x="6822" y="5658"/>
                  </a:lnTo>
                  <a:lnTo>
                    <a:pt x="6822" y="5723"/>
                  </a:lnTo>
                  <a:close/>
                  <a:moveTo>
                    <a:pt x="6822" y="5833"/>
                  </a:moveTo>
                  <a:lnTo>
                    <a:pt x="6885" y="5833"/>
                  </a:lnTo>
                  <a:lnTo>
                    <a:pt x="6885" y="5769"/>
                  </a:lnTo>
                  <a:lnTo>
                    <a:pt x="6822" y="5769"/>
                  </a:lnTo>
                  <a:lnTo>
                    <a:pt x="6822" y="5833"/>
                  </a:lnTo>
                  <a:close/>
                  <a:moveTo>
                    <a:pt x="6822" y="5947"/>
                  </a:moveTo>
                  <a:lnTo>
                    <a:pt x="6885" y="5947"/>
                  </a:lnTo>
                  <a:lnTo>
                    <a:pt x="6885" y="5883"/>
                  </a:lnTo>
                  <a:lnTo>
                    <a:pt x="6822" y="5883"/>
                  </a:lnTo>
                  <a:lnTo>
                    <a:pt x="6822" y="5947"/>
                  </a:lnTo>
                  <a:close/>
                  <a:moveTo>
                    <a:pt x="6822" y="6061"/>
                  </a:moveTo>
                  <a:lnTo>
                    <a:pt x="6885" y="6061"/>
                  </a:lnTo>
                  <a:lnTo>
                    <a:pt x="6885" y="5997"/>
                  </a:lnTo>
                  <a:lnTo>
                    <a:pt x="6822" y="5997"/>
                  </a:lnTo>
                  <a:lnTo>
                    <a:pt x="6822" y="6061"/>
                  </a:lnTo>
                  <a:close/>
                  <a:moveTo>
                    <a:pt x="6822" y="6174"/>
                  </a:moveTo>
                  <a:lnTo>
                    <a:pt x="6885" y="6174"/>
                  </a:lnTo>
                  <a:lnTo>
                    <a:pt x="6885" y="6110"/>
                  </a:lnTo>
                  <a:lnTo>
                    <a:pt x="6822" y="6110"/>
                  </a:lnTo>
                  <a:lnTo>
                    <a:pt x="6822" y="6174"/>
                  </a:lnTo>
                  <a:close/>
                  <a:moveTo>
                    <a:pt x="6822" y="6286"/>
                  </a:moveTo>
                  <a:lnTo>
                    <a:pt x="6885" y="6286"/>
                  </a:lnTo>
                  <a:lnTo>
                    <a:pt x="6885" y="6222"/>
                  </a:lnTo>
                  <a:lnTo>
                    <a:pt x="6822" y="6222"/>
                  </a:lnTo>
                  <a:lnTo>
                    <a:pt x="6822" y="6286"/>
                  </a:lnTo>
                  <a:close/>
                  <a:moveTo>
                    <a:pt x="6822" y="6400"/>
                  </a:moveTo>
                  <a:lnTo>
                    <a:pt x="6885" y="6400"/>
                  </a:lnTo>
                  <a:lnTo>
                    <a:pt x="6885" y="6335"/>
                  </a:lnTo>
                  <a:lnTo>
                    <a:pt x="6822" y="6335"/>
                  </a:lnTo>
                  <a:lnTo>
                    <a:pt x="6822" y="6400"/>
                  </a:lnTo>
                  <a:close/>
                  <a:moveTo>
                    <a:pt x="6935" y="516"/>
                  </a:moveTo>
                  <a:lnTo>
                    <a:pt x="7000" y="516"/>
                  </a:lnTo>
                  <a:lnTo>
                    <a:pt x="7000" y="452"/>
                  </a:lnTo>
                  <a:lnTo>
                    <a:pt x="6935" y="452"/>
                  </a:lnTo>
                  <a:lnTo>
                    <a:pt x="6935" y="516"/>
                  </a:lnTo>
                  <a:close/>
                  <a:moveTo>
                    <a:pt x="6935" y="630"/>
                  </a:moveTo>
                  <a:lnTo>
                    <a:pt x="7000" y="630"/>
                  </a:lnTo>
                  <a:lnTo>
                    <a:pt x="7000" y="565"/>
                  </a:lnTo>
                  <a:lnTo>
                    <a:pt x="6935" y="565"/>
                  </a:lnTo>
                  <a:lnTo>
                    <a:pt x="6935" y="630"/>
                  </a:lnTo>
                  <a:close/>
                  <a:moveTo>
                    <a:pt x="6935" y="744"/>
                  </a:moveTo>
                  <a:lnTo>
                    <a:pt x="7000" y="744"/>
                  </a:lnTo>
                  <a:lnTo>
                    <a:pt x="7000" y="679"/>
                  </a:lnTo>
                  <a:lnTo>
                    <a:pt x="6935" y="679"/>
                  </a:lnTo>
                  <a:lnTo>
                    <a:pt x="6935" y="744"/>
                  </a:lnTo>
                  <a:close/>
                  <a:moveTo>
                    <a:pt x="6935" y="969"/>
                  </a:moveTo>
                  <a:lnTo>
                    <a:pt x="7000" y="969"/>
                  </a:lnTo>
                  <a:lnTo>
                    <a:pt x="7000" y="904"/>
                  </a:lnTo>
                  <a:lnTo>
                    <a:pt x="6935" y="904"/>
                  </a:lnTo>
                  <a:lnTo>
                    <a:pt x="6935" y="969"/>
                  </a:lnTo>
                  <a:close/>
                  <a:moveTo>
                    <a:pt x="6935" y="1082"/>
                  </a:moveTo>
                  <a:lnTo>
                    <a:pt x="7000" y="1082"/>
                  </a:lnTo>
                  <a:lnTo>
                    <a:pt x="7000" y="1018"/>
                  </a:lnTo>
                  <a:lnTo>
                    <a:pt x="6935" y="1018"/>
                  </a:lnTo>
                  <a:lnTo>
                    <a:pt x="6935" y="1082"/>
                  </a:lnTo>
                  <a:close/>
                  <a:moveTo>
                    <a:pt x="6935" y="1197"/>
                  </a:moveTo>
                  <a:lnTo>
                    <a:pt x="7000" y="1197"/>
                  </a:lnTo>
                  <a:lnTo>
                    <a:pt x="7000" y="1132"/>
                  </a:lnTo>
                  <a:lnTo>
                    <a:pt x="6935" y="1132"/>
                  </a:lnTo>
                  <a:lnTo>
                    <a:pt x="6935" y="1197"/>
                  </a:lnTo>
                  <a:close/>
                  <a:moveTo>
                    <a:pt x="6935" y="1878"/>
                  </a:moveTo>
                  <a:lnTo>
                    <a:pt x="7000" y="1878"/>
                  </a:lnTo>
                  <a:lnTo>
                    <a:pt x="7000" y="1814"/>
                  </a:lnTo>
                  <a:lnTo>
                    <a:pt x="6935" y="1814"/>
                  </a:lnTo>
                  <a:lnTo>
                    <a:pt x="6935" y="1878"/>
                  </a:lnTo>
                  <a:close/>
                  <a:moveTo>
                    <a:pt x="6935" y="1992"/>
                  </a:moveTo>
                  <a:lnTo>
                    <a:pt x="7000" y="1992"/>
                  </a:lnTo>
                  <a:lnTo>
                    <a:pt x="7000" y="1928"/>
                  </a:lnTo>
                  <a:lnTo>
                    <a:pt x="6935" y="1928"/>
                  </a:lnTo>
                  <a:lnTo>
                    <a:pt x="6935" y="1992"/>
                  </a:lnTo>
                  <a:close/>
                  <a:moveTo>
                    <a:pt x="6935" y="2106"/>
                  </a:moveTo>
                  <a:lnTo>
                    <a:pt x="7000" y="2106"/>
                  </a:lnTo>
                  <a:lnTo>
                    <a:pt x="7000" y="2042"/>
                  </a:lnTo>
                  <a:lnTo>
                    <a:pt x="6935" y="2042"/>
                  </a:lnTo>
                  <a:lnTo>
                    <a:pt x="6935" y="2106"/>
                  </a:lnTo>
                  <a:close/>
                  <a:moveTo>
                    <a:pt x="6935" y="2217"/>
                  </a:moveTo>
                  <a:lnTo>
                    <a:pt x="7000" y="2217"/>
                  </a:lnTo>
                  <a:lnTo>
                    <a:pt x="7000" y="2152"/>
                  </a:lnTo>
                  <a:lnTo>
                    <a:pt x="6935" y="2152"/>
                  </a:lnTo>
                  <a:lnTo>
                    <a:pt x="6935" y="2217"/>
                  </a:lnTo>
                  <a:close/>
                  <a:moveTo>
                    <a:pt x="6935" y="2330"/>
                  </a:moveTo>
                  <a:lnTo>
                    <a:pt x="7000" y="2330"/>
                  </a:lnTo>
                  <a:lnTo>
                    <a:pt x="7000" y="2265"/>
                  </a:lnTo>
                  <a:lnTo>
                    <a:pt x="6935" y="2265"/>
                  </a:lnTo>
                  <a:lnTo>
                    <a:pt x="6935" y="2330"/>
                  </a:lnTo>
                  <a:close/>
                  <a:moveTo>
                    <a:pt x="6935" y="2444"/>
                  </a:moveTo>
                  <a:lnTo>
                    <a:pt x="7000" y="2444"/>
                  </a:lnTo>
                  <a:lnTo>
                    <a:pt x="7000" y="2380"/>
                  </a:lnTo>
                  <a:lnTo>
                    <a:pt x="6935" y="2380"/>
                  </a:lnTo>
                  <a:lnTo>
                    <a:pt x="6935" y="2444"/>
                  </a:lnTo>
                  <a:close/>
                  <a:moveTo>
                    <a:pt x="6935" y="2558"/>
                  </a:moveTo>
                  <a:lnTo>
                    <a:pt x="7000" y="2558"/>
                  </a:lnTo>
                  <a:lnTo>
                    <a:pt x="7000" y="2493"/>
                  </a:lnTo>
                  <a:lnTo>
                    <a:pt x="6935" y="2493"/>
                  </a:lnTo>
                  <a:lnTo>
                    <a:pt x="6935" y="2558"/>
                  </a:lnTo>
                  <a:close/>
                  <a:moveTo>
                    <a:pt x="6935" y="2669"/>
                  </a:moveTo>
                  <a:lnTo>
                    <a:pt x="7000" y="2669"/>
                  </a:lnTo>
                  <a:lnTo>
                    <a:pt x="7000" y="2605"/>
                  </a:lnTo>
                  <a:lnTo>
                    <a:pt x="6935" y="2605"/>
                  </a:lnTo>
                  <a:lnTo>
                    <a:pt x="6935" y="2669"/>
                  </a:lnTo>
                  <a:close/>
                  <a:moveTo>
                    <a:pt x="6935" y="2783"/>
                  </a:moveTo>
                  <a:lnTo>
                    <a:pt x="7000" y="2783"/>
                  </a:lnTo>
                  <a:lnTo>
                    <a:pt x="7000" y="2718"/>
                  </a:lnTo>
                  <a:lnTo>
                    <a:pt x="6935" y="2718"/>
                  </a:lnTo>
                  <a:lnTo>
                    <a:pt x="6935" y="2783"/>
                  </a:lnTo>
                  <a:close/>
                  <a:moveTo>
                    <a:pt x="6935" y="2897"/>
                  </a:moveTo>
                  <a:lnTo>
                    <a:pt x="7000" y="2897"/>
                  </a:lnTo>
                  <a:lnTo>
                    <a:pt x="7000" y="2832"/>
                  </a:lnTo>
                  <a:lnTo>
                    <a:pt x="6935" y="2832"/>
                  </a:lnTo>
                  <a:lnTo>
                    <a:pt x="6935" y="2897"/>
                  </a:lnTo>
                  <a:close/>
                  <a:moveTo>
                    <a:pt x="6935" y="3010"/>
                  </a:moveTo>
                  <a:lnTo>
                    <a:pt x="7000" y="3010"/>
                  </a:lnTo>
                  <a:lnTo>
                    <a:pt x="7000" y="2946"/>
                  </a:lnTo>
                  <a:lnTo>
                    <a:pt x="6935" y="2946"/>
                  </a:lnTo>
                  <a:lnTo>
                    <a:pt x="6935" y="3010"/>
                  </a:lnTo>
                  <a:close/>
                  <a:moveTo>
                    <a:pt x="6935" y="3121"/>
                  </a:moveTo>
                  <a:lnTo>
                    <a:pt x="7000" y="3121"/>
                  </a:lnTo>
                  <a:lnTo>
                    <a:pt x="7000" y="3057"/>
                  </a:lnTo>
                  <a:lnTo>
                    <a:pt x="6935" y="3057"/>
                  </a:lnTo>
                  <a:lnTo>
                    <a:pt x="6935" y="3121"/>
                  </a:lnTo>
                  <a:close/>
                  <a:moveTo>
                    <a:pt x="6935" y="3234"/>
                  </a:moveTo>
                  <a:lnTo>
                    <a:pt x="7000" y="3234"/>
                  </a:lnTo>
                  <a:lnTo>
                    <a:pt x="7000" y="3170"/>
                  </a:lnTo>
                  <a:lnTo>
                    <a:pt x="6935" y="3170"/>
                  </a:lnTo>
                  <a:lnTo>
                    <a:pt x="6935" y="3234"/>
                  </a:lnTo>
                  <a:close/>
                  <a:moveTo>
                    <a:pt x="6935" y="3349"/>
                  </a:moveTo>
                  <a:lnTo>
                    <a:pt x="7000" y="3349"/>
                  </a:lnTo>
                  <a:lnTo>
                    <a:pt x="7000" y="3284"/>
                  </a:lnTo>
                  <a:lnTo>
                    <a:pt x="6935" y="3284"/>
                  </a:lnTo>
                  <a:lnTo>
                    <a:pt x="6935" y="3349"/>
                  </a:lnTo>
                  <a:close/>
                  <a:moveTo>
                    <a:pt x="6935" y="3462"/>
                  </a:moveTo>
                  <a:lnTo>
                    <a:pt x="7000" y="3462"/>
                  </a:lnTo>
                  <a:lnTo>
                    <a:pt x="7000" y="3397"/>
                  </a:lnTo>
                  <a:lnTo>
                    <a:pt x="6935" y="3397"/>
                  </a:lnTo>
                  <a:lnTo>
                    <a:pt x="6935" y="3462"/>
                  </a:lnTo>
                  <a:close/>
                  <a:moveTo>
                    <a:pt x="6935" y="3575"/>
                  </a:moveTo>
                  <a:lnTo>
                    <a:pt x="7000" y="3575"/>
                  </a:lnTo>
                  <a:lnTo>
                    <a:pt x="7000" y="3510"/>
                  </a:lnTo>
                  <a:lnTo>
                    <a:pt x="6935" y="3510"/>
                  </a:lnTo>
                  <a:lnTo>
                    <a:pt x="6935" y="3575"/>
                  </a:lnTo>
                  <a:close/>
                  <a:moveTo>
                    <a:pt x="6935" y="3688"/>
                  </a:moveTo>
                  <a:lnTo>
                    <a:pt x="7000" y="3688"/>
                  </a:lnTo>
                  <a:lnTo>
                    <a:pt x="7000" y="3624"/>
                  </a:lnTo>
                  <a:lnTo>
                    <a:pt x="6935" y="3624"/>
                  </a:lnTo>
                  <a:lnTo>
                    <a:pt x="6935" y="3688"/>
                  </a:lnTo>
                  <a:close/>
                  <a:moveTo>
                    <a:pt x="6935" y="3802"/>
                  </a:moveTo>
                  <a:lnTo>
                    <a:pt x="7000" y="3802"/>
                  </a:lnTo>
                  <a:lnTo>
                    <a:pt x="7000" y="3738"/>
                  </a:lnTo>
                  <a:lnTo>
                    <a:pt x="6935" y="3738"/>
                  </a:lnTo>
                  <a:lnTo>
                    <a:pt x="6935" y="3802"/>
                  </a:lnTo>
                  <a:close/>
                  <a:moveTo>
                    <a:pt x="6935" y="3916"/>
                  </a:moveTo>
                  <a:lnTo>
                    <a:pt x="7000" y="3916"/>
                  </a:lnTo>
                  <a:lnTo>
                    <a:pt x="7000" y="3851"/>
                  </a:lnTo>
                  <a:lnTo>
                    <a:pt x="6935" y="3851"/>
                  </a:lnTo>
                  <a:lnTo>
                    <a:pt x="6935" y="3916"/>
                  </a:lnTo>
                  <a:close/>
                  <a:moveTo>
                    <a:pt x="6935" y="4140"/>
                  </a:moveTo>
                  <a:lnTo>
                    <a:pt x="7000" y="4140"/>
                  </a:lnTo>
                  <a:lnTo>
                    <a:pt x="7000" y="4076"/>
                  </a:lnTo>
                  <a:lnTo>
                    <a:pt x="6935" y="4076"/>
                  </a:lnTo>
                  <a:lnTo>
                    <a:pt x="6935" y="4140"/>
                  </a:lnTo>
                  <a:close/>
                  <a:moveTo>
                    <a:pt x="6935" y="4254"/>
                  </a:moveTo>
                  <a:lnTo>
                    <a:pt x="7000" y="4254"/>
                  </a:lnTo>
                  <a:lnTo>
                    <a:pt x="7000" y="4190"/>
                  </a:lnTo>
                  <a:lnTo>
                    <a:pt x="6935" y="4190"/>
                  </a:lnTo>
                  <a:lnTo>
                    <a:pt x="6935" y="4254"/>
                  </a:lnTo>
                  <a:close/>
                  <a:moveTo>
                    <a:pt x="6935" y="4367"/>
                  </a:moveTo>
                  <a:lnTo>
                    <a:pt x="7000" y="4367"/>
                  </a:lnTo>
                  <a:lnTo>
                    <a:pt x="7000" y="4303"/>
                  </a:lnTo>
                  <a:lnTo>
                    <a:pt x="6935" y="4303"/>
                  </a:lnTo>
                  <a:lnTo>
                    <a:pt x="6935" y="4367"/>
                  </a:lnTo>
                  <a:close/>
                  <a:moveTo>
                    <a:pt x="6935" y="4479"/>
                  </a:moveTo>
                  <a:lnTo>
                    <a:pt x="7000" y="4479"/>
                  </a:lnTo>
                  <a:lnTo>
                    <a:pt x="7000" y="4415"/>
                  </a:lnTo>
                  <a:lnTo>
                    <a:pt x="6935" y="4415"/>
                  </a:lnTo>
                  <a:lnTo>
                    <a:pt x="6935" y="4479"/>
                  </a:lnTo>
                  <a:close/>
                  <a:moveTo>
                    <a:pt x="6935" y="4593"/>
                  </a:moveTo>
                  <a:lnTo>
                    <a:pt x="7000" y="4593"/>
                  </a:lnTo>
                  <a:lnTo>
                    <a:pt x="7000" y="4528"/>
                  </a:lnTo>
                  <a:lnTo>
                    <a:pt x="6935" y="4528"/>
                  </a:lnTo>
                  <a:lnTo>
                    <a:pt x="6935" y="4593"/>
                  </a:lnTo>
                  <a:close/>
                  <a:moveTo>
                    <a:pt x="6935" y="4707"/>
                  </a:moveTo>
                  <a:lnTo>
                    <a:pt x="7000" y="4707"/>
                  </a:lnTo>
                  <a:lnTo>
                    <a:pt x="7000" y="4642"/>
                  </a:lnTo>
                  <a:lnTo>
                    <a:pt x="6935" y="4642"/>
                  </a:lnTo>
                  <a:lnTo>
                    <a:pt x="6935" y="4707"/>
                  </a:lnTo>
                  <a:close/>
                  <a:moveTo>
                    <a:pt x="6935" y="4820"/>
                  </a:moveTo>
                  <a:lnTo>
                    <a:pt x="7000" y="4820"/>
                  </a:lnTo>
                  <a:lnTo>
                    <a:pt x="7000" y="4755"/>
                  </a:lnTo>
                  <a:lnTo>
                    <a:pt x="6935" y="4755"/>
                  </a:lnTo>
                  <a:lnTo>
                    <a:pt x="6935" y="4820"/>
                  </a:lnTo>
                  <a:close/>
                  <a:moveTo>
                    <a:pt x="6935" y="4931"/>
                  </a:moveTo>
                  <a:lnTo>
                    <a:pt x="7000" y="4931"/>
                  </a:lnTo>
                  <a:lnTo>
                    <a:pt x="7000" y="4866"/>
                  </a:lnTo>
                  <a:lnTo>
                    <a:pt x="6935" y="4866"/>
                  </a:lnTo>
                  <a:lnTo>
                    <a:pt x="6935" y="4931"/>
                  </a:lnTo>
                  <a:close/>
                  <a:moveTo>
                    <a:pt x="6935" y="5044"/>
                  </a:moveTo>
                  <a:lnTo>
                    <a:pt x="7000" y="5044"/>
                  </a:lnTo>
                  <a:lnTo>
                    <a:pt x="7000" y="4980"/>
                  </a:lnTo>
                  <a:lnTo>
                    <a:pt x="6935" y="4980"/>
                  </a:lnTo>
                  <a:lnTo>
                    <a:pt x="6935" y="5044"/>
                  </a:lnTo>
                  <a:close/>
                  <a:moveTo>
                    <a:pt x="6935" y="5158"/>
                  </a:moveTo>
                  <a:lnTo>
                    <a:pt x="7000" y="5158"/>
                  </a:lnTo>
                  <a:lnTo>
                    <a:pt x="7000" y="5094"/>
                  </a:lnTo>
                  <a:lnTo>
                    <a:pt x="6935" y="5094"/>
                  </a:lnTo>
                  <a:lnTo>
                    <a:pt x="6935" y="5158"/>
                  </a:lnTo>
                  <a:close/>
                  <a:moveTo>
                    <a:pt x="6935" y="5271"/>
                  </a:moveTo>
                  <a:lnTo>
                    <a:pt x="7000" y="5271"/>
                  </a:lnTo>
                  <a:lnTo>
                    <a:pt x="7000" y="5207"/>
                  </a:lnTo>
                  <a:lnTo>
                    <a:pt x="6935" y="5207"/>
                  </a:lnTo>
                  <a:lnTo>
                    <a:pt x="6935" y="5271"/>
                  </a:lnTo>
                  <a:close/>
                  <a:moveTo>
                    <a:pt x="6935" y="5382"/>
                  </a:moveTo>
                  <a:lnTo>
                    <a:pt x="7000" y="5382"/>
                  </a:lnTo>
                  <a:lnTo>
                    <a:pt x="7000" y="5318"/>
                  </a:lnTo>
                  <a:lnTo>
                    <a:pt x="6935" y="5318"/>
                  </a:lnTo>
                  <a:lnTo>
                    <a:pt x="6935" y="5382"/>
                  </a:lnTo>
                  <a:close/>
                  <a:moveTo>
                    <a:pt x="6935" y="5495"/>
                  </a:moveTo>
                  <a:lnTo>
                    <a:pt x="7000" y="5495"/>
                  </a:lnTo>
                  <a:lnTo>
                    <a:pt x="7000" y="5431"/>
                  </a:lnTo>
                  <a:lnTo>
                    <a:pt x="6935" y="5431"/>
                  </a:lnTo>
                  <a:lnTo>
                    <a:pt x="6935" y="5495"/>
                  </a:lnTo>
                  <a:close/>
                  <a:moveTo>
                    <a:pt x="6935" y="5609"/>
                  </a:moveTo>
                  <a:lnTo>
                    <a:pt x="7000" y="5609"/>
                  </a:lnTo>
                  <a:lnTo>
                    <a:pt x="7000" y="5545"/>
                  </a:lnTo>
                  <a:lnTo>
                    <a:pt x="6935" y="5545"/>
                  </a:lnTo>
                  <a:lnTo>
                    <a:pt x="6935" y="5609"/>
                  </a:lnTo>
                  <a:close/>
                  <a:moveTo>
                    <a:pt x="6935" y="5723"/>
                  </a:moveTo>
                  <a:lnTo>
                    <a:pt x="7000" y="5723"/>
                  </a:lnTo>
                  <a:lnTo>
                    <a:pt x="7000" y="5658"/>
                  </a:lnTo>
                  <a:lnTo>
                    <a:pt x="6935" y="5658"/>
                  </a:lnTo>
                  <a:lnTo>
                    <a:pt x="6935" y="5723"/>
                  </a:lnTo>
                  <a:close/>
                  <a:moveTo>
                    <a:pt x="6935" y="5833"/>
                  </a:moveTo>
                  <a:lnTo>
                    <a:pt x="7000" y="5833"/>
                  </a:lnTo>
                  <a:lnTo>
                    <a:pt x="7000" y="5769"/>
                  </a:lnTo>
                  <a:lnTo>
                    <a:pt x="6935" y="5769"/>
                  </a:lnTo>
                  <a:lnTo>
                    <a:pt x="6935" y="5833"/>
                  </a:lnTo>
                  <a:close/>
                  <a:moveTo>
                    <a:pt x="6935" y="5947"/>
                  </a:moveTo>
                  <a:lnTo>
                    <a:pt x="7000" y="5947"/>
                  </a:lnTo>
                  <a:lnTo>
                    <a:pt x="7000" y="5883"/>
                  </a:lnTo>
                  <a:lnTo>
                    <a:pt x="6935" y="5883"/>
                  </a:lnTo>
                  <a:lnTo>
                    <a:pt x="6935" y="5947"/>
                  </a:lnTo>
                  <a:close/>
                  <a:moveTo>
                    <a:pt x="6935" y="6061"/>
                  </a:moveTo>
                  <a:lnTo>
                    <a:pt x="7000" y="6061"/>
                  </a:lnTo>
                  <a:lnTo>
                    <a:pt x="7000" y="5997"/>
                  </a:lnTo>
                  <a:lnTo>
                    <a:pt x="6935" y="5997"/>
                  </a:lnTo>
                  <a:lnTo>
                    <a:pt x="6935" y="6061"/>
                  </a:lnTo>
                  <a:close/>
                  <a:moveTo>
                    <a:pt x="6935" y="6174"/>
                  </a:moveTo>
                  <a:lnTo>
                    <a:pt x="7000" y="6174"/>
                  </a:lnTo>
                  <a:lnTo>
                    <a:pt x="7000" y="6110"/>
                  </a:lnTo>
                  <a:lnTo>
                    <a:pt x="6935" y="6110"/>
                  </a:lnTo>
                  <a:lnTo>
                    <a:pt x="6935" y="6174"/>
                  </a:lnTo>
                  <a:close/>
                  <a:moveTo>
                    <a:pt x="6935" y="6286"/>
                  </a:moveTo>
                  <a:lnTo>
                    <a:pt x="7000" y="6286"/>
                  </a:lnTo>
                  <a:lnTo>
                    <a:pt x="7000" y="6222"/>
                  </a:lnTo>
                  <a:lnTo>
                    <a:pt x="6935" y="6222"/>
                  </a:lnTo>
                  <a:lnTo>
                    <a:pt x="6935" y="6286"/>
                  </a:lnTo>
                  <a:close/>
                  <a:moveTo>
                    <a:pt x="6935" y="6400"/>
                  </a:moveTo>
                  <a:lnTo>
                    <a:pt x="7000" y="6400"/>
                  </a:lnTo>
                  <a:lnTo>
                    <a:pt x="7000" y="6335"/>
                  </a:lnTo>
                  <a:lnTo>
                    <a:pt x="6935" y="6335"/>
                  </a:lnTo>
                  <a:lnTo>
                    <a:pt x="6935" y="6400"/>
                  </a:lnTo>
                  <a:close/>
                  <a:moveTo>
                    <a:pt x="7050" y="630"/>
                  </a:moveTo>
                  <a:lnTo>
                    <a:pt x="7114" y="630"/>
                  </a:lnTo>
                  <a:lnTo>
                    <a:pt x="7114" y="565"/>
                  </a:lnTo>
                  <a:lnTo>
                    <a:pt x="7050" y="565"/>
                  </a:lnTo>
                  <a:lnTo>
                    <a:pt x="7050" y="630"/>
                  </a:lnTo>
                  <a:close/>
                  <a:moveTo>
                    <a:pt x="7050" y="857"/>
                  </a:moveTo>
                  <a:lnTo>
                    <a:pt x="7114" y="857"/>
                  </a:lnTo>
                  <a:lnTo>
                    <a:pt x="7114" y="792"/>
                  </a:lnTo>
                  <a:lnTo>
                    <a:pt x="7050" y="792"/>
                  </a:lnTo>
                  <a:lnTo>
                    <a:pt x="7050" y="857"/>
                  </a:lnTo>
                  <a:close/>
                  <a:moveTo>
                    <a:pt x="7050" y="1878"/>
                  </a:moveTo>
                  <a:lnTo>
                    <a:pt x="7114" y="1878"/>
                  </a:lnTo>
                  <a:lnTo>
                    <a:pt x="7114" y="1814"/>
                  </a:lnTo>
                  <a:lnTo>
                    <a:pt x="7050" y="1814"/>
                  </a:lnTo>
                  <a:lnTo>
                    <a:pt x="7050" y="1878"/>
                  </a:lnTo>
                  <a:close/>
                  <a:moveTo>
                    <a:pt x="7050" y="1992"/>
                  </a:moveTo>
                  <a:lnTo>
                    <a:pt x="7114" y="1992"/>
                  </a:lnTo>
                  <a:lnTo>
                    <a:pt x="7114" y="1928"/>
                  </a:lnTo>
                  <a:lnTo>
                    <a:pt x="7050" y="1928"/>
                  </a:lnTo>
                  <a:lnTo>
                    <a:pt x="7050" y="1992"/>
                  </a:lnTo>
                  <a:close/>
                  <a:moveTo>
                    <a:pt x="7050" y="2106"/>
                  </a:moveTo>
                  <a:lnTo>
                    <a:pt x="7114" y="2106"/>
                  </a:lnTo>
                  <a:lnTo>
                    <a:pt x="7114" y="2042"/>
                  </a:lnTo>
                  <a:lnTo>
                    <a:pt x="7050" y="2042"/>
                  </a:lnTo>
                  <a:lnTo>
                    <a:pt x="7050" y="2106"/>
                  </a:lnTo>
                  <a:close/>
                  <a:moveTo>
                    <a:pt x="7050" y="2217"/>
                  </a:moveTo>
                  <a:lnTo>
                    <a:pt x="7114" y="2217"/>
                  </a:lnTo>
                  <a:lnTo>
                    <a:pt x="7114" y="2152"/>
                  </a:lnTo>
                  <a:lnTo>
                    <a:pt x="7050" y="2152"/>
                  </a:lnTo>
                  <a:lnTo>
                    <a:pt x="7050" y="2217"/>
                  </a:lnTo>
                  <a:close/>
                  <a:moveTo>
                    <a:pt x="7050" y="2330"/>
                  </a:moveTo>
                  <a:lnTo>
                    <a:pt x="7114" y="2330"/>
                  </a:lnTo>
                  <a:lnTo>
                    <a:pt x="7114" y="2265"/>
                  </a:lnTo>
                  <a:lnTo>
                    <a:pt x="7050" y="2265"/>
                  </a:lnTo>
                  <a:lnTo>
                    <a:pt x="7050" y="2330"/>
                  </a:lnTo>
                  <a:close/>
                  <a:moveTo>
                    <a:pt x="7050" y="2444"/>
                  </a:moveTo>
                  <a:lnTo>
                    <a:pt x="7114" y="2444"/>
                  </a:lnTo>
                  <a:lnTo>
                    <a:pt x="7114" y="2380"/>
                  </a:lnTo>
                  <a:lnTo>
                    <a:pt x="7050" y="2380"/>
                  </a:lnTo>
                  <a:lnTo>
                    <a:pt x="7050" y="2444"/>
                  </a:lnTo>
                  <a:close/>
                  <a:moveTo>
                    <a:pt x="7050" y="2558"/>
                  </a:moveTo>
                  <a:lnTo>
                    <a:pt x="7114" y="2558"/>
                  </a:lnTo>
                  <a:lnTo>
                    <a:pt x="7114" y="2493"/>
                  </a:lnTo>
                  <a:lnTo>
                    <a:pt x="7050" y="2493"/>
                  </a:lnTo>
                  <a:lnTo>
                    <a:pt x="7050" y="2558"/>
                  </a:lnTo>
                  <a:close/>
                  <a:moveTo>
                    <a:pt x="7050" y="2669"/>
                  </a:moveTo>
                  <a:lnTo>
                    <a:pt x="7114" y="2669"/>
                  </a:lnTo>
                  <a:lnTo>
                    <a:pt x="7114" y="2605"/>
                  </a:lnTo>
                  <a:lnTo>
                    <a:pt x="7050" y="2605"/>
                  </a:lnTo>
                  <a:lnTo>
                    <a:pt x="7050" y="2669"/>
                  </a:lnTo>
                  <a:close/>
                  <a:moveTo>
                    <a:pt x="7050" y="2783"/>
                  </a:moveTo>
                  <a:lnTo>
                    <a:pt x="7114" y="2783"/>
                  </a:lnTo>
                  <a:lnTo>
                    <a:pt x="7114" y="2718"/>
                  </a:lnTo>
                  <a:lnTo>
                    <a:pt x="7050" y="2718"/>
                  </a:lnTo>
                  <a:lnTo>
                    <a:pt x="7050" y="2783"/>
                  </a:lnTo>
                  <a:close/>
                  <a:moveTo>
                    <a:pt x="7050" y="2897"/>
                  </a:moveTo>
                  <a:lnTo>
                    <a:pt x="7114" y="2897"/>
                  </a:lnTo>
                  <a:lnTo>
                    <a:pt x="7114" y="2832"/>
                  </a:lnTo>
                  <a:lnTo>
                    <a:pt x="7050" y="2832"/>
                  </a:lnTo>
                  <a:lnTo>
                    <a:pt x="7050" y="2897"/>
                  </a:lnTo>
                  <a:close/>
                  <a:moveTo>
                    <a:pt x="7050" y="3010"/>
                  </a:moveTo>
                  <a:lnTo>
                    <a:pt x="7114" y="3010"/>
                  </a:lnTo>
                  <a:lnTo>
                    <a:pt x="7114" y="2946"/>
                  </a:lnTo>
                  <a:lnTo>
                    <a:pt x="7050" y="2946"/>
                  </a:lnTo>
                  <a:lnTo>
                    <a:pt x="7050" y="3010"/>
                  </a:lnTo>
                  <a:close/>
                  <a:moveTo>
                    <a:pt x="7050" y="3121"/>
                  </a:moveTo>
                  <a:lnTo>
                    <a:pt x="7114" y="3121"/>
                  </a:lnTo>
                  <a:lnTo>
                    <a:pt x="7114" y="3057"/>
                  </a:lnTo>
                  <a:lnTo>
                    <a:pt x="7050" y="3057"/>
                  </a:lnTo>
                  <a:lnTo>
                    <a:pt x="7050" y="3121"/>
                  </a:lnTo>
                  <a:close/>
                  <a:moveTo>
                    <a:pt x="7050" y="3234"/>
                  </a:moveTo>
                  <a:lnTo>
                    <a:pt x="7114" y="3234"/>
                  </a:lnTo>
                  <a:lnTo>
                    <a:pt x="7114" y="3170"/>
                  </a:lnTo>
                  <a:lnTo>
                    <a:pt x="7050" y="3170"/>
                  </a:lnTo>
                  <a:lnTo>
                    <a:pt x="7050" y="3234"/>
                  </a:lnTo>
                  <a:close/>
                  <a:moveTo>
                    <a:pt x="7050" y="3349"/>
                  </a:moveTo>
                  <a:lnTo>
                    <a:pt x="7114" y="3349"/>
                  </a:lnTo>
                  <a:lnTo>
                    <a:pt x="7114" y="3284"/>
                  </a:lnTo>
                  <a:lnTo>
                    <a:pt x="7050" y="3284"/>
                  </a:lnTo>
                  <a:lnTo>
                    <a:pt x="7050" y="3349"/>
                  </a:lnTo>
                  <a:close/>
                  <a:moveTo>
                    <a:pt x="7050" y="3462"/>
                  </a:moveTo>
                  <a:lnTo>
                    <a:pt x="7114" y="3462"/>
                  </a:lnTo>
                  <a:lnTo>
                    <a:pt x="7114" y="3397"/>
                  </a:lnTo>
                  <a:lnTo>
                    <a:pt x="7050" y="3397"/>
                  </a:lnTo>
                  <a:lnTo>
                    <a:pt x="7050" y="3462"/>
                  </a:lnTo>
                  <a:close/>
                  <a:moveTo>
                    <a:pt x="7050" y="3575"/>
                  </a:moveTo>
                  <a:lnTo>
                    <a:pt x="7114" y="3575"/>
                  </a:lnTo>
                  <a:lnTo>
                    <a:pt x="7114" y="3510"/>
                  </a:lnTo>
                  <a:lnTo>
                    <a:pt x="7050" y="3510"/>
                  </a:lnTo>
                  <a:lnTo>
                    <a:pt x="7050" y="3575"/>
                  </a:lnTo>
                  <a:close/>
                  <a:moveTo>
                    <a:pt x="7050" y="3688"/>
                  </a:moveTo>
                  <a:lnTo>
                    <a:pt x="7114" y="3688"/>
                  </a:lnTo>
                  <a:lnTo>
                    <a:pt x="7114" y="3624"/>
                  </a:lnTo>
                  <a:lnTo>
                    <a:pt x="7050" y="3624"/>
                  </a:lnTo>
                  <a:lnTo>
                    <a:pt x="7050" y="3688"/>
                  </a:lnTo>
                  <a:close/>
                  <a:moveTo>
                    <a:pt x="7050" y="3802"/>
                  </a:moveTo>
                  <a:lnTo>
                    <a:pt x="7114" y="3802"/>
                  </a:lnTo>
                  <a:lnTo>
                    <a:pt x="7114" y="3738"/>
                  </a:lnTo>
                  <a:lnTo>
                    <a:pt x="7050" y="3738"/>
                  </a:lnTo>
                  <a:lnTo>
                    <a:pt x="7050" y="3802"/>
                  </a:lnTo>
                  <a:close/>
                  <a:moveTo>
                    <a:pt x="7050" y="3916"/>
                  </a:moveTo>
                  <a:lnTo>
                    <a:pt x="7114" y="3916"/>
                  </a:lnTo>
                  <a:lnTo>
                    <a:pt x="7114" y="3851"/>
                  </a:lnTo>
                  <a:lnTo>
                    <a:pt x="7050" y="3851"/>
                  </a:lnTo>
                  <a:lnTo>
                    <a:pt x="7050" y="3916"/>
                  </a:lnTo>
                  <a:close/>
                  <a:moveTo>
                    <a:pt x="7050" y="4140"/>
                  </a:moveTo>
                  <a:lnTo>
                    <a:pt x="7114" y="4140"/>
                  </a:lnTo>
                  <a:lnTo>
                    <a:pt x="7114" y="4076"/>
                  </a:lnTo>
                  <a:lnTo>
                    <a:pt x="7050" y="4076"/>
                  </a:lnTo>
                  <a:lnTo>
                    <a:pt x="7050" y="4140"/>
                  </a:lnTo>
                  <a:close/>
                  <a:moveTo>
                    <a:pt x="7050" y="4254"/>
                  </a:moveTo>
                  <a:lnTo>
                    <a:pt x="7114" y="4254"/>
                  </a:lnTo>
                  <a:lnTo>
                    <a:pt x="7114" y="4190"/>
                  </a:lnTo>
                  <a:lnTo>
                    <a:pt x="7050" y="4190"/>
                  </a:lnTo>
                  <a:lnTo>
                    <a:pt x="7050" y="4254"/>
                  </a:lnTo>
                  <a:close/>
                  <a:moveTo>
                    <a:pt x="7050" y="4367"/>
                  </a:moveTo>
                  <a:lnTo>
                    <a:pt x="7114" y="4367"/>
                  </a:lnTo>
                  <a:lnTo>
                    <a:pt x="7114" y="4303"/>
                  </a:lnTo>
                  <a:lnTo>
                    <a:pt x="7050" y="4303"/>
                  </a:lnTo>
                  <a:lnTo>
                    <a:pt x="7050" y="4367"/>
                  </a:lnTo>
                  <a:close/>
                  <a:moveTo>
                    <a:pt x="7050" y="4479"/>
                  </a:moveTo>
                  <a:lnTo>
                    <a:pt x="7114" y="4479"/>
                  </a:lnTo>
                  <a:lnTo>
                    <a:pt x="7114" y="4415"/>
                  </a:lnTo>
                  <a:lnTo>
                    <a:pt x="7050" y="4415"/>
                  </a:lnTo>
                  <a:lnTo>
                    <a:pt x="7050" y="4479"/>
                  </a:lnTo>
                  <a:close/>
                  <a:moveTo>
                    <a:pt x="7050" y="4593"/>
                  </a:moveTo>
                  <a:lnTo>
                    <a:pt x="7114" y="4593"/>
                  </a:lnTo>
                  <a:lnTo>
                    <a:pt x="7114" y="4528"/>
                  </a:lnTo>
                  <a:lnTo>
                    <a:pt x="7050" y="4528"/>
                  </a:lnTo>
                  <a:lnTo>
                    <a:pt x="7050" y="4593"/>
                  </a:lnTo>
                  <a:close/>
                  <a:moveTo>
                    <a:pt x="7050" y="4707"/>
                  </a:moveTo>
                  <a:lnTo>
                    <a:pt x="7114" y="4707"/>
                  </a:lnTo>
                  <a:lnTo>
                    <a:pt x="7114" y="4642"/>
                  </a:lnTo>
                  <a:lnTo>
                    <a:pt x="7050" y="4642"/>
                  </a:lnTo>
                  <a:lnTo>
                    <a:pt x="7050" y="4707"/>
                  </a:lnTo>
                  <a:close/>
                  <a:moveTo>
                    <a:pt x="7050" y="4820"/>
                  </a:moveTo>
                  <a:lnTo>
                    <a:pt x="7114" y="4820"/>
                  </a:lnTo>
                  <a:lnTo>
                    <a:pt x="7114" y="4755"/>
                  </a:lnTo>
                  <a:lnTo>
                    <a:pt x="7050" y="4755"/>
                  </a:lnTo>
                  <a:lnTo>
                    <a:pt x="7050" y="4820"/>
                  </a:lnTo>
                  <a:close/>
                  <a:moveTo>
                    <a:pt x="7050" y="4931"/>
                  </a:moveTo>
                  <a:lnTo>
                    <a:pt x="7114" y="4931"/>
                  </a:lnTo>
                  <a:lnTo>
                    <a:pt x="7114" y="4866"/>
                  </a:lnTo>
                  <a:lnTo>
                    <a:pt x="7050" y="4866"/>
                  </a:lnTo>
                  <a:lnTo>
                    <a:pt x="7050" y="4931"/>
                  </a:lnTo>
                  <a:close/>
                  <a:moveTo>
                    <a:pt x="7050" y="5044"/>
                  </a:moveTo>
                  <a:lnTo>
                    <a:pt x="7114" y="5044"/>
                  </a:lnTo>
                  <a:lnTo>
                    <a:pt x="7114" y="4980"/>
                  </a:lnTo>
                  <a:lnTo>
                    <a:pt x="7050" y="4980"/>
                  </a:lnTo>
                  <a:lnTo>
                    <a:pt x="7050" y="5044"/>
                  </a:lnTo>
                  <a:close/>
                  <a:moveTo>
                    <a:pt x="7050" y="5158"/>
                  </a:moveTo>
                  <a:lnTo>
                    <a:pt x="7114" y="5158"/>
                  </a:lnTo>
                  <a:lnTo>
                    <a:pt x="7114" y="5094"/>
                  </a:lnTo>
                  <a:lnTo>
                    <a:pt x="7050" y="5094"/>
                  </a:lnTo>
                  <a:lnTo>
                    <a:pt x="7050" y="5158"/>
                  </a:lnTo>
                  <a:close/>
                  <a:moveTo>
                    <a:pt x="7050" y="5271"/>
                  </a:moveTo>
                  <a:lnTo>
                    <a:pt x="7114" y="5271"/>
                  </a:lnTo>
                  <a:lnTo>
                    <a:pt x="7114" y="5207"/>
                  </a:lnTo>
                  <a:lnTo>
                    <a:pt x="7050" y="5207"/>
                  </a:lnTo>
                  <a:lnTo>
                    <a:pt x="7050" y="5271"/>
                  </a:lnTo>
                  <a:close/>
                  <a:moveTo>
                    <a:pt x="7050" y="5382"/>
                  </a:moveTo>
                  <a:lnTo>
                    <a:pt x="7114" y="5382"/>
                  </a:lnTo>
                  <a:lnTo>
                    <a:pt x="7114" y="5318"/>
                  </a:lnTo>
                  <a:lnTo>
                    <a:pt x="7050" y="5318"/>
                  </a:lnTo>
                  <a:lnTo>
                    <a:pt x="7050" y="5382"/>
                  </a:lnTo>
                  <a:close/>
                  <a:moveTo>
                    <a:pt x="7050" y="5495"/>
                  </a:moveTo>
                  <a:lnTo>
                    <a:pt x="7114" y="5495"/>
                  </a:lnTo>
                  <a:lnTo>
                    <a:pt x="7114" y="5431"/>
                  </a:lnTo>
                  <a:lnTo>
                    <a:pt x="7050" y="5431"/>
                  </a:lnTo>
                  <a:lnTo>
                    <a:pt x="7050" y="5495"/>
                  </a:lnTo>
                  <a:close/>
                  <a:moveTo>
                    <a:pt x="7050" y="5609"/>
                  </a:moveTo>
                  <a:lnTo>
                    <a:pt x="7114" y="5609"/>
                  </a:lnTo>
                  <a:lnTo>
                    <a:pt x="7114" y="5545"/>
                  </a:lnTo>
                  <a:lnTo>
                    <a:pt x="7050" y="5545"/>
                  </a:lnTo>
                  <a:lnTo>
                    <a:pt x="7050" y="5609"/>
                  </a:lnTo>
                  <a:close/>
                  <a:moveTo>
                    <a:pt x="7050" y="5723"/>
                  </a:moveTo>
                  <a:lnTo>
                    <a:pt x="7114" y="5723"/>
                  </a:lnTo>
                  <a:lnTo>
                    <a:pt x="7114" y="5658"/>
                  </a:lnTo>
                  <a:lnTo>
                    <a:pt x="7050" y="5658"/>
                  </a:lnTo>
                  <a:lnTo>
                    <a:pt x="7050" y="5723"/>
                  </a:lnTo>
                  <a:close/>
                  <a:moveTo>
                    <a:pt x="7050" y="5833"/>
                  </a:moveTo>
                  <a:lnTo>
                    <a:pt x="7114" y="5833"/>
                  </a:lnTo>
                  <a:lnTo>
                    <a:pt x="7114" y="5769"/>
                  </a:lnTo>
                  <a:lnTo>
                    <a:pt x="7050" y="5769"/>
                  </a:lnTo>
                  <a:lnTo>
                    <a:pt x="7050" y="5833"/>
                  </a:lnTo>
                  <a:close/>
                  <a:moveTo>
                    <a:pt x="7050" y="5947"/>
                  </a:moveTo>
                  <a:lnTo>
                    <a:pt x="7114" y="5947"/>
                  </a:lnTo>
                  <a:lnTo>
                    <a:pt x="7114" y="5883"/>
                  </a:lnTo>
                  <a:lnTo>
                    <a:pt x="7050" y="5883"/>
                  </a:lnTo>
                  <a:lnTo>
                    <a:pt x="7050" y="5947"/>
                  </a:lnTo>
                  <a:close/>
                  <a:moveTo>
                    <a:pt x="7050" y="6061"/>
                  </a:moveTo>
                  <a:lnTo>
                    <a:pt x="7114" y="6061"/>
                  </a:lnTo>
                  <a:lnTo>
                    <a:pt x="7114" y="5997"/>
                  </a:lnTo>
                  <a:lnTo>
                    <a:pt x="7050" y="5997"/>
                  </a:lnTo>
                  <a:lnTo>
                    <a:pt x="7050" y="6061"/>
                  </a:lnTo>
                  <a:close/>
                  <a:moveTo>
                    <a:pt x="7050" y="6174"/>
                  </a:moveTo>
                  <a:lnTo>
                    <a:pt x="7114" y="6174"/>
                  </a:lnTo>
                  <a:lnTo>
                    <a:pt x="7114" y="6110"/>
                  </a:lnTo>
                  <a:lnTo>
                    <a:pt x="7050" y="6110"/>
                  </a:lnTo>
                  <a:lnTo>
                    <a:pt x="7050" y="6174"/>
                  </a:lnTo>
                  <a:close/>
                  <a:moveTo>
                    <a:pt x="7050" y="6286"/>
                  </a:moveTo>
                  <a:lnTo>
                    <a:pt x="7114" y="6286"/>
                  </a:lnTo>
                  <a:lnTo>
                    <a:pt x="7114" y="6222"/>
                  </a:lnTo>
                  <a:lnTo>
                    <a:pt x="7050" y="6222"/>
                  </a:lnTo>
                  <a:lnTo>
                    <a:pt x="7050" y="6286"/>
                  </a:lnTo>
                  <a:close/>
                  <a:moveTo>
                    <a:pt x="7050" y="6400"/>
                  </a:moveTo>
                  <a:lnTo>
                    <a:pt x="7114" y="6400"/>
                  </a:lnTo>
                  <a:lnTo>
                    <a:pt x="7114" y="6335"/>
                  </a:lnTo>
                  <a:lnTo>
                    <a:pt x="7050" y="6335"/>
                  </a:lnTo>
                  <a:lnTo>
                    <a:pt x="7050" y="6400"/>
                  </a:lnTo>
                  <a:close/>
                  <a:moveTo>
                    <a:pt x="7161" y="1992"/>
                  </a:moveTo>
                  <a:lnTo>
                    <a:pt x="7225" y="1992"/>
                  </a:lnTo>
                  <a:lnTo>
                    <a:pt x="7225" y="1928"/>
                  </a:lnTo>
                  <a:lnTo>
                    <a:pt x="7161" y="1928"/>
                  </a:lnTo>
                  <a:lnTo>
                    <a:pt x="7161" y="1992"/>
                  </a:lnTo>
                  <a:close/>
                  <a:moveTo>
                    <a:pt x="7161" y="2106"/>
                  </a:moveTo>
                  <a:lnTo>
                    <a:pt x="7225" y="2106"/>
                  </a:lnTo>
                  <a:lnTo>
                    <a:pt x="7225" y="2042"/>
                  </a:lnTo>
                  <a:lnTo>
                    <a:pt x="7161" y="2042"/>
                  </a:lnTo>
                  <a:lnTo>
                    <a:pt x="7161" y="2106"/>
                  </a:lnTo>
                  <a:close/>
                  <a:moveTo>
                    <a:pt x="7161" y="2217"/>
                  </a:moveTo>
                  <a:lnTo>
                    <a:pt x="7225" y="2217"/>
                  </a:lnTo>
                  <a:lnTo>
                    <a:pt x="7225" y="2152"/>
                  </a:lnTo>
                  <a:lnTo>
                    <a:pt x="7161" y="2152"/>
                  </a:lnTo>
                  <a:lnTo>
                    <a:pt x="7161" y="2217"/>
                  </a:lnTo>
                  <a:close/>
                  <a:moveTo>
                    <a:pt x="7161" y="2330"/>
                  </a:moveTo>
                  <a:lnTo>
                    <a:pt x="7225" y="2330"/>
                  </a:lnTo>
                  <a:lnTo>
                    <a:pt x="7225" y="2265"/>
                  </a:lnTo>
                  <a:lnTo>
                    <a:pt x="7161" y="2265"/>
                  </a:lnTo>
                  <a:lnTo>
                    <a:pt x="7161" y="2330"/>
                  </a:lnTo>
                  <a:close/>
                  <a:moveTo>
                    <a:pt x="7161" y="2444"/>
                  </a:moveTo>
                  <a:lnTo>
                    <a:pt x="7225" y="2444"/>
                  </a:lnTo>
                  <a:lnTo>
                    <a:pt x="7225" y="2380"/>
                  </a:lnTo>
                  <a:lnTo>
                    <a:pt x="7161" y="2380"/>
                  </a:lnTo>
                  <a:lnTo>
                    <a:pt x="7161" y="2444"/>
                  </a:lnTo>
                  <a:close/>
                  <a:moveTo>
                    <a:pt x="7161" y="2558"/>
                  </a:moveTo>
                  <a:lnTo>
                    <a:pt x="7225" y="2558"/>
                  </a:lnTo>
                  <a:lnTo>
                    <a:pt x="7225" y="2493"/>
                  </a:lnTo>
                  <a:lnTo>
                    <a:pt x="7161" y="2493"/>
                  </a:lnTo>
                  <a:lnTo>
                    <a:pt x="7161" y="2558"/>
                  </a:lnTo>
                  <a:close/>
                  <a:moveTo>
                    <a:pt x="7161" y="2669"/>
                  </a:moveTo>
                  <a:lnTo>
                    <a:pt x="7225" y="2669"/>
                  </a:lnTo>
                  <a:lnTo>
                    <a:pt x="7225" y="2605"/>
                  </a:lnTo>
                  <a:lnTo>
                    <a:pt x="7161" y="2605"/>
                  </a:lnTo>
                  <a:lnTo>
                    <a:pt x="7161" y="2669"/>
                  </a:lnTo>
                  <a:close/>
                  <a:moveTo>
                    <a:pt x="7161" y="2783"/>
                  </a:moveTo>
                  <a:lnTo>
                    <a:pt x="7225" y="2783"/>
                  </a:lnTo>
                  <a:lnTo>
                    <a:pt x="7225" y="2718"/>
                  </a:lnTo>
                  <a:lnTo>
                    <a:pt x="7161" y="2718"/>
                  </a:lnTo>
                  <a:lnTo>
                    <a:pt x="7161" y="2783"/>
                  </a:lnTo>
                  <a:close/>
                  <a:moveTo>
                    <a:pt x="7161" y="2897"/>
                  </a:moveTo>
                  <a:lnTo>
                    <a:pt x="7225" y="2897"/>
                  </a:lnTo>
                  <a:lnTo>
                    <a:pt x="7225" y="2832"/>
                  </a:lnTo>
                  <a:lnTo>
                    <a:pt x="7161" y="2832"/>
                  </a:lnTo>
                  <a:lnTo>
                    <a:pt x="7161" y="2897"/>
                  </a:lnTo>
                  <a:close/>
                  <a:moveTo>
                    <a:pt x="7161" y="3010"/>
                  </a:moveTo>
                  <a:lnTo>
                    <a:pt x="7225" y="3010"/>
                  </a:lnTo>
                  <a:lnTo>
                    <a:pt x="7225" y="2946"/>
                  </a:lnTo>
                  <a:lnTo>
                    <a:pt x="7161" y="2946"/>
                  </a:lnTo>
                  <a:lnTo>
                    <a:pt x="7161" y="3010"/>
                  </a:lnTo>
                  <a:close/>
                  <a:moveTo>
                    <a:pt x="7161" y="3121"/>
                  </a:moveTo>
                  <a:lnTo>
                    <a:pt x="7225" y="3121"/>
                  </a:lnTo>
                  <a:lnTo>
                    <a:pt x="7225" y="3057"/>
                  </a:lnTo>
                  <a:lnTo>
                    <a:pt x="7161" y="3057"/>
                  </a:lnTo>
                  <a:lnTo>
                    <a:pt x="7161" y="3121"/>
                  </a:lnTo>
                  <a:close/>
                  <a:moveTo>
                    <a:pt x="7161" y="3234"/>
                  </a:moveTo>
                  <a:lnTo>
                    <a:pt x="7225" y="3234"/>
                  </a:lnTo>
                  <a:lnTo>
                    <a:pt x="7225" y="3170"/>
                  </a:lnTo>
                  <a:lnTo>
                    <a:pt x="7161" y="3170"/>
                  </a:lnTo>
                  <a:lnTo>
                    <a:pt x="7161" y="3234"/>
                  </a:lnTo>
                  <a:close/>
                  <a:moveTo>
                    <a:pt x="7161" y="3349"/>
                  </a:moveTo>
                  <a:lnTo>
                    <a:pt x="7225" y="3349"/>
                  </a:lnTo>
                  <a:lnTo>
                    <a:pt x="7225" y="3284"/>
                  </a:lnTo>
                  <a:lnTo>
                    <a:pt x="7161" y="3284"/>
                  </a:lnTo>
                  <a:lnTo>
                    <a:pt x="7161" y="3349"/>
                  </a:lnTo>
                  <a:close/>
                  <a:moveTo>
                    <a:pt x="7161" y="3462"/>
                  </a:moveTo>
                  <a:lnTo>
                    <a:pt x="7225" y="3462"/>
                  </a:lnTo>
                  <a:lnTo>
                    <a:pt x="7225" y="3397"/>
                  </a:lnTo>
                  <a:lnTo>
                    <a:pt x="7161" y="3397"/>
                  </a:lnTo>
                  <a:lnTo>
                    <a:pt x="7161" y="3462"/>
                  </a:lnTo>
                  <a:close/>
                  <a:moveTo>
                    <a:pt x="7161" y="3575"/>
                  </a:moveTo>
                  <a:lnTo>
                    <a:pt x="7225" y="3575"/>
                  </a:lnTo>
                  <a:lnTo>
                    <a:pt x="7225" y="3510"/>
                  </a:lnTo>
                  <a:lnTo>
                    <a:pt x="7161" y="3510"/>
                  </a:lnTo>
                  <a:lnTo>
                    <a:pt x="7161" y="3575"/>
                  </a:lnTo>
                  <a:close/>
                  <a:moveTo>
                    <a:pt x="7161" y="3688"/>
                  </a:moveTo>
                  <a:lnTo>
                    <a:pt x="7225" y="3688"/>
                  </a:lnTo>
                  <a:lnTo>
                    <a:pt x="7225" y="3624"/>
                  </a:lnTo>
                  <a:lnTo>
                    <a:pt x="7161" y="3624"/>
                  </a:lnTo>
                  <a:lnTo>
                    <a:pt x="7161" y="3688"/>
                  </a:lnTo>
                  <a:close/>
                  <a:moveTo>
                    <a:pt x="7161" y="3802"/>
                  </a:moveTo>
                  <a:lnTo>
                    <a:pt x="7225" y="3802"/>
                  </a:lnTo>
                  <a:lnTo>
                    <a:pt x="7225" y="3738"/>
                  </a:lnTo>
                  <a:lnTo>
                    <a:pt x="7161" y="3738"/>
                  </a:lnTo>
                  <a:lnTo>
                    <a:pt x="7161" y="3802"/>
                  </a:lnTo>
                  <a:close/>
                  <a:moveTo>
                    <a:pt x="7161" y="3916"/>
                  </a:moveTo>
                  <a:lnTo>
                    <a:pt x="7225" y="3916"/>
                  </a:lnTo>
                  <a:lnTo>
                    <a:pt x="7225" y="3851"/>
                  </a:lnTo>
                  <a:lnTo>
                    <a:pt x="7161" y="3851"/>
                  </a:lnTo>
                  <a:lnTo>
                    <a:pt x="7161" y="3916"/>
                  </a:lnTo>
                  <a:close/>
                  <a:moveTo>
                    <a:pt x="7161" y="4140"/>
                  </a:moveTo>
                  <a:lnTo>
                    <a:pt x="7225" y="4140"/>
                  </a:lnTo>
                  <a:lnTo>
                    <a:pt x="7225" y="4076"/>
                  </a:lnTo>
                  <a:lnTo>
                    <a:pt x="7161" y="4076"/>
                  </a:lnTo>
                  <a:lnTo>
                    <a:pt x="7161" y="4140"/>
                  </a:lnTo>
                  <a:close/>
                  <a:moveTo>
                    <a:pt x="7161" y="4254"/>
                  </a:moveTo>
                  <a:lnTo>
                    <a:pt x="7225" y="4254"/>
                  </a:lnTo>
                  <a:lnTo>
                    <a:pt x="7225" y="4190"/>
                  </a:lnTo>
                  <a:lnTo>
                    <a:pt x="7161" y="4190"/>
                  </a:lnTo>
                  <a:lnTo>
                    <a:pt x="7161" y="4254"/>
                  </a:lnTo>
                  <a:close/>
                  <a:moveTo>
                    <a:pt x="7161" y="4367"/>
                  </a:moveTo>
                  <a:lnTo>
                    <a:pt x="7225" y="4367"/>
                  </a:lnTo>
                  <a:lnTo>
                    <a:pt x="7225" y="4303"/>
                  </a:lnTo>
                  <a:lnTo>
                    <a:pt x="7161" y="4303"/>
                  </a:lnTo>
                  <a:lnTo>
                    <a:pt x="7161" y="4367"/>
                  </a:lnTo>
                  <a:close/>
                  <a:moveTo>
                    <a:pt x="7161" y="4479"/>
                  </a:moveTo>
                  <a:lnTo>
                    <a:pt x="7225" y="4479"/>
                  </a:lnTo>
                  <a:lnTo>
                    <a:pt x="7225" y="4415"/>
                  </a:lnTo>
                  <a:lnTo>
                    <a:pt x="7161" y="4415"/>
                  </a:lnTo>
                  <a:lnTo>
                    <a:pt x="7161" y="4479"/>
                  </a:lnTo>
                  <a:close/>
                  <a:moveTo>
                    <a:pt x="7161" y="4593"/>
                  </a:moveTo>
                  <a:lnTo>
                    <a:pt x="7225" y="4593"/>
                  </a:lnTo>
                  <a:lnTo>
                    <a:pt x="7225" y="4528"/>
                  </a:lnTo>
                  <a:lnTo>
                    <a:pt x="7161" y="4528"/>
                  </a:lnTo>
                  <a:lnTo>
                    <a:pt x="7161" y="4593"/>
                  </a:lnTo>
                  <a:close/>
                  <a:moveTo>
                    <a:pt x="7161" y="4707"/>
                  </a:moveTo>
                  <a:lnTo>
                    <a:pt x="7225" y="4707"/>
                  </a:lnTo>
                  <a:lnTo>
                    <a:pt x="7225" y="4642"/>
                  </a:lnTo>
                  <a:lnTo>
                    <a:pt x="7161" y="4642"/>
                  </a:lnTo>
                  <a:lnTo>
                    <a:pt x="7161" y="4707"/>
                  </a:lnTo>
                  <a:close/>
                  <a:moveTo>
                    <a:pt x="7161" y="4820"/>
                  </a:moveTo>
                  <a:lnTo>
                    <a:pt x="7225" y="4820"/>
                  </a:lnTo>
                  <a:lnTo>
                    <a:pt x="7225" y="4755"/>
                  </a:lnTo>
                  <a:lnTo>
                    <a:pt x="7161" y="4755"/>
                  </a:lnTo>
                  <a:lnTo>
                    <a:pt x="7161" y="4820"/>
                  </a:lnTo>
                  <a:close/>
                  <a:moveTo>
                    <a:pt x="7161" y="4931"/>
                  </a:moveTo>
                  <a:lnTo>
                    <a:pt x="7225" y="4931"/>
                  </a:lnTo>
                  <a:lnTo>
                    <a:pt x="7225" y="4866"/>
                  </a:lnTo>
                  <a:lnTo>
                    <a:pt x="7161" y="4866"/>
                  </a:lnTo>
                  <a:lnTo>
                    <a:pt x="7161" y="4931"/>
                  </a:lnTo>
                  <a:close/>
                  <a:moveTo>
                    <a:pt x="7161" y="5044"/>
                  </a:moveTo>
                  <a:lnTo>
                    <a:pt x="7225" y="5044"/>
                  </a:lnTo>
                  <a:lnTo>
                    <a:pt x="7225" y="4980"/>
                  </a:lnTo>
                  <a:lnTo>
                    <a:pt x="7161" y="4980"/>
                  </a:lnTo>
                  <a:lnTo>
                    <a:pt x="7161" y="5044"/>
                  </a:lnTo>
                  <a:close/>
                  <a:moveTo>
                    <a:pt x="7161" y="5158"/>
                  </a:moveTo>
                  <a:lnTo>
                    <a:pt x="7225" y="5158"/>
                  </a:lnTo>
                  <a:lnTo>
                    <a:pt x="7225" y="5094"/>
                  </a:lnTo>
                  <a:lnTo>
                    <a:pt x="7161" y="5094"/>
                  </a:lnTo>
                  <a:lnTo>
                    <a:pt x="7161" y="5158"/>
                  </a:lnTo>
                  <a:close/>
                  <a:moveTo>
                    <a:pt x="7161" y="5271"/>
                  </a:moveTo>
                  <a:lnTo>
                    <a:pt x="7225" y="5271"/>
                  </a:lnTo>
                  <a:lnTo>
                    <a:pt x="7225" y="5207"/>
                  </a:lnTo>
                  <a:lnTo>
                    <a:pt x="7161" y="5207"/>
                  </a:lnTo>
                  <a:lnTo>
                    <a:pt x="7161" y="5271"/>
                  </a:lnTo>
                  <a:close/>
                  <a:moveTo>
                    <a:pt x="7161" y="5382"/>
                  </a:moveTo>
                  <a:lnTo>
                    <a:pt x="7225" y="5382"/>
                  </a:lnTo>
                  <a:lnTo>
                    <a:pt x="7225" y="5318"/>
                  </a:lnTo>
                  <a:lnTo>
                    <a:pt x="7161" y="5318"/>
                  </a:lnTo>
                  <a:lnTo>
                    <a:pt x="7161" y="5382"/>
                  </a:lnTo>
                  <a:close/>
                  <a:moveTo>
                    <a:pt x="7161" y="5495"/>
                  </a:moveTo>
                  <a:lnTo>
                    <a:pt x="7225" y="5495"/>
                  </a:lnTo>
                  <a:lnTo>
                    <a:pt x="7225" y="5431"/>
                  </a:lnTo>
                  <a:lnTo>
                    <a:pt x="7161" y="5431"/>
                  </a:lnTo>
                  <a:lnTo>
                    <a:pt x="7161" y="5495"/>
                  </a:lnTo>
                  <a:close/>
                  <a:moveTo>
                    <a:pt x="7161" y="5609"/>
                  </a:moveTo>
                  <a:lnTo>
                    <a:pt x="7225" y="5609"/>
                  </a:lnTo>
                  <a:lnTo>
                    <a:pt x="7225" y="5545"/>
                  </a:lnTo>
                  <a:lnTo>
                    <a:pt x="7161" y="5545"/>
                  </a:lnTo>
                  <a:lnTo>
                    <a:pt x="7161" y="5609"/>
                  </a:lnTo>
                  <a:close/>
                  <a:moveTo>
                    <a:pt x="7161" y="5723"/>
                  </a:moveTo>
                  <a:lnTo>
                    <a:pt x="7225" y="5723"/>
                  </a:lnTo>
                  <a:lnTo>
                    <a:pt x="7225" y="5658"/>
                  </a:lnTo>
                  <a:lnTo>
                    <a:pt x="7161" y="5658"/>
                  </a:lnTo>
                  <a:lnTo>
                    <a:pt x="7161" y="5723"/>
                  </a:lnTo>
                  <a:close/>
                  <a:moveTo>
                    <a:pt x="7161" y="5833"/>
                  </a:moveTo>
                  <a:lnTo>
                    <a:pt x="7225" y="5833"/>
                  </a:lnTo>
                  <a:lnTo>
                    <a:pt x="7225" y="5769"/>
                  </a:lnTo>
                  <a:lnTo>
                    <a:pt x="7161" y="5769"/>
                  </a:lnTo>
                  <a:lnTo>
                    <a:pt x="7161" y="5833"/>
                  </a:lnTo>
                  <a:close/>
                  <a:moveTo>
                    <a:pt x="7161" y="5947"/>
                  </a:moveTo>
                  <a:lnTo>
                    <a:pt x="7225" y="5947"/>
                  </a:lnTo>
                  <a:lnTo>
                    <a:pt x="7225" y="5883"/>
                  </a:lnTo>
                  <a:lnTo>
                    <a:pt x="7161" y="5883"/>
                  </a:lnTo>
                  <a:lnTo>
                    <a:pt x="7161" y="5947"/>
                  </a:lnTo>
                  <a:close/>
                  <a:moveTo>
                    <a:pt x="7161" y="6061"/>
                  </a:moveTo>
                  <a:lnTo>
                    <a:pt x="7225" y="6061"/>
                  </a:lnTo>
                  <a:lnTo>
                    <a:pt x="7225" y="5997"/>
                  </a:lnTo>
                  <a:lnTo>
                    <a:pt x="7161" y="5997"/>
                  </a:lnTo>
                  <a:lnTo>
                    <a:pt x="7161" y="6061"/>
                  </a:lnTo>
                  <a:close/>
                  <a:moveTo>
                    <a:pt x="7161" y="6174"/>
                  </a:moveTo>
                  <a:lnTo>
                    <a:pt x="7225" y="6174"/>
                  </a:lnTo>
                  <a:lnTo>
                    <a:pt x="7225" y="6110"/>
                  </a:lnTo>
                  <a:lnTo>
                    <a:pt x="7161" y="6110"/>
                  </a:lnTo>
                  <a:lnTo>
                    <a:pt x="7161" y="6174"/>
                  </a:lnTo>
                  <a:close/>
                  <a:moveTo>
                    <a:pt x="7161" y="6286"/>
                  </a:moveTo>
                  <a:lnTo>
                    <a:pt x="7225" y="6286"/>
                  </a:lnTo>
                  <a:lnTo>
                    <a:pt x="7225" y="6222"/>
                  </a:lnTo>
                  <a:lnTo>
                    <a:pt x="7161" y="6222"/>
                  </a:lnTo>
                  <a:lnTo>
                    <a:pt x="7161" y="6286"/>
                  </a:lnTo>
                  <a:close/>
                  <a:moveTo>
                    <a:pt x="7276" y="1992"/>
                  </a:moveTo>
                  <a:lnTo>
                    <a:pt x="7340" y="1992"/>
                  </a:lnTo>
                  <a:lnTo>
                    <a:pt x="7340" y="1928"/>
                  </a:lnTo>
                  <a:lnTo>
                    <a:pt x="7276" y="1928"/>
                  </a:lnTo>
                  <a:lnTo>
                    <a:pt x="7276" y="1992"/>
                  </a:lnTo>
                  <a:close/>
                  <a:moveTo>
                    <a:pt x="7276" y="2106"/>
                  </a:moveTo>
                  <a:lnTo>
                    <a:pt x="7340" y="2106"/>
                  </a:lnTo>
                  <a:lnTo>
                    <a:pt x="7340" y="2042"/>
                  </a:lnTo>
                  <a:lnTo>
                    <a:pt x="7276" y="2042"/>
                  </a:lnTo>
                  <a:lnTo>
                    <a:pt x="7276" y="2106"/>
                  </a:lnTo>
                  <a:close/>
                  <a:moveTo>
                    <a:pt x="7276" y="2217"/>
                  </a:moveTo>
                  <a:lnTo>
                    <a:pt x="7340" y="2217"/>
                  </a:lnTo>
                  <a:lnTo>
                    <a:pt x="7340" y="2152"/>
                  </a:lnTo>
                  <a:lnTo>
                    <a:pt x="7276" y="2152"/>
                  </a:lnTo>
                  <a:lnTo>
                    <a:pt x="7276" y="2217"/>
                  </a:lnTo>
                  <a:close/>
                  <a:moveTo>
                    <a:pt x="7276" y="2330"/>
                  </a:moveTo>
                  <a:lnTo>
                    <a:pt x="7340" y="2330"/>
                  </a:lnTo>
                  <a:lnTo>
                    <a:pt x="7340" y="2265"/>
                  </a:lnTo>
                  <a:lnTo>
                    <a:pt x="7276" y="2265"/>
                  </a:lnTo>
                  <a:lnTo>
                    <a:pt x="7276" y="2330"/>
                  </a:lnTo>
                  <a:close/>
                  <a:moveTo>
                    <a:pt x="7276" y="2444"/>
                  </a:moveTo>
                  <a:lnTo>
                    <a:pt x="7340" y="2444"/>
                  </a:lnTo>
                  <a:lnTo>
                    <a:pt x="7340" y="2380"/>
                  </a:lnTo>
                  <a:lnTo>
                    <a:pt x="7276" y="2380"/>
                  </a:lnTo>
                  <a:lnTo>
                    <a:pt x="7276" y="2444"/>
                  </a:lnTo>
                  <a:close/>
                  <a:moveTo>
                    <a:pt x="7276" y="2558"/>
                  </a:moveTo>
                  <a:lnTo>
                    <a:pt x="7340" y="2558"/>
                  </a:lnTo>
                  <a:lnTo>
                    <a:pt x="7340" y="2493"/>
                  </a:lnTo>
                  <a:lnTo>
                    <a:pt x="7276" y="2493"/>
                  </a:lnTo>
                  <a:lnTo>
                    <a:pt x="7276" y="2558"/>
                  </a:lnTo>
                  <a:close/>
                  <a:moveTo>
                    <a:pt x="7276" y="2669"/>
                  </a:moveTo>
                  <a:lnTo>
                    <a:pt x="7340" y="2669"/>
                  </a:lnTo>
                  <a:lnTo>
                    <a:pt x="7340" y="2605"/>
                  </a:lnTo>
                  <a:lnTo>
                    <a:pt x="7276" y="2605"/>
                  </a:lnTo>
                  <a:lnTo>
                    <a:pt x="7276" y="2669"/>
                  </a:lnTo>
                  <a:close/>
                  <a:moveTo>
                    <a:pt x="7276" y="2783"/>
                  </a:moveTo>
                  <a:lnTo>
                    <a:pt x="7340" y="2783"/>
                  </a:lnTo>
                  <a:lnTo>
                    <a:pt x="7340" y="2718"/>
                  </a:lnTo>
                  <a:lnTo>
                    <a:pt x="7276" y="2718"/>
                  </a:lnTo>
                  <a:lnTo>
                    <a:pt x="7276" y="2783"/>
                  </a:lnTo>
                  <a:close/>
                  <a:moveTo>
                    <a:pt x="7276" y="2897"/>
                  </a:moveTo>
                  <a:lnTo>
                    <a:pt x="7340" y="2897"/>
                  </a:lnTo>
                  <a:lnTo>
                    <a:pt x="7340" y="2832"/>
                  </a:lnTo>
                  <a:lnTo>
                    <a:pt x="7276" y="2832"/>
                  </a:lnTo>
                  <a:lnTo>
                    <a:pt x="7276" y="2897"/>
                  </a:lnTo>
                  <a:close/>
                  <a:moveTo>
                    <a:pt x="7276" y="3010"/>
                  </a:moveTo>
                  <a:lnTo>
                    <a:pt x="7340" y="3010"/>
                  </a:lnTo>
                  <a:lnTo>
                    <a:pt x="7340" y="2946"/>
                  </a:lnTo>
                  <a:lnTo>
                    <a:pt x="7276" y="2946"/>
                  </a:lnTo>
                  <a:lnTo>
                    <a:pt x="7276" y="3010"/>
                  </a:lnTo>
                  <a:close/>
                  <a:moveTo>
                    <a:pt x="7276" y="3121"/>
                  </a:moveTo>
                  <a:lnTo>
                    <a:pt x="7340" y="3121"/>
                  </a:lnTo>
                  <a:lnTo>
                    <a:pt x="7340" y="3057"/>
                  </a:lnTo>
                  <a:lnTo>
                    <a:pt x="7276" y="3057"/>
                  </a:lnTo>
                  <a:lnTo>
                    <a:pt x="7276" y="3121"/>
                  </a:lnTo>
                  <a:close/>
                  <a:moveTo>
                    <a:pt x="7276" y="3234"/>
                  </a:moveTo>
                  <a:lnTo>
                    <a:pt x="7340" y="3234"/>
                  </a:lnTo>
                  <a:lnTo>
                    <a:pt x="7340" y="3170"/>
                  </a:lnTo>
                  <a:lnTo>
                    <a:pt x="7276" y="3170"/>
                  </a:lnTo>
                  <a:lnTo>
                    <a:pt x="7276" y="3234"/>
                  </a:lnTo>
                  <a:close/>
                  <a:moveTo>
                    <a:pt x="7276" y="3349"/>
                  </a:moveTo>
                  <a:lnTo>
                    <a:pt x="7340" y="3349"/>
                  </a:lnTo>
                  <a:lnTo>
                    <a:pt x="7340" y="3284"/>
                  </a:lnTo>
                  <a:lnTo>
                    <a:pt x="7276" y="3284"/>
                  </a:lnTo>
                  <a:lnTo>
                    <a:pt x="7276" y="3349"/>
                  </a:lnTo>
                  <a:close/>
                  <a:moveTo>
                    <a:pt x="7276" y="3462"/>
                  </a:moveTo>
                  <a:lnTo>
                    <a:pt x="7340" y="3462"/>
                  </a:lnTo>
                  <a:lnTo>
                    <a:pt x="7340" y="3397"/>
                  </a:lnTo>
                  <a:lnTo>
                    <a:pt x="7276" y="3397"/>
                  </a:lnTo>
                  <a:lnTo>
                    <a:pt x="7276" y="3462"/>
                  </a:lnTo>
                  <a:close/>
                  <a:moveTo>
                    <a:pt x="7276" y="3575"/>
                  </a:moveTo>
                  <a:lnTo>
                    <a:pt x="7340" y="3575"/>
                  </a:lnTo>
                  <a:lnTo>
                    <a:pt x="7340" y="3510"/>
                  </a:lnTo>
                  <a:lnTo>
                    <a:pt x="7276" y="3510"/>
                  </a:lnTo>
                  <a:lnTo>
                    <a:pt x="7276" y="3575"/>
                  </a:lnTo>
                  <a:close/>
                  <a:moveTo>
                    <a:pt x="7276" y="3688"/>
                  </a:moveTo>
                  <a:lnTo>
                    <a:pt x="7340" y="3688"/>
                  </a:lnTo>
                  <a:lnTo>
                    <a:pt x="7340" y="3624"/>
                  </a:lnTo>
                  <a:lnTo>
                    <a:pt x="7276" y="3624"/>
                  </a:lnTo>
                  <a:lnTo>
                    <a:pt x="7276" y="3688"/>
                  </a:lnTo>
                  <a:close/>
                  <a:moveTo>
                    <a:pt x="7276" y="3802"/>
                  </a:moveTo>
                  <a:lnTo>
                    <a:pt x="7340" y="3802"/>
                  </a:lnTo>
                  <a:lnTo>
                    <a:pt x="7340" y="3738"/>
                  </a:lnTo>
                  <a:lnTo>
                    <a:pt x="7276" y="3738"/>
                  </a:lnTo>
                  <a:lnTo>
                    <a:pt x="7276" y="3802"/>
                  </a:lnTo>
                  <a:close/>
                  <a:moveTo>
                    <a:pt x="7276" y="3916"/>
                  </a:moveTo>
                  <a:lnTo>
                    <a:pt x="7340" y="3916"/>
                  </a:lnTo>
                  <a:lnTo>
                    <a:pt x="7340" y="3851"/>
                  </a:lnTo>
                  <a:lnTo>
                    <a:pt x="7276" y="3851"/>
                  </a:lnTo>
                  <a:lnTo>
                    <a:pt x="7276" y="3916"/>
                  </a:lnTo>
                  <a:close/>
                  <a:moveTo>
                    <a:pt x="7276" y="4026"/>
                  </a:moveTo>
                  <a:lnTo>
                    <a:pt x="7340" y="4026"/>
                  </a:lnTo>
                  <a:lnTo>
                    <a:pt x="7340" y="3962"/>
                  </a:lnTo>
                  <a:lnTo>
                    <a:pt x="7276" y="3962"/>
                  </a:lnTo>
                  <a:lnTo>
                    <a:pt x="7276" y="4026"/>
                  </a:lnTo>
                  <a:close/>
                  <a:moveTo>
                    <a:pt x="7276" y="4140"/>
                  </a:moveTo>
                  <a:lnTo>
                    <a:pt x="7340" y="4140"/>
                  </a:lnTo>
                  <a:lnTo>
                    <a:pt x="7340" y="4076"/>
                  </a:lnTo>
                  <a:lnTo>
                    <a:pt x="7276" y="4076"/>
                  </a:lnTo>
                  <a:lnTo>
                    <a:pt x="7276" y="4140"/>
                  </a:lnTo>
                  <a:close/>
                  <a:moveTo>
                    <a:pt x="7276" y="4254"/>
                  </a:moveTo>
                  <a:lnTo>
                    <a:pt x="7340" y="4254"/>
                  </a:lnTo>
                  <a:lnTo>
                    <a:pt x="7340" y="4190"/>
                  </a:lnTo>
                  <a:lnTo>
                    <a:pt x="7276" y="4190"/>
                  </a:lnTo>
                  <a:lnTo>
                    <a:pt x="7276" y="4254"/>
                  </a:lnTo>
                  <a:close/>
                  <a:moveTo>
                    <a:pt x="7276" y="4367"/>
                  </a:moveTo>
                  <a:lnTo>
                    <a:pt x="7340" y="4367"/>
                  </a:lnTo>
                  <a:lnTo>
                    <a:pt x="7340" y="4303"/>
                  </a:lnTo>
                  <a:lnTo>
                    <a:pt x="7276" y="4303"/>
                  </a:lnTo>
                  <a:lnTo>
                    <a:pt x="7276" y="4367"/>
                  </a:lnTo>
                  <a:close/>
                  <a:moveTo>
                    <a:pt x="7276" y="4479"/>
                  </a:moveTo>
                  <a:lnTo>
                    <a:pt x="7340" y="4479"/>
                  </a:lnTo>
                  <a:lnTo>
                    <a:pt x="7340" y="4415"/>
                  </a:lnTo>
                  <a:lnTo>
                    <a:pt x="7276" y="4415"/>
                  </a:lnTo>
                  <a:lnTo>
                    <a:pt x="7276" y="4479"/>
                  </a:lnTo>
                  <a:close/>
                  <a:moveTo>
                    <a:pt x="7276" y="4593"/>
                  </a:moveTo>
                  <a:lnTo>
                    <a:pt x="7340" y="4593"/>
                  </a:lnTo>
                  <a:lnTo>
                    <a:pt x="7340" y="4528"/>
                  </a:lnTo>
                  <a:lnTo>
                    <a:pt x="7276" y="4528"/>
                  </a:lnTo>
                  <a:lnTo>
                    <a:pt x="7276" y="4593"/>
                  </a:lnTo>
                  <a:close/>
                  <a:moveTo>
                    <a:pt x="7276" y="4707"/>
                  </a:moveTo>
                  <a:lnTo>
                    <a:pt x="7340" y="4707"/>
                  </a:lnTo>
                  <a:lnTo>
                    <a:pt x="7340" y="4642"/>
                  </a:lnTo>
                  <a:lnTo>
                    <a:pt x="7276" y="4642"/>
                  </a:lnTo>
                  <a:lnTo>
                    <a:pt x="7276" y="4707"/>
                  </a:lnTo>
                  <a:close/>
                  <a:moveTo>
                    <a:pt x="7276" y="4820"/>
                  </a:moveTo>
                  <a:lnTo>
                    <a:pt x="7340" y="4820"/>
                  </a:lnTo>
                  <a:lnTo>
                    <a:pt x="7340" y="4755"/>
                  </a:lnTo>
                  <a:lnTo>
                    <a:pt x="7276" y="4755"/>
                  </a:lnTo>
                  <a:lnTo>
                    <a:pt x="7276" y="4820"/>
                  </a:lnTo>
                  <a:close/>
                  <a:moveTo>
                    <a:pt x="7276" y="4931"/>
                  </a:moveTo>
                  <a:lnTo>
                    <a:pt x="7340" y="4931"/>
                  </a:lnTo>
                  <a:lnTo>
                    <a:pt x="7340" y="4866"/>
                  </a:lnTo>
                  <a:lnTo>
                    <a:pt x="7276" y="4866"/>
                  </a:lnTo>
                  <a:lnTo>
                    <a:pt x="7276" y="4931"/>
                  </a:lnTo>
                  <a:close/>
                  <a:moveTo>
                    <a:pt x="7276" y="5044"/>
                  </a:moveTo>
                  <a:lnTo>
                    <a:pt x="7340" y="5044"/>
                  </a:lnTo>
                  <a:lnTo>
                    <a:pt x="7340" y="4980"/>
                  </a:lnTo>
                  <a:lnTo>
                    <a:pt x="7276" y="4980"/>
                  </a:lnTo>
                  <a:lnTo>
                    <a:pt x="7276" y="5044"/>
                  </a:lnTo>
                  <a:close/>
                  <a:moveTo>
                    <a:pt x="7276" y="5158"/>
                  </a:moveTo>
                  <a:lnTo>
                    <a:pt x="7340" y="5158"/>
                  </a:lnTo>
                  <a:lnTo>
                    <a:pt x="7340" y="5094"/>
                  </a:lnTo>
                  <a:lnTo>
                    <a:pt x="7276" y="5094"/>
                  </a:lnTo>
                  <a:lnTo>
                    <a:pt x="7276" y="5158"/>
                  </a:lnTo>
                  <a:close/>
                  <a:moveTo>
                    <a:pt x="7276" y="5271"/>
                  </a:moveTo>
                  <a:lnTo>
                    <a:pt x="7340" y="5271"/>
                  </a:lnTo>
                  <a:lnTo>
                    <a:pt x="7340" y="5207"/>
                  </a:lnTo>
                  <a:lnTo>
                    <a:pt x="7276" y="5207"/>
                  </a:lnTo>
                  <a:lnTo>
                    <a:pt x="7276" y="5271"/>
                  </a:lnTo>
                  <a:close/>
                  <a:moveTo>
                    <a:pt x="7276" y="5382"/>
                  </a:moveTo>
                  <a:lnTo>
                    <a:pt x="7340" y="5382"/>
                  </a:lnTo>
                  <a:lnTo>
                    <a:pt x="7340" y="5318"/>
                  </a:lnTo>
                  <a:lnTo>
                    <a:pt x="7276" y="5318"/>
                  </a:lnTo>
                  <a:lnTo>
                    <a:pt x="7276" y="5382"/>
                  </a:lnTo>
                  <a:close/>
                  <a:moveTo>
                    <a:pt x="7276" y="5495"/>
                  </a:moveTo>
                  <a:lnTo>
                    <a:pt x="7340" y="5495"/>
                  </a:lnTo>
                  <a:lnTo>
                    <a:pt x="7340" y="5431"/>
                  </a:lnTo>
                  <a:lnTo>
                    <a:pt x="7276" y="5431"/>
                  </a:lnTo>
                  <a:lnTo>
                    <a:pt x="7276" y="5495"/>
                  </a:lnTo>
                  <a:close/>
                  <a:moveTo>
                    <a:pt x="7276" y="5609"/>
                  </a:moveTo>
                  <a:lnTo>
                    <a:pt x="7340" y="5609"/>
                  </a:lnTo>
                  <a:lnTo>
                    <a:pt x="7340" y="5545"/>
                  </a:lnTo>
                  <a:lnTo>
                    <a:pt x="7276" y="5545"/>
                  </a:lnTo>
                  <a:lnTo>
                    <a:pt x="7276" y="5609"/>
                  </a:lnTo>
                  <a:close/>
                  <a:moveTo>
                    <a:pt x="7276" y="5723"/>
                  </a:moveTo>
                  <a:lnTo>
                    <a:pt x="7340" y="5723"/>
                  </a:lnTo>
                  <a:lnTo>
                    <a:pt x="7340" y="5658"/>
                  </a:lnTo>
                  <a:lnTo>
                    <a:pt x="7276" y="5658"/>
                  </a:lnTo>
                  <a:lnTo>
                    <a:pt x="7276" y="5723"/>
                  </a:lnTo>
                  <a:close/>
                  <a:moveTo>
                    <a:pt x="7276" y="5833"/>
                  </a:moveTo>
                  <a:lnTo>
                    <a:pt x="7340" y="5833"/>
                  </a:lnTo>
                  <a:lnTo>
                    <a:pt x="7340" y="5769"/>
                  </a:lnTo>
                  <a:lnTo>
                    <a:pt x="7276" y="5769"/>
                  </a:lnTo>
                  <a:lnTo>
                    <a:pt x="7276" y="5833"/>
                  </a:lnTo>
                  <a:close/>
                  <a:moveTo>
                    <a:pt x="7276" y="5947"/>
                  </a:moveTo>
                  <a:lnTo>
                    <a:pt x="7340" y="5947"/>
                  </a:lnTo>
                  <a:lnTo>
                    <a:pt x="7340" y="5883"/>
                  </a:lnTo>
                  <a:lnTo>
                    <a:pt x="7276" y="5883"/>
                  </a:lnTo>
                  <a:lnTo>
                    <a:pt x="7276" y="5947"/>
                  </a:lnTo>
                  <a:close/>
                  <a:moveTo>
                    <a:pt x="7276" y="6061"/>
                  </a:moveTo>
                  <a:lnTo>
                    <a:pt x="7340" y="6061"/>
                  </a:lnTo>
                  <a:lnTo>
                    <a:pt x="7340" y="5997"/>
                  </a:lnTo>
                  <a:lnTo>
                    <a:pt x="7276" y="5997"/>
                  </a:lnTo>
                  <a:lnTo>
                    <a:pt x="7276" y="6061"/>
                  </a:lnTo>
                  <a:close/>
                  <a:moveTo>
                    <a:pt x="7390" y="2106"/>
                  </a:moveTo>
                  <a:lnTo>
                    <a:pt x="7454" y="2106"/>
                  </a:lnTo>
                  <a:lnTo>
                    <a:pt x="7454" y="2042"/>
                  </a:lnTo>
                  <a:lnTo>
                    <a:pt x="7390" y="2042"/>
                  </a:lnTo>
                  <a:lnTo>
                    <a:pt x="7390" y="2106"/>
                  </a:lnTo>
                  <a:close/>
                  <a:moveTo>
                    <a:pt x="7390" y="2217"/>
                  </a:moveTo>
                  <a:lnTo>
                    <a:pt x="7454" y="2217"/>
                  </a:lnTo>
                  <a:lnTo>
                    <a:pt x="7454" y="2152"/>
                  </a:lnTo>
                  <a:lnTo>
                    <a:pt x="7390" y="2152"/>
                  </a:lnTo>
                  <a:lnTo>
                    <a:pt x="7390" y="2217"/>
                  </a:lnTo>
                  <a:close/>
                  <a:moveTo>
                    <a:pt x="7390" y="2330"/>
                  </a:moveTo>
                  <a:lnTo>
                    <a:pt x="7454" y="2330"/>
                  </a:lnTo>
                  <a:lnTo>
                    <a:pt x="7454" y="2265"/>
                  </a:lnTo>
                  <a:lnTo>
                    <a:pt x="7390" y="2265"/>
                  </a:lnTo>
                  <a:lnTo>
                    <a:pt x="7390" y="2330"/>
                  </a:lnTo>
                  <a:close/>
                  <a:moveTo>
                    <a:pt x="7390" y="2444"/>
                  </a:moveTo>
                  <a:lnTo>
                    <a:pt x="7454" y="2444"/>
                  </a:lnTo>
                  <a:lnTo>
                    <a:pt x="7454" y="2380"/>
                  </a:lnTo>
                  <a:lnTo>
                    <a:pt x="7390" y="2380"/>
                  </a:lnTo>
                  <a:lnTo>
                    <a:pt x="7390" y="2444"/>
                  </a:lnTo>
                  <a:close/>
                  <a:moveTo>
                    <a:pt x="7390" y="2558"/>
                  </a:moveTo>
                  <a:lnTo>
                    <a:pt x="7454" y="2558"/>
                  </a:lnTo>
                  <a:lnTo>
                    <a:pt x="7454" y="2493"/>
                  </a:lnTo>
                  <a:lnTo>
                    <a:pt x="7390" y="2493"/>
                  </a:lnTo>
                  <a:lnTo>
                    <a:pt x="7390" y="2558"/>
                  </a:lnTo>
                  <a:close/>
                  <a:moveTo>
                    <a:pt x="7390" y="2669"/>
                  </a:moveTo>
                  <a:lnTo>
                    <a:pt x="7454" y="2669"/>
                  </a:lnTo>
                  <a:lnTo>
                    <a:pt x="7454" y="2605"/>
                  </a:lnTo>
                  <a:lnTo>
                    <a:pt x="7390" y="2605"/>
                  </a:lnTo>
                  <a:lnTo>
                    <a:pt x="7390" y="2669"/>
                  </a:lnTo>
                  <a:close/>
                  <a:moveTo>
                    <a:pt x="7390" y="2783"/>
                  </a:moveTo>
                  <a:lnTo>
                    <a:pt x="7454" y="2783"/>
                  </a:lnTo>
                  <a:lnTo>
                    <a:pt x="7454" y="2718"/>
                  </a:lnTo>
                  <a:lnTo>
                    <a:pt x="7390" y="2718"/>
                  </a:lnTo>
                  <a:lnTo>
                    <a:pt x="7390" y="2783"/>
                  </a:lnTo>
                  <a:close/>
                  <a:moveTo>
                    <a:pt x="7390" y="2897"/>
                  </a:moveTo>
                  <a:lnTo>
                    <a:pt x="7454" y="2897"/>
                  </a:lnTo>
                  <a:lnTo>
                    <a:pt x="7454" y="2832"/>
                  </a:lnTo>
                  <a:lnTo>
                    <a:pt x="7390" y="2832"/>
                  </a:lnTo>
                  <a:lnTo>
                    <a:pt x="7390" y="2897"/>
                  </a:lnTo>
                  <a:close/>
                  <a:moveTo>
                    <a:pt x="7390" y="3010"/>
                  </a:moveTo>
                  <a:lnTo>
                    <a:pt x="7454" y="3010"/>
                  </a:lnTo>
                  <a:lnTo>
                    <a:pt x="7454" y="2946"/>
                  </a:lnTo>
                  <a:lnTo>
                    <a:pt x="7390" y="2946"/>
                  </a:lnTo>
                  <a:lnTo>
                    <a:pt x="7390" y="3010"/>
                  </a:lnTo>
                  <a:close/>
                  <a:moveTo>
                    <a:pt x="7390" y="3121"/>
                  </a:moveTo>
                  <a:lnTo>
                    <a:pt x="7454" y="3121"/>
                  </a:lnTo>
                  <a:lnTo>
                    <a:pt x="7454" y="3057"/>
                  </a:lnTo>
                  <a:lnTo>
                    <a:pt x="7390" y="3057"/>
                  </a:lnTo>
                  <a:lnTo>
                    <a:pt x="7390" y="3121"/>
                  </a:lnTo>
                  <a:close/>
                  <a:moveTo>
                    <a:pt x="7390" y="3234"/>
                  </a:moveTo>
                  <a:lnTo>
                    <a:pt x="7454" y="3234"/>
                  </a:lnTo>
                  <a:lnTo>
                    <a:pt x="7454" y="3170"/>
                  </a:lnTo>
                  <a:lnTo>
                    <a:pt x="7390" y="3170"/>
                  </a:lnTo>
                  <a:lnTo>
                    <a:pt x="7390" y="3234"/>
                  </a:lnTo>
                  <a:close/>
                  <a:moveTo>
                    <a:pt x="7390" y="3349"/>
                  </a:moveTo>
                  <a:lnTo>
                    <a:pt x="7454" y="3349"/>
                  </a:lnTo>
                  <a:lnTo>
                    <a:pt x="7454" y="3284"/>
                  </a:lnTo>
                  <a:lnTo>
                    <a:pt x="7390" y="3284"/>
                  </a:lnTo>
                  <a:lnTo>
                    <a:pt x="7390" y="3349"/>
                  </a:lnTo>
                  <a:close/>
                  <a:moveTo>
                    <a:pt x="7390" y="3462"/>
                  </a:moveTo>
                  <a:lnTo>
                    <a:pt x="7454" y="3462"/>
                  </a:lnTo>
                  <a:lnTo>
                    <a:pt x="7454" y="3397"/>
                  </a:lnTo>
                  <a:lnTo>
                    <a:pt x="7390" y="3397"/>
                  </a:lnTo>
                  <a:lnTo>
                    <a:pt x="7390" y="3462"/>
                  </a:lnTo>
                  <a:close/>
                  <a:moveTo>
                    <a:pt x="7390" y="3575"/>
                  </a:moveTo>
                  <a:lnTo>
                    <a:pt x="7454" y="3575"/>
                  </a:lnTo>
                  <a:lnTo>
                    <a:pt x="7454" y="3510"/>
                  </a:lnTo>
                  <a:lnTo>
                    <a:pt x="7390" y="3510"/>
                  </a:lnTo>
                  <a:lnTo>
                    <a:pt x="7390" y="3575"/>
                  </a:lnTo>
                  <a:close/>
                  <a:moveTo>
                    <a:pt x="7390" y="3688"/>
                  </a:moveTo>
                  <a:lnTo>
                    <a:pt x="7454" y="3688"/>
                  </a:lnTo>
                  <a:lnTo>
                    <a:pt x="7454" y="3624"/>
                  </a:lnTo>
                  <a:lnTo>
                    <a:pt x="7390" y="3624"/>
                  </a:lnTo>
                  <a:lnTo>
                    <a:pt x="7390" y="3688"/>
                  </a:lnTo>
                  <a:close/>
                  <a:moveTo>
                    <a:pt x="7390" y="3802"/>
                  </a:moveTo>
                  <a:lnTo>
                    <a:pt x="7454" y="3802"/>
                  </a:lnTo>
                  <a:lnTo>
                    <a:pt x="7454" y="3738"/>
                  </a:lnTo>
                  <a:lnTo>
                    <a:pt x="7390" y="3738"/>
                  </a:lnTo>
                  <a:lnTo>
                    <a:pt x="7390" y="3802"/>
                  </a:lnTo>
                  <a:close/>
                  <a:moveTo>
                    <a:pt x="7390" y="3916"/>
                  </a:moveTo>
                  <a:lnTo>
                    <a:pt x="7454" y="3916"/>
                  </a:lnTo>
                  <a:lnTo>
                    <a:pt x="7454" y="3851"/>
                  </a:lnTo>
                  <a:lnTo>
                    <a:pt x="7390" y="3851"/>
                  </a:lnTo>
                  <a:lnTo>
                    <a:pt x="7390" y="3916"/>
                  </a:lnTo>
                  <a:close/>
                  <a:moveTo>
                    <a:pt x="7390" y="4026"/>
                  </a:moveTo>
                  <a:lnTo>
                    <a:pt x="7454" y="4026"/>
                  </a:lnTo>
                  <a:lnTo>
                    <a:pt x="7454" y="3962"/>
                  </a:lnTo>
                  <a:lnTo>
                    <a:pt x="7390" y="3962"/>
                  </a:lnTo>
                  <a:lnTo>
                    <a:pt x="7390" y="4026"/>
                  </a:lnTo>
                  <a:close/>
                  <a:moveTo>
                    <a:pt x="7390" y="4140"/>
                  </a:moveTo>
                  <a:lnTo>
                    <a:pt x="7454" y="4140"/>
                  </a:lnTo>
                  <a:lnTo>
                    <a:pt x="7454" y="4076"/>
                  </a:lnTo>
                  <a:lnTo>
                    <a:pt x="7390" y="4076"/>
                  </a:lnTo>
                  <a:lnTo>
                    <a:pt x="7390" y="4140"/>
                  </a:lnTo>
                  <a:close/>
                  <a:moveTo>
                    <a:pt x="7390" y="4254"/>
                  </a:moveTo>
                  <a:lnTo>
                    <a:pt x="7454" y="4254"/>
                  </a:lnTo>
                  <a:lnTo>
                    <a:pt x="7454" y="4190"/>
                  </a:lnTo>
                  <a:lnTo>
                    <a:pt x="7390" y="4190"/>
                  </a:lnTo>
                  <a:lnTo>
                    <a:pt x="7390" y="4254"/>
                  </a:lnTo>
                  <a:close/>
                  <a:moveTo>
                    <a:pt x="7390" y="4367"/>
                  </a:moveTo>
                  <a:lnTo>
                    <a:pt x="7454" y="4367"/>
                  </a:lnTo>
                  <a:lnTo>
                    <a:pt x="7454" y="4303"/>
                  </a:lnTo>
                  <a:lnTo>
                    <a:pt x="7390" y="4303"/>
                  </a:lnTo>
                  <a:lnTo>
                    <a:pt x="7390" y="4367"/>
                  </a:lnTo>
                  <a:close/>
                  <a:moveTo>
                    <a:pt x="7390" y="4479"/>
                  </a:moveTo>
                  <a:lnTo>
                    <a:pt x="7454" y="4479"/>
                  </a:lnTo>
                  <a:lnTo>
                    <a:pt x="7454" y="4415"/>
                  </a:lnTo>
                  <a:lnTo>
                    <a:pt x="7390" y="4415"/>
                  </a:lnTo>
                  <a:lnTo>
                    <a:pt x="7390" y="4479"/>
                  </a:lnTo>
                  <a:close/>
                  <a:moveTo>
                    <a:pt x="7390" y="4593"/>
                  </a:moveTo>
                  <a:lnTo>
                    <a:pt x="7454" y="4593"/>
                  </a:lnTo>
                  <a:lnTo>
                    <a:pt x="7454" y="4528"/>
                  </a:lnTo>
                  <a:lnTo>
                    <a:pt x="7390" y="4528"/>
                  </a:lnTo>
                  <a:lnTo>
                    <a:pt x="7390" y="4593"/>
                  </a:lnTo>
                  <a:close/>
                  <a:moveTo>
                    <a:pt x="7390" y="4707"/>
                  </a:moveTo>
                  <a:lnTo>
                    <a:pt x="7454" y="4707"/>
                  </a:lnTo>
                  <a:lnTo>
                    <a:pt x="7454" y="4642"/>
                  </a:lnTo>
                  <a:lnTo>
                    <a:pt x="7390" y="4642"/>
                  </a:lnTo>
                  <a:lnTo>
                    <a:pt x="7390" y="4707"/>
                  </a:lnTo>
                  <a:close/>
                  <a:moveTo>
                    <a:pt x="7390" y="4820"/>
                  </a:moveTo>
                  <a:lnTo>
                    <a:pt x="7454" y="4820"/>
                  </a:lnTo>
                  <a:lnTo>
                    <a:pt x="7454" y="4755"/>
                  </a:lnTo>
                  <a:lnTo>
                    <a:pt x="7390" y="4755"/>
                  </a:lnTo>
                  <a:lnTo>
                    <a:pt x="7390" y="4820"/>
                  </a:lnTo>
                  <a:close/>
                  <a:moveTo>
                    <a:pt x="7390" y="4931"/>
                  </a:moveTo>
                  <a:lnTo>
                    <a:pt x="7454" y="4931"/>
                  </a:lnTo>
                  <a:lnTo>
                    <a:pt x="7454" y="4866"/>
                  </a:lnTo>
                  <a:lnTo>
                    <a:pt x="7390" y="4866"/>
                  </a:lnTo>
                  <a:lnTo>
                    <a:pt x="7390" y="4931"/>
                  </a:lnTo>
                  <a:close/>
                  <a:moveTo>
                    <a:pt x="7390" y="5044"/>
                  </a:moveTo>
                  <a:lnTo>
                    <a:pt x="7454" y="5044"/>
                  </a:lnTo>
                  <a:lnTo>
                    <a:pt x="7454" y="4980"/>
                  </a:lnTo>
                  <a:lnTo>
                    <a:pt x="7390" y="4980"/>
                  </a:lnTo>
                  <a:lnTo>
                    <a:pt x="7390" y="5044"/>
                  </a:lnTo>
                  <a:close/>
                  <a:moveTo>
                    <a:pt x="7390" y="5158"/>
                  </a:moveTo>
                  <a:lnTo>
                    <a:pt x="7454" y="5158"/>
                  </a:lnTo>
                  <a:lnTo>
                    <a:pt x="7454" y="5094"/>
                  </a:lnTo>
                  <a:lnTo>
                    <a:pt x="7390" y="5094"/>
                  </a:lnTo>
                  <a:lnTo>
                    <a:pt x="7390" y="5158"/>
                  </a:lnTo>
                  <a:close/>
                  <a:moveTo>
                    <a:pt x="7390" y="5271"/>
                  </a:moveTo>
                  <a:lnTo>
                    <a:pt x="7454" y="5271"/>
                  </a:lnTo>
                  <a:lnTo>
                    <a:pt x="7454" y="5207"/>
                  </a:lnTo>
                  <a:lnTo>
                    <a:pt x="7390" y="5207"/>
                  </a:lnTo>
                  <a:lnTo>
                    <a:pt x="7390" y="5271"/>
                  </a:lnTo>
                  <a:close/>
                  <a:moveTo>
                    <a:pt x="7390" y="5382"/>
                  </a:moveTo>
                  <a:lnTo>
                    <a:pt x="7454" y="5382"/>
                  </a:lnTo>
                  <a:lnTo>
                    <a:pt x="7454" y="5318"/>
                  </a:lnTo>
                  <a:lnTo>
                    <a:pt x="7390" y="5318"/>
                  </a:lnTo>
                  <a:lnTo>
                    <a:pt x="7390" y="5382"/>
                  </a:lnTo>
                  <a:close/>
                  <a:moveTo>
                    <a:pt x="7390" y="5495"/>
                  </a:moveTo>
                  <a:lnTo>
                    <a:pt x="7454" y="5495"/>
                  </a:lnTo>
                  <a:lnTo>
                    <a:pt x="7454" y="5431"/>
                  </a:lnTo>
                  <a:lnTo>
                    <a:pt x="7390" y="5431"/>
                  </a:lnTo>
                  <a:lnTo>
                    <a:pt x="7390" y="5495"/>
                  </a:lnTo>
                  <a:close/>
                  <a:moveTo>
                    <a:pt x="7390" y="5609"/>
                  </a:moveTo>
                  <a:lnTo>
                    <a:pt x="7454" y="5609"/>
                  </a:lnTo>
                  <a:lnTo>
                    <a:pt x="7454" y="5545"/>
                  </a:lnTo>
                  <a:lnTo>
                    <a:pt x="7390" y="5545"/>
                  </a:lnTo>
                  <a:lnTo>
                    <a:pt x="7390" y="5609"/>
                  </a:lnTo>
                  <a:close/>
                  <a:moveTo>
                    <a:pt x="7390" y="5723"/>
                  </a:moveTo>
                  <a:lnTo>
                    <a:pt x="7454" y="5723"/>
                  </a:lnTo>
                  <a:lnTo>
                    <a:pt x="7454" y="5658"/>
                  </a:lnTo>
                  <a:lnTo>
                    <a:pt x="7390" y="5658"/>
                  </a:lnTo>
                  <a:lnTo>
                    <a:pt x="7390" y="5723"/>
                  </a:lnTo>
                  <a:close/>
                  <a:moveTo>
                    <a:pt x="7390" y="5833"/>
                  </a:moveTo>
                  <a:lnTo>
                    <a:pt x="7454" y="5833"/>
                  </a:lnTo>
                  <a:lnTo>
                    <a:pt x="7454" y="5769"/>
                  </a:lnTo>
                  <a:lnTo>
                    <a:pt x="7390" y="5769"/>
                  </a:lnTo>
                  <a:lnTo>
                    <a:pt x="7390" y="5833"/>
                  </a:lnTo>
                  <a:close/>
                  <a:moveTo>
                    <a:pt x="7504" y="2217"/>
                  </a:moveTo>
                  <a:lnTo>
                    <a:pt x="7568" y="2217"/>
                  </a:lnTo>
                  <a:lnTo>
                    <a:pt x="7568" y="2152"/>
                  </a:lnTo>
                  <a:lnTo>
                    <a:pt x="7504" y="2152"/>
                  </a:lnTo>
                  <a:lnTo>
                    <a:pt x="7504" y="2217"/>
                  </a:lnTo>
                  <a:close/>
                  <a:moveTo>
                    <a:pt x="7504" y="2330"/>
                  </a:moveTo>
                  <a:lnTo>
                    <a:pt x="7568" y="2330"/>
                  </a:lnTo>
                  <a:lnTo>
                    <a:pt x="7568" y="2265"/>
                  </a:lnTo>
                  <a:lnTo>
                    <a:pt x="7504" y="2265"/>
                  </a:lnTo>
                  <a:lnTo>
                    <a:pt x="7504" y="2330"/>
                  </a:lnTo>
                  <a:close/>
                  <a:moveTo>
                    <a:pt x="7504" y="2444"/>
                  </a:moveTo>
                  <a:lnTo>
                    <a:pt x="7568" y="2444"/>
                  </a:lnTo>
                  <a:lnTo>
                    <a:pt x="7568" y="2380"/>
                  </a:lnTo>
                  <a:lnTo>
                    <a:pt x="7504" y="2380"/>
                  </a:lnTo>
                  <a:lnTo>
                    <a:pt x="7504" y="2444"/>
                  </a:lnTo>
                  <a:close/>
                  <a:moveTo>
                    <a:pt x="7504" y="2558"/>
                  </a:moveTo>
                  <a:lnTo>
                    <a:pt x="7568" y="2558"/>
                  </a:lnTo>
                  <a:lnTo>
                    <a:pt x="7568" y="2493"/>
                  </a:lnTo>
                  <a:lnTo>
                    <a:pt x="7504" y="2493"/>
                  </a:lnTo>
                  <a:lnTo>
                    <a:pt x="7504" y="2558"/>
                  </a:lnTo>
                  <a:close/>
                  <a:moveTo>
                    <a:pt x="7504" y="2669"/>
                  </a:moveTo>
                  <a:lnTo>
                    <a:pt x="7568" y="2669"/>
                  </a:lnTo>
                  <a:lnTo>
                    <a:pt x="7568" y="2605"/>
                  </a:lnTo>
                  <a:lnTo>
                    <a:pt x="7504" y="2605"/>
                  </a:lnTo>
                  <a:lnTo>
                    <a:pt x="7504" y="2669"/>
                  </a:lnTo>
                  <a:close/>
                  <a:moveTo>
                    <a:pt x="7504" y="2783"/>
                  </a:moveTo>
                  <a:lnTo>
                    <a:pt x="7568" y="2783"/>
                  </a:lnTo>
                  <a:lnTo>
                    <a:pt x="7568" y="2718"/>
                  </a:lnTo>
                  <a:lnTo>
                    <a:pt x="7504" y="2718"/>
                  </a:lnTo>
                  <a:lnTo>
                    <a:pt x="7504" y="2783"/>
                  </a:lnTo>
                  <a:close/>
                  <a:moveTo>
                    <a:pt x="7504" y="2897"/>
                  </a:moveTo>
                  <a:lnTo>
                    <a:pt x="7568" y="2897"/>
                  </a:lnTo>
                  <a:lnTo>
                    <a:pt x="7568" y="2832"/>
                  </a:lnTo>
                  <a:lnTo>
                    <a:pt x="7504" y="2832"/>
                  </a:lnTo>
                  <a:lnTo>
                    <a:pt x="7504" y="2897"/>
                  </a:lnTo>
                  <a:close/>
                  <a:moveTo>
                    <a:pt x="7504" y="3010"/>
                  </a:moveTo>
                  <a:lnTo>
                    <a:pt x="7568" y="3010"/>
                  </a:lnTo>
                  <a:lnTo>
                    <a:pt x="7568" y="2946"/>
                  </a:lnTo>
                  <a:lnTo>
                    <a:pt x="7504" y="2946"/>
                  </a:lnTo>
                  <a:lnTo>
                    <a:pt x="7504" y="3010"/>
                  </a:lnTo>
                  <a:close/>
                  <a:moveTo>
                    <a:pt x="7504" y="3121"/>
                  </a:moveTo>
                  <a:lnTo>
                    <a:pt x="7568" y="3121"/>
                  </a:lnTo>
                  <a:lnTo>
                    <a:pt x="7568" y="3057"/>
                  </a:lnTo>
                  <a:lnTo>
                    <a:pt x="7504" y="3057"/>
                  </a:lnTo>
                  <a:lnTo>
                    <a:pt x="7504" y="3121"/>
                  </a:lnTo>
                  <a:close/>
                  <a:moveTo>
                    <a:pt x="7504" y="3234"/>
                  </a:moveTo>
                  <a:lnTo>
                    <a:pt x="7568" y="3234"/>
                  </a:lnTo>
                  <a:lnTo>
                    <a:pt x="7568" y="3170"/>
                  </a:lnTo>
                  <a:lnTo>
                    <a:pt x="7504" y="3170"/>
                  </a:lnTo>
                  <a:lnTo>
                    <a:pt x="7504" y="3234"/>
                  </a:lnTo>
                  <a:close/>
                  <a:moveTo>
                    <a:pt x="7504" y="3349"/>
                  </a:moveTo>
                  <a:lnTo>
                    <a:pt x="7568" y="3349"/>
                  </a:lnTo>
                  <a:lnTo>
                    <a:pt x="7568" y="3284"/>
                  </a:lnTo>
                  <a:lnTo>
                    <a:pt x="7504" y="3284"/>
                  </a:lnTo>
                  <a:lnTo>
                    <a:pt x="7504" y="3349"/>
                  </a:lnTo>
                  <a:close/>
                  <a:moveTo>
                    <a:pt x="7504" y="3462"/>
                  </a:moveTo>
                  <a:lnTo>
                    <a:pt x="7568" y="3462"/>
                  </a:lnTo>
                  <a:lnTo>
                    <a:pt x="7568" y="3397"/>
                  </a:lnTo>
                  <a:lnTo>
                    <a:pt x="7504" y="3397"/>
                  </a:lnTo>
                  <a:lnTo>
                    <a:pt x="7504" y="3462"/>
                  </a:lnTo>
                  <a:close/>
                  <a:moveTo>
                    <a:pt x="7504" y="3575"/>
                  </a:moveTo>
                  <a:lnTo>
                    <a:pt x="7568" y="3575"/>
                  </a:lnTo>
                  <a:lnTo>
                    <a:pt x="7568" y="3510"/>
                  </a:lnTo>
                  <a:lnTo>
                    <a:pt x="7504" y="3510"/>
                  </a:lnTo>
                  <a:lnTo>
                    <a:pt x="7504" y="3575"/>
                  </a:lnTo>
                  <a:close/>
                  <a:moveTo>
                    <a:pt x="7504" y="3688"/>
                  </a:moveTo>
                  <a:lnTo>
                    <a:pt x="7568" y="3688"/>
                  </a:lnTo>
                  <a:lnTo>
                    <a:pt x="7568" y="3624"/>
                  </a:lnTo>
                  <a:lnTo>
                    <a:pt x="7504" y="3624"/>
                  </a:lnTo>
                  <a:lnTo>
                    <a:pt x="7504" y="3688"/>
                  </a:lnTo>
                  <a:close/>
                  <a:moveTo>
                    <a:pt x="7504" y="3802"/>
                  </a:moveTo>
                  <a:lnTo>
                    <a:pt x="7568" y="3802"/>
                  </a:lnTo>
                  <a:lnTo>
                    <a:pt x="7568" y="3738"/>
                  </a:lnTo>
                  <a:lnTo>
                    <a:pt x="7504" y="3738"/>
                  </a:lnTo>
                  <a:lnTo>
                    <a:pt x="7504" y="3802"/>
                  </a:lnTo>
                  <a:close/>
                  <a:moveTo>
                    <a:pt x="7504" y="3916"/>
                  </a:moveTo>
                  <a:lnTo>
                    <a:pt x="7568" y="3916"/>
                  </a:lnTo>
                  <a:lnTo>
                    <a:pt x="7568" y="3851"/>
                  </a:lnTo>
                  <a:lnTo>
                    <a:pt x="7504" y="3851"/>
                  </a:lnTo>
                  <a:lnTo>
                    <a:pt x="7504" y="3916"/>
                  </a:lnTo>
                  <a:close/>
                  <a:moveTo>
                    <a:pt x="7504" y="4026"/>
                  </a:moveTo>
                  <a:lnTo>
                    <a:pt x="7568" y="4026"/>
                  </a:lnTo>
                  <a:lnTo>
                    <a:pt x="7568" y="3962"/>
                  </a:lnTo>
                  <a:lnTo>
                    <a:pt x="7504" y="3962"/>
                  </a:lnTo>
                  <a:lnTo>
                    <a:pt x="7504" y="4026"/>
                  </a:lnTo>
                  <a:close/>
                  <a:moveTo>
                    <a:pt x="7504" y="4140"/>
                  </a:moveTo>
                  <a:lnTo>
                    <a:pt x="7568" y="4140"/>
                  </a:lnTo>
                  <a:lnTo>
                    <a:pt x="7568" y="4076"/>
                  </a:lnTo>
                  <a:lnTo>
                    <a:pt x="7504" y="4076"/>
                  </a:lnTo>
                  <a:lnTo>
                    <a:pt x="7504" y="4140"/>
                  </a:lnTo>
                  <a:close/>
                  <a:moveTo>
                    <a:pt x="7504" y="4254"/>
                  </a:moveTo>
                  <a:lnTo>
                    <a:pt x="7568" y="4254"/>
                  </a:lnTo>
                  <a:lnTo>
                    <a:pt x="7568" y="4190"/>
                  </a:lnTo>
                  <a:lnTo>
                    <a:pt x="7504" y="4190"/>
                  </a:lnTo>
                  <a:lnTo>
                    <a:pt x="7504" y="4254"/>
                  </a:lnTo>
                  <a:close/>
                  <a:moveTo>
                    <a:pt x="7504" y="4367"/>
                  </a:moveTo>
                  <a:lnTo>
                    <a:pt x="7568" y="4367"/>
                  </a:lnTo>
                  <a:lnTo>
                    <a:pt x="7568" y="4303"/>
                  </a:lnTo>
                  <a:lnTo>
                    <a:pt x="7504" y="4303"/>
                  </a:lnTo>
                  <a:lnTo>
                    <a:pt x="7504" y="4367"/>
                  </a:lnTo>
                  <a:close/>
                  <a:moveTo>
                    <a:pt x="7504" y="4479"/>
                  </a:moveTo>
                  <a:lnTo>
                    <a:pt x="7568" y="4479"/>
                  </a:lnTo>
                  <a:lnTo>
                    <a:pt x="7568" y="4415"/>
                  </a:lnTo>
                  <a:lnTo>
                    <a:pt x="7504" y="4415"/>
                  </a:lnTo>
                  <a:lnTo>
                    <a:pt x="7504" y="4479"/>
                  </a:lnTo>
                  <a:close/>
                  <a:moveTo>
                    <a:pt x="7504" y="4593"/>
                  </a:moveTo>
                  <a:lnTo>
                    <a:pt x="7568" y="4593"/>
                  </a:lnTo>
                  <a:lnTo>
                    <a:pt x="7568" y="4528"/>
                  </a:lnTo>
                  <a:lnTo>
                    <a:pt x="7504" y="4528"/>
                  </a:lnTo>
                  <a:lnTo>
                    <a:pt x="7504" y="4593"/>
                  </a:lnTo>
                  <a:close/>
                  <a:moveTo>
                    <a:pt x="7504" y="4707"/>
                  </a:moveTo>
                  <a:lnTo>
                    <a:pt x="7568" y="4707"/>
                  </a:lnTo>
                  <a:lnTo>
                    <a:pt x="7568" y="4642"/>
                  </a:lnTo>
                  <a:lnTo>
                    <a:pt x="7504" y="4642"/>
                  </a:lnTo>
                  <a:lnTo>
                    <a:pt x="7504" y="4707"/>
                  </a:lnTo>
                  <a:close/>
                  <a:moveTo>
                    <a:pt x="7504" y="4820"/>
                  </a:moveTo>
                  <a:lnTo>
                    <a:pt x="7568" y="4820"/>
                  </a:lnTo>
                  <a:lnTo>
                    <a:pt x="7568" y="4755"/>
                  </a:lnTo>
                  <a:lnTo>
                    <a:pt x="7504" y="4755"/>
                  </a:lnTo>
                  <a:lnTo>
                    <a:pt x="7504" y="4820"/>
                  </a:lnTo>
                  <a:close/>
                  <a:moveTo>
                    <a:pt x="7504" y="4931"/>
                  </a:moveTo>
                  <a:lnTo>
                    <a:pt x="7568" y="4931"/>
                  </a:lnTo>
                  <a:lnTo>
                    <a:pt x="7568" y="4866"/>
                  </a:lnTo>
                  <a:lnTo>
                    <a:pt x="7504" y="4866"/>
                  </a:lnTo>
                  <a:lnTo>
                    <a:pt x="7504" y="4931"/>
                  </a:lnTo>
                  <a:close/>
                  <a:moveTo>
                    <a:pt x="7504" y="5044"/>
                  </a:moveTo>
                  <a:lnTo>
                    <a:pt x="7568" y="5044"/>
                  </a:lnTo>
                  <a:lnTo>
                    <a:pt x="7568" y="4980"/>
                  </a:lnTo>
                  <a:lnTo>
                    <a:pt x="7504" y="4980"/>
                  </a:lnTo>
                  <a:lnTo>
                    <a:pt x="7504" y="5044"/>
                  </a:lnTo>
                  <a:close/>
                  <a:moveTo>
                    <a:pt x="7504" y="5158"/>
                  </a:moveTo>
                  <a:lnTo>
                    <a:pt x="7568" y="5158"/>
                  </a:lnTo>
                  <a:lnTo>
                    <a:pt x="7568" y="5094"/>
                  </a:lnTo>
                  <a:lnTo>
                    <a:pt x="7504" y="5094"/>
                  </a:lnTo>
                  <a:lnTo>
                    <a:pt x="7504" y="5158"/>
                  </a:lnTo>
                  <a:close/>
                  <a:moveTo>
                    <a:pt x="7504" y="5271"/>
                  </a:moveTo>
                  <a:lnTo>
                    <a:pt x="7568" y="5271"/>
                  </a:lnTo>
                  <a:lnTo>
                    <a:pt x="7568" y="5207"/>
                  </a:lnTo>
                  <a:lnTo>
                    <a:pt x="7504" y="5207"/>
                  </a:lnTo>
                  <a:lnTo>
                    <a:pt x="7504" y="5271"/>
                  </a:lnTo>
                  <a:close/>
                  <a:moveTo>
                    <a:pt x="7504" y="5609"/>
                  </a:moveTo>
                  <a:lnTo>
                    <a:pt x="7568" y="5609"/>
                  </a:lnTo>
                  <a:lnTo>
                    <a:pt x="7568" y="5545"/>
                  </a:lnTo>
                  <a:lnTo>
                    <a:pt x="7504" y="5545"/>
                  </a:lnTo>
                  <a:lnTo>
                    <a:pt x="7504" y="5609"/>
                  </a:lnTo>
                  <a:close/>
                  <a:moveTo>
                    <a:pt x="7504" y="5723"/>
                  </a:moveTo>
                  <a:lnTo>
                    <a:pt x="7568" y="5723"/>
                  </a:lnTo>
                  <a:lnTo>
                    <a:pt x="7568" y="5658"/>
                  </a:lnTo>
                  <a:lnTo>
                    <a:pt x="7504" y="5658"/>
                  </a:lnTo>
                  <a:lnTo>
                    <a:pt x="7504" y="5723"/>
                  </a:lnTo>
                  <a:close/>
                  <a:moveTo>
                    <a:pt x="7504" y="5833"/>
                  </a:moveTo>
                  <a:lnTo>
                    <a:pt x="7568" y="5833"/>
                  </a:lnTo>
                  <a:lnTo>
                    <a:pt x="7568" y="5769"/>
                  </a:lnTo>
                  <a:lnTo>
                    <a:pt x="7504" y="5769"/>
                  </a:lnTo>
                  <a:lnTo>
                    <a:pt x="7504" y="5833"/>
                  </a:lnTo>
                  <a:close/>
                  <a:moveTo>
                    <a:pt x="7616" y="2106"/>
                  </a:moveTo>
                  <a:lnTo>
                    <a:pt x="7680" y="2106"/>
                  </a:lnTo>
                  <a:lnTo>
                    <a:pt x="7680" y="2042"/>
                  </a:lnTo>
                  <a:lnTo>
                    <a:pt x="7616" y="2042"/>
                  </a:lnTo>
                  <a:lnTo>
                    <a:pt x="7616" y="2106"/>
                  </a:lnTo>
                  <a:close/>
                  <a:moveTo>
                    <a:pt x="7616" y="2217"/>
                  </a:moveTo>
                  <a:lnTo>
                    <a:pt x="7680" y="2217"/>
                  </a:lnTo>
                  <a:lnTo>
                    <a:pt x="7680" y="2152"/>
                  </a:lnTo>
                  <a:lnTo>
                    <a:pt x="7616" y="2152"/>
                  </a:lnTo>
                  <a:lnTo>
                    <a:pt x="7616" y="2217"/>
                  </a:lnTo>
                  <a:close/>
                  <a:moveTo>
                    <a:pt x="7616" y="2330"/>
                  </a:moveTo>
                  <a:lnTo>
                    <a:pt x="7680" y="2330"/>
                  </a:lnTo>
                  <a:lnTo>
                    <a:pt x="7680" y="2265"/>
                  </a:lnTo>
                  <a:lnTo>
                    <a:pt x="7616" y="2265"/>
                  </a:lnTo>
                  <a:lnTo>
                    <a:pt x="7616" y="2330"/>
                  </a:lnTo>
                  <a:close/>
                  <a:moveTo>
                    <a:pt x="7616" y="2444"/>
                  </a:moveTo>
                  <a:lnTo>
                    <a:pt x="7680" y="2444"/>
                  </a:lnTo>
                  <a:lnTo>
                    <a:pt x="7680" y="2380"/>
                  </a:lnTo>
                  <a:lnTo>
                    <a:pt x="7616" y="2380"/>
                  </a:lnTo>
                  <a:lnTo>
                    <a:pt x="7616" y="2444"/>
                  </a:lnTo>
                  <a:close/>
                  <a:moveTo>
                    <a:pt x="7616" y="2558"/>
                  </a:moveTo>
                  <a:lnTo>
                    <a:pt x="7680" y="2558"/>
                  </a:lnTo>
                  <a:lnTo>
                    <a:pt x="7680" y="2493"/>
                  </a:lnTo>
                  <a:lnTo>
                    <a:pt x="7616" y="2493"/>
                  </a:lnTo>
                  <a:lnTo>
                    <a:pt x="7616" y="2558"/>
                  </a:lnTo>
                  <a:close/>
                  <a:moveTo>
                    <a:pt x="7616" y="2669"/>
                  </a:moveTo>
                  <a:lnTo>
                    <a:pt x="7680" y="2669"/>
                  </a:lnTo>
                  <a:lnTo>
                    <a:pt x="7680" y="2605"/>
                  </a:lnTo>
                  <a:lnTo>
                    <a:pt x="7616" y="2605"/>
                  </a:lnTo>
                  <a:lnTo>
                    <a:pt x="7616" y="2669"/>
                  </a:lnTo>
                  <a:close/>
                  <a:moveTo>
                    <a:pt x="7616" y="2783"/>
                  </a:moveTo>
                  <a:lnTo>
                    <a:pt x="7680" y="2783"/>
                  </a:lnTo>
                  <a:lnTo>
                    <a:pt x="7680" y="2718"/>
                  </a:lnTo>
                  <a:lnTo>
                    <a:pt x="7616" y="2718"/>
                  </a:lnTo>
                  <a:lnTo>
                    <a:pt x="7616" y="2783"/>
                  </a:lnTo>
                  <a:close/>
                  <a:moveTo>
                    <a:pt x="7616" y="2897"/>
                  </a:moveTo>
                  <a:lnTo>
                    <a:pt x="7680" y="2897"/>
                  </a:lnTo>
                  <a:lnTo>
                    <a:pt x="7680" y="2832"/>
                  </a:lnTo>
                  <a:lnTo>
                    <a:pt x="7616" y="2832"/>
                  </a:lnTo>
                  <a:lnTo>
                    <a:pt x="7616" y="2897"/>
                  </a:lnTo>
                  <a:close/>
                  <a:moveTo>
                    <a:pt x="7616" y="3010"/>
                  </a:moveTo>
                  <a:lnTo>
                    <a:pt x="7680" y="3010"/>
                  </a:lnTo>
                  <a:lnTo>
                    <a:pt x="7680" y="2946"/>
                  </a:lnTo>
                  <a:lnTo>
                    <a:pt x="7616" y="2946"/>
                  </a:lnTo>
                  <a:lnTo>
                    <a:pt x="7616" y="3010"/>
                  </a:lnTo>
                  <a:close/>
                  <a:moveTo>
                    <a:pt x="7616" y="3121"/>
                  </a:moveTo>
                  <a:lnTo>
                    <a:pt x="7680" y="3121"/>
                  </a:lnTo>
                  <a:lnTo>
                    <a:pt x="7680" y="3057"/>
                  </a:lnTo>
                  <a:lnTo>
                    <a:pt x="7616" y="3057"/>
                  </a:lnTo>
                  <a:lnTo>
                    <a:pt x="7616" y="3121"/>
                  </a:lnTo>
                  <a:close/>
                  <a:moveTo>
                    <a:pt x="7616" y="3234"/>
                  </a:moveTo>
                  <a:lnTo>
                    <a:pt x="7680" y="3234"/>
                  </a:lnTo>
                  <a:lnTo>
                    <a:pt x="7680" y="3170"/>
                  </a:lnTo>
                  <a:lnTo>
                    <a:pt x="7616" y="3170"/>
                  </a:lnTo>
                  <a:lnTo>
                    <a:pt x="7616" y="3234"/>
                  </a:lnTo>
                  <a:close/>
                  <a:moveTo>
                    <a:pt x="7616" y="3349"/>
                  </a:moveTo>
                  <a:lnTo>
                    <a:pt x="7680" y="3349"/>
                  </a:lnTo>
                  <a:lnTo>
                    <a:pt x="7680" y="3284"/>
                  </a:lnTo>
                  <a:lnTo>
                    <a:pt x="7616" y="3284"/>
                  </a:lnTo>
                  <a:lnTo>
                    <a:pt x="7616" y="3349"/>
                  </a:lnTo>
                  <a:close/>
                  <a:moveTo>
                    <a:pt x="7616" y="3462"/>
                  </a:moveTo>
                  <a:lnTo>
                    <a:pt x="7680" y="3462"/>
                  </a:lnTo>
                  <a:lnTo>
                    <a:pt x="7680" y="3397"/>
                  </a:lnTo>
                  <a:lnTo>
                    <a:pt x="7616" y="3397"/>
                  </a:lnTo>
                  <a:lnTo>
                    <a:pt x="7616" y="3462"/>
                  </a:lnTo>
                  <a:close/>
                  <a:moveTo>
                    <a:pt x="7616" y="3575"/>
                  </a:moveTo>
                  <a:lnTo>
                    <a:pt x="7680" y="3575"/>
                  </a:lnTo>
                  <a:lnTo>
                    <a:pt x="7680" y="3510"/>
                  </a:lnTo>
                  <a:lnTo>
                    <a:pt x="7616" y="3510"/>
                  </a:lnTo>
                  <a:lnTo>
                    <a:pt x="7616" y="3575"/>
                  </a:lnTo>
                  <a:close/>
                  <a:moveTo>
                    <a:pt x="7616" y="3688"/>
                  </a:moveTo>
                  <a:lnTo>
                    <a:pt x="7680" y="3688"/>
                  </a:lnTo>
                  <a:lnTo>
                    <a:pt x="7680" y="3624"/>
                  </a:lnTo>
                  <a:lnTo>
                    <a:pt x="7616" y="3624"/>
                  </a:lnTo>
                  <a:lnTo>
                    <a:pt x="7616" y="3688"/>
                  </a:lnTo>
                  <a:close/>
                  <a:moveTo>
                    <a:pt x="7616" y="3802"/>
                  </a:moveTo>
                  <a:lnTo>
                    <a:pt x="7680" y="3802"/>
                  </a:lnTo>
                  <a:lnTo>
                    <a:pt x="7680" y="3738"/>
                  </a:lnTo>
                  <a:lnTo>
                    <a:pt x="7616" y="3738"/>
                  </a:lnTo>
                  <a:lnTo>
                    <a:pt x="7616" y="3802"/>
                  </a:lnTo>
                  <a:close/>
                  <a:moveTo>
                    <a:pt x="7616" y="3916"/>
                  </a:moveTo>
                  <a:lnTo>
                    <a:pt x="7680" y="3916"/>
                  </a:lnTo>
                  <a:lnTo>
                    <a:pt x="7680" y="3851"/>
                  </a:lnTo>
                  <a:lnTo>
                    <a:pt x="7616" y="3851"/>
                  </a:lnTo>
                  <a:lnTo>
                    <a:pt x="7616" y="3916"/>
                  </a:lnTo>
                  <a:close/>
                  <a:moveTo>
                    <a:pt x="7616" y="4026"/>
                  </a:moveTo>
                  <a:lnTo>
                    <a:pt x="7680" y="4026"/>
                  </a:lnTo>
                  <a:lnTo>
                    <a:pt x="7680" y="3962"/>
                  </a:lnTo>
                  <a:lnTo>
                    <a:pt x="7616" y="3962"/>
                  </a:lnTo>
                  <a:lnTo>
                    <a:pt x="7616" y="4026"/>
                  </a:lnTo>
                  <a:close/>
                  <a:moveTo>
                    <a:pt x="7616" y="4140"/>
                  </a:moveTo>
                  <a:lnTo>
                    <a:pt x="7680" y="4140"/>
                  </a:lnTo>
                  <a:lnTo>
                    <a:pt x="7680" y="4076"/>
                  </a:lnTo>
                  <a:lnTo>
                    <a:pt x="7616" y="4076"/>
                  </a:lnTo>
                  <a:lnTo>
                    <a:pt x="7616" y="4140"/>
                  </a:lnTo>
                  <a:close/>
                  <a:moveTo>
                    <a:pt x="7616" y="4254"/>
                  </a:moveTo>
                  <a:lnTo>
                    <a:pt x="7680" y="4254"/>
                  </a:lnTo>
                  <a:lnTo>
                    <a:pt x="7680" y="4190"/>
                  </a:lnTo>
                  <a:lnTo>
                    <a:pt x="7616" y="4190"/>
                  </a:lnTo>
                  <a:lnTo>
                    <a:pt x="7616" y="4254"/>
                  </a:lnTo>
                  <a:close/>
                  <a:moveTo>
                    <a:pt x="7616" y="4367"/>
                  </a:moveTo>
                  <a:lnTo>
                    <a:pt x="7680" y="4367"/>
                  </a:lnTo>
                  <a:lnTo>
                    <a:pt x="7680" y="4303"/>
                  </a:lnTo>
                  <a:lnTo>
                    <a:pt x="7616" y="4303"/>
                  </a:lnTo>
                  <a:lnTo>
                    <a:pt x="7616" y="4367"/>
                  </a:lnTo>
                  <a:close/>
                  <a:moveTo>
                    <a:pt x="7616" y="4479"/>
                  </a:moveTo>
                  <a:lnTo>
                    <a:pt x="7680" y="4479"/>
                  </a:lnTo>
                  <a:lnTo>
                    <a:pt x="7680" y="4415"/>
                  </a:lnTo>
                  <a:lnTo>
                    <a:pt x="7616" y="4415"/>
                  </a:lnTo>
                  <a:lnTo>
                    <a:pt x="7616" y="4479"/>
                  </a:lnTo>
                  <a:close/>
                  <a:moveTo>
                    <a:pt x="7616" y="4593"/>
                  </a:moveTo>
                  <a:lnTo>
                    <a:pt x="7680" y="4593"/>
                  </a:lnTo>
                  <a:lnTo>
                    <a:pt x="7680" y="4528"/>
                  </a:lnTo>
                  <a:lnTo>
                    <a:pt x="7616" y="4528"/>
                  </a:lnTo>
                  <a:lnTo>
                    <a:pt x="7616" y="4593"/>
                  </a:lnTo>
                  <a:close/>
                  <a:moveTo>
                    <a:pt x="7616" y="4707"/>
                  </a:moveTo>
                  <a:lnTo>
                    <a:pt x="7680" y="4707"/>
                  </a:lnTo>
                  <a:lnTo>
                    <a:pt x="7680" y="4642"/>
                  </a:lnTo>
                  <a:lnTo>
                    <a:pt x="7616" y="4642"/>
                  </a:lnTo>
                  <a:lnTo>
                    <a:pt x="7616" y="4707"/>
                  </a:lnTo>
                  <a:close/>
                  <a:moveTo>
                    <a:pt x="7616" y="4820"/>
                  </a:moveTo>
                  <a:lnTo>
                    <a:pt x="7680" y="4820"/>
                  </a:lnTo>
                  <a:lnTo>
                    <a:pt x="7680" y="4755"/>
                  </a:lnTo>
                  <a:lnTo>
                    <a:pt x="7616" y="4755"/>
                  </a:lnTo>
                  <a:lnTo>
                    <a:pt x="7616" y="4820"/>
                  </a:lnTo>
                  <a:close/>
                  <a:moveTo>
                    <a:pt x="7616" y="4931"/>
                  </a:moveTo>
                  <a:lnTo>
                    <a:pt x="7680" y="4931"/>
                  </a:lnTo>
                  <a:lnTo>
                    <a:pt x="7680" y="4866"/>
                  </a:lnTo>
                  <a:lnTo>
                    <a:pt x="7616" y="4866"/>
                  </a:lnTo>
                  <a:lnTo>
                    <a:pt x="7616" y="4931"/>
                  </a:lnTo>
                  <a:close/>
                  <a:moveTo>
                    <a:pt x="7616" y="5044"/>
                  </a:moveTo>
                  <a:lnTo>
                    <a:pt x="7680" y="5044"/>
                  </a:lnTo>
                  <a:lnTo>
                    <a:pt x="7680" y="4980"/>
                  </a:lnTo>
                  <a:lnTo>
                    <a:pt x="7616" y="4980"/>
                  </a:lnTo>
                  <a:lnTo>
                    <a:pt x="7616" y="5044"/>
                  </a:lnTo>
                  <a:close/>
                  <a:moveTo>
                    <a:pt x="7616" y="5158"/>
                  </a:moveTo>
                  <a:lnTo>
                    <a:pt x="7680" y="5158"/>
                  </a:lnTo>
                  <a:lnTo>
                    <a:pt x="7680" y="5094"/>
                  </a:lnTo>
                  <a:lnTo>
                    <a:pt x="7616" y="5094"/>
                  </a:lnTo>
                  <a:lnTo>
                    <a:pt x="7616" y="5158"/>
                  </a:lnTo>
                  <a:close/>
                  <a:moveTo>
                    <a:pt x="7616" y="5609"/>
                  </a:moveTo>
                  <a:lnTo>
                    <a:pt x="7680" y="5609"/>
                  </a:lnTo>
                  <a:lnTo>
                    <a:pt x="7680" y="5545"/>
                  </a:lnTo>
                  <a:lnTo>
                    <a:pt x="7616" y="5545"/>
                  </a:lnTo>
                  <a:lnTo>
                    <a:pt x="7616" y="5609"/>
                  </a:lnTo>
                  <a:close/>
                  <a:moveTo>
                    <a:pt x="7616" y="5723"/>
                  </a:moveTo>
                  <a:lnTo>
                    <a:pt x="7680" y="5723"/>
                  </a:lnTo>
                  <a:lnTo>
                    <a:pt x="7680" y="5658"/>
                  </a:lnTo>
                  <a:lnTo>
                    <a:pt x="7616" y="5658"/>
                  </a:lnTo>
                  <a:lnTo>
                    <a:pt x="7616" y="5723"/>
                  </a:lnTo>
                  <a:close/>
                  <a:moveTo>
                    <a:pt x="7616" y="5833"/>
                  </a:moveTo>
                  <a:lnTo>
                    <a:pt x="7680" y="5833"/>
                  </a:lnTo>
                  <a:lnTo>
                    <a:pt x="7680" y="5769"/>
                  </a:lnTo>
                  <a:lnTo>
                    <a:pt x="7616" y="5769"/>
                  </a:lnTo>
                  <a:lnTo>
                    <a:pt x="7616" y="5833"/>
                  </a:lnTo>
                  <a:close/>
                  <a:moveTo>
                    <a:pt x="7616" y="5947"/>
                  </a:moveTo>
                  <a:lnTo>
                    <a:pt x="7680" y="5947"/>
                  </a:lnTo>
                  <a:lnTo>
                    <a:pt x="7680" y="5883"/>
                  </a:lnTo>
                  <a:lnTo>
                    <a:pt x="7616" y="5883"/>
                  </a:lnTo>
                  <a:lnTo>
                    <a:pt x="7616" y="5947"/>
                  </a:lnTo>
                  <a:close/>
                  <a:moveTo>
                    <a:pt x="7616" y="6061"/>
                  </a:moveTo>
                  <a:lnTo>
                    <a:pt x="7680" y="6061"/>
                  </a:lnTo>
                  <a:lnTo>
                    <a:pt x="7680" y="5997"/>
                  </a:lnTo>
                  <a:lnTo>
                    <a:pt x="7616" y="5997"/>
                  </a:lnTo>
                  <a:lnTo>
                    <a:pt x="7616" y="6061"/>
                  </a:lnTo>
                  <a:close/>
                  <a:moveTo>
                    <a:pt x="7730" y="1992"/>
                  </a:moveTo>
                  <a:lnTo>
                    <a:pt x="7794" y="1992"/>
                  </a:lnTo>
                  <a:lnTo>
                    <a:pt x="7794" y="1928"/>
                  </a:lnTo>
                  <a:lnTo>
                    <a:pt x="7730" y="1928"/>
                  </a:lnTo>
                  <a:lnTo>
                    <a:pt x="7730" y="1992"/>
                  </a:lnTo>
                  <a:close/>
                  <a:moveTo>
                    <a:pt x="7730" y="2106"/>
                  </a:moveTo>
                  <a:lnTo>
                    <a:pt x="7794" y="2106"/>
                  </a:lnTo>
                  <a:lnTo>
                    <a:pt x="7794" y="2042"/>
                  </a:lnTo>
                  <a:lnTo>
                    <a:pt x="7730" y="2042"/>
                  </a:lnTo>
                  <a:lnTo>
                    <a:pt x="7730" y="2106"/>
                  </a:lnTo>
                  <a:close/>
                  <a:moveTo>
                    <a:pt x="7730" y="2217"/>
                  </a:moveTo>
                  <a:lnTo>
                    <a:pt x="7794" y="2217"/>
                  </a:lnTo>
                  <a:lnTo>
                    <a:pt x="7794" y="2152"/>
                  </a:lnTo>
                  <a:lnTo>
                    <a:pt x="7730" y="2152"/>
                  </a:lnTo>
                  <a:lnTo>
                    <a:pt x="7730" y="2217"/>
                  </a:lnTo>
                  <a:close/>
                  <a:moveTo>
                    <a:pt x="7730" y="2330"/>
                  </a:moveTo>
                  <a:lnTo>
                    <a:pt x="7794" y="2330"/>
                  </a:lnTo>
                  <a:lnTo>
                    <a:pt x="7794" y="2265"/>
                  </a:lnTo>
                  <a:lnTo>
                    <a:pt x="7730" y="2265"/>
                  </a:lnTo>
                  <a:lnTo>
                    <a:pt x="7730" y="2330"/>
                  </a:lnTo>
                  <a:close/>
                  <a:moveTo>
                    <a:pt x="7730" y="2444"/>
                  </a:moveTo>
                  <a:lnTo>
                    <a:pt x="7794" y="2444"/>
                  </a:lnTo>
                  <a:lnTo>
                    <a:pt x="7794" y="2380"/>
                  </a:lnTo>
                  <a:lnTo>
                    <a:pt x="7730" y="2380"/>
                  </a:lnTo>
                  <a:lnTo>
                    <a:pt x="7730" y="2444"/>
                  </a:lnTo>
                  <a:close/>
                  <a:moveTo>
                    <a:pt x="7730" y="2558"/>
                  </a:moveTo>
                  <a:lnTo>
                    <a:pt x="7794" y="2558"/>
                  </a:lnTo>
                  <a:lnTo>
                    <a:pt x="7794" y="2493"/>
                  </a:lnTo>
                  <a:lnTo>
                    <a:pt x="7730" y="2493"/>
                  </a:lnTo>
                  <a:lnTo>
                    <a:pt x="7730" y="2558"/>
                  </a:lnTo>
                  <a:close/>
                  <a:moveTo>
                    <a:pt x="7730" y="2669"/>
                  </a:moveTo>
                  <a:lnTo>
                    <a:pt x="7794" y="2669"/>
                  </a:lnTo>
                  <a:lnTo>
                    <a:pt x="7794" y="2605"/>
                  </a:lnTo>
                  <a:lnTo>
                    <a:pt x="7730" y="2605"/>
                  </a:lnTo>
                  <a:lnTo>
                    <a:pt x="7730" y="2669"/>
                  </a:lnTo>
                  <a:close/>
                  <a:moveTo>
                    <a:pt x="7730" y="2783"/>
                  </a:moveTo>
                  <a:lnTo>
                    <a:pt x="7794" y="2783"/>
                  </a:lnTo>
                  <a:lnTo>
                    <a:pt x="7794" y="2718"/>
                  </a:lnTo>
                  <a:lnTo>
                    <a:pt x="7730" y="2718"/>
                  </a:lnTo>
                  <a:lnTo>
                    <a:pt x="7730" y="2783"/>
                  </a:lnTo>
                  <a:close/>
                  <a:moveTo>
                    <a:pt x="7730" y="2897"/>
                  </a:moveTo>
                  <a:lnTo>
                    <a:pt x="7794" y="2897"/>
                  </a:lnTo>
                  <a:lnTo>
                    <a:pt x="7794" y="2832"/>
                  </a:lnTo>
                  <a:lnTo>
                    <a:pt x="7730" y="2832"/>
                  </a:lnTo>
                  <a:lnTo>
                    <a:pt x="7730" y="2897"/>
                  </a:lnTo>
                  <a:close/>
                  <a:moveTo>
                    <a:pt x="7730" y="3010"/>
                  </a:moveTo>
                  <a:lnTo>
                    <a:pt x="7794" y="3010"/>
                  </a:lnTo>
                  <a:lnTo>
                    <a:pt x="7794" y="2946"/>
                  </a:lnTo>
                  <a:lnTo>
                    <a:pt x="7730" y="2946"/>
                  </a:lnTo>
                  <a:lnTo>
                    <a:pt x="7730" y="3010"/>
                  </a:lnTo>
                  <a:close/>
                  <a:moveTo>
                    <a:pt x="7730" y="3121"/>
                  </a:moveTo>
                  <a:lnTo>
                    <a:pt x="7794" y="3121"/>
                  </a:lnTo>
                  <a:lnTo>
                    <a:pt x="7794" y="3057"/>
                  </a:lnTo>
                  <a:lnTo>
                    <a:pt x="7730" y="3057"/>
                  </a:lnTo>
                  <a:lnTo>
                    <a:pt x="7730" y="3121"/>
                  </a:lnTo>
                  <a:close/>
                  <a:moveTo>
                    <a:pt x="7730" y="3234"/>
                  </a:moveTo>
                  <a:lnTo>
                    <a:pt x="7794" y="3234"/>
                  </a:lnTo>
                  <a:lnTo>
                    <a:pt x="7794" y="3170"/>
                  </a:lnTo>
                  <a:lnTo>
                    <a:pt x="7730" y="3170"/>
                  </a:lnTo>
                  <a:lnTo>
                    <a:pt x="7730" y="3234"/>
                  </a:lnTo>
                  <a:close/>
                  <a:moveTo>
                    <a:pt x="7730" y="3349"/>
                  </a:moveTo>
                  <a:lnTo>
                    <a:pt x="7794" y="3349"/>
                  </a:lnTo>
                  <a:lnTo>
                    <a:pt x="7794" y="3284"/>
                  </a:lnTo>
                  <a:lnTo>
                    <a:pt x="7730" y="3284"/>
                  </a:lnTo>
                  <a:lnTo>
                    <a:pt x="7730" y="3349"/>
                  </a:lnTo>
                  <a:close/>
                  <a:moveTo>
                    <a:pt x="7730" y="3462"/>
                  </a:moveTo>
                  <a:lnTo>
                    <a:pt x="7794" y="3462"/>
                  </a:lnTo>
                  <a:lnTo>
                    <a:pt x="7794" y="3397"/>
                  </a:lnTo>
                  <a:lnTo>
                    <a:pt x="7730" y="3397"/>
                  </a:lnTo>
                  <a:lnTo>
                    <a:pt x="7730" y="3462"/>
                  </a:lnTo>
                  <a:close/>
                  <a:moveTo>
                    <a:pt x="7730" y="3575"/>
                  </a:moveTo>
                  <a:lnTo>
                    <a:pt x="7794" y="3575"/>
                  </a:lnTo>
                  <a:lnTo>
                    <a:pt x="7794" y="3510"/>
                  </a:lnTo>
                  <a:lnTo>
                    <a:pt x="7730" y="3510"/>
                  </a:lnTo>
                  <a:lnTo>
                    <a:pt x="7730" y="3575"/>
                  </a:lnTo>
                  <a:close/>
                  <a:moveTo>
                    <a:pt x="7730" y="3688"/>
                  </a:moveTo>
                  <a:lnTo>
                    <a:pt x="7794" y="3688"/>
                  </a:lnTo>
                  <a:lnTo>
                    <a:pt x="7794" y="3624"/>
                  </a:lnTo>
                  <a:lnTo>
                    <a:pt x="7730" y="3624"/>
                  </a:lnTo>
                  <a:lnTo>
                    <a:pt x="7730" y="3688"/>
                  </a:lnTo>
                  <a:close/>
                  <a:moveTo>
                    <a:pt x="7730" y="3802"/>
                  </a:moveTo>
                  <a:lnTo>
                    <a:pt x="7794" y="3802"/>
                  </a:lnTo>
                  <a:lnTo>
                    <a:pt x="7794" y="3738"/>
                  </a:lnTo>
                  <a:lnTo>
                    <a:pt x="7730" y="3738"/>
                  </a:lnTo>
                  <a:lnTo>
                    <a:pt x="7730" y="3802"/>
                  </a:lnTo>
                  <a:close/>
                  <a:moveTo>
                    <a:pt x="7730" y="3916"/>
                  </a:moveTo>
                  <a:lnTo>
                    <a:pt x="7794" y="3916"/>
                  </a:lnTo>
                  <a:lnTo>
                    <a:pt x="7794" y="3851"/>
                  </a:lnTo>
                  <a:lnTo>
                    <a:pt x="7730" y="3851"/>
                  </a:lnTo>
                  <a:lnTo>
                    <a:pt x="7730" y="3916"/>
                  </a:lnTo>
                  <a:close/>
                  <a:moveTo>
                    <a:pt x="7730" y="4026"/>
                  </a:moveTo>
                  <a:lnTo>
                    <a:pt x="7794" y="4026"/>
                  </a:lnTo>
                  <a:lnTo>
                    <a:pt x="7794" y="3962"/>
                  </a:lnTo>
                  <a:lnTo>
                    <a:pt x="7730" y="3962"/>
                  </a:lnTo>
                  <a:lnTo>
                    <a:pt x="7730" y="4026"/>
                  </a:lnTo>
                  <a:close/>
                  <a:moveTo>
                    <a:pt x="7730" y="4140"/>
                  </a:moveTo>
                  <a:lnTo>
                    <a:pt x="7794" y="4140"/>
                  </a:lnTo>
                  <a:lnTo>
                    <a:pt x="7794" y="4076"/>
                  </a:lnTo>
                  <a:lnTo>
                    <a:pt x="7730" y="4076"/>
                  </a:lnTo>
                  <a:lnTo>
                    <a:pt x="7730" y="4140"/>
                  </a:lnTo>
                  <a:close/>
                  <a:moveTo>
                    <a:pt x="7730" y="4254"/>
                  </a:moveTo>
                  <a:lnTo>
                    <a:pt x="7794" y="4254"/>
                  </a:lnTo>
                  <a:lnTo>
                    <a:pt x="7794" y="4190"/>
                  </a:lnTo>
                  <a:lnTo>
                    <a:pt x="7730" y="4190"/>
                  </a:lnTo>
                  <a:lnTo>
                    <a:pt x="7730" y="4254"/>
                  </a:lnTo>
                  <a:close/>
                  <a:moveTo>
                    <a:pt x="7730" y="4367"/>
                  </a:moveTo>
                  <a:lnTo>
                    <a:pt x="7794" y="4367"/>
                  </a:lnTo>
                  <a:lnTo>
                    <a:pt x="7794" y="4303"/>
                  </a:lnTo>
                  <a:lnTo>
                    <a:pt x="7730" y="4303"/>
                  </a:lnTo>
                  <a:lnTo>
                    <a:pt x="7730" y="4367"/>
                  </a:lnTo>
                  <a:close/>
                  <a:moveTo>
                    <a:pt x="7730" y="4479"/>
                  </a:moveTo>
                  <a:lnTo>
                    <a:pt x="7794" y="4479"/>
                  </a:lnTo>
                  <a:lnTo>
                    <a:pt x="7794" y="4415"/>
                  </a:lnTo>
                  <a:lnTo>
                    <a:pt x="7730" y="4415"/>
                  </a:lnTo>
                  <a:lnTo>
                    <a:pt x="7730" y="4479"/>
                  </a:lnTo>
                  <a:close/>
                  <a:moveTo>
                    <a:pt x="7730" y="4593"/>
                  </a:moveTo>
                  <a:lnTo>
                    <a:pt x="7794" y="4593"/>
                  </a:lnTo>
                  <a:lnTo>
                    <a:pt x="7794" y="4528"/>
                  </a:lnTo>
                  <a:lnTo>
                    <a:pt x="7730" y="4528"/>
                  </a:lnTo>
                  <a:lnTo>
                    <a:pt x="7730" y="4593"/>
                  </a:lnTo>
                  <a:close/>
                  <a:moveTo>
                    <a:pt x="7730" y="4707"/>
                  </a:moveTo>
                  <a:lnTo>
                    <a:pt x="7794" y="4707"/>
                  </a:lnTo>
                  <a:lnTo>
                    <a:pt x="7794" y="4642"/>
                  </a:lnTo>
                  <a:lnTo>
                    <a:pt x="7730" y="4642"/>
                  </a:lnTo>
                  <a:lnTo>
                    <a:pt x="7730" y="4707"/>
                  </a:lnTo>
                  <a:close/>
                  <a:moveTo>
                    <a:pt x="7730" y="4820"/>
                  </a:moveTo>
                  <a:lnTo>
                    <a:pt x="7794" y="4820"/>
                  </a:lnTo>
                  <a:lnTo>
                    <a:pt x="7794" y="4755"/>
                  </a:lnTo>
                  <a:lnTo>
                    <a:pt x="7730" y="4755"/>
                  </a:lnTo>
                  <a:lnTo>
                    <a:pt x="7730" y="4820"/>
                  </a:lnTo>
                  <a:close/>
                  <a:moveTo>
                    <a:pt x="7730" y="4931"/>
                  </a:moveTo>
                  <a:lnTo>
                    <a:pt x="7794" y="4931"/>
                  </a:lnTo>
                  <a:lnTo>
                    <a:pt x="7794" y="4866"/>
                  </a:lnTo>
                  <a:lnTo>
                    <a:pt x="7730" y="4866"/>
                  </a:lnTo>
                  <a:lnTo>
                    <a:pt x="7730" y="4931"/>
                  </a:lnTo>
                  <a:close/>
                  <a:moveTo>
                    <a:pt x="7730" y="5044"/>
                  </a:moveTo>
                  <a:lnTo>
                    <a:pt x="7794" y="5044"/>
                  </a:lnTo>
                  <a:lnTo>
                    <a:pt x="7794" y="4980"/>
                  </a:lnTo>
                  <a:lnTo>
                    <a:pt x="7730" y="4980"/>
                  </a:lnTo>
                  <a:lnTo>
                    <a:pt x="7730" y="5044"/>
                  </a:lnTo>
                  <a:close/>
                  <a:moveTo>
                    <a:pt x="7730" y="5609"/>
                  </a:moveTo>
                  <a:lnTo>
                    <a:pt x="7794" y="5609"/>
                  </a:lnTo>
                  <a:lnTo>
                    <a:pt x="7794" y="5545"/>
                  </a:lnTo>
                  <a:lnTo>
                    <a:pt x="7730" y="5545"/>
                  </a:lnTo>
                  <a:lnTo>
                    <a:pt x="7730" y="5609"/>
                  </a:lnTo>
                  <a:close/>
                  <a:moveTo>
                    <a:pt x="7730" y="5723"/>
                  </a:moveTo>
                  <a:lnTo>
                    <a:pt x="7794" y="5723"/>
                  </a:lnTo>
                  <a:lnTo>
                    <a:pt x="7794" y="5658"/>
                  </a:lnTo>
                  <a:lnTo>
                    <a:pt x="7730" y="5658"/>
                  </a:lnTo>
                  <a:lnTo>
                    <a:pt x="7730" y="5723"/>
                  </a:lnTo>
                  <a:close/>
                  <a:moveTo>
                    <a:pt x="7730" y="5833"/>
                  </a:moveTo>
                  <a:lnTo>
                    <a:pt x="7794" y="5833"/>
                  </a:lnTo>
                  <a:lnTo>
                    <a:pt x="7794" y="5769"/>
                  </a:lnTo>
                  <a:lnTo>
                    <a:pt x="7730" y="5769"/>
                  </a:lnTo>
                  <a:lnTo>
                    <a:pt x="7730" y="5833"/>
                  </a:lnTo>
                  <a:close/>
                  <a:moveTo>
                    <a:pt x="7730" y="5947"/>
                  </a:moveTo>
                  <a:lnTo>
                    <a:pt x="7794" y="5947"/>
                  </a:lnTo>
                  <a:lnTo>
                    <a:pt x="7794" y="5883"/>
                  </a:lnTo>
                  <a:lnTo>
                    <a:pt x="7730" y="5883"/>
                  </a:lnTo>
                  <a:lnTo>
                    <a:pt x="7730" y="5947"/>
                  </a:lnTo>
                  <a:close/>
                  <a:moveTo>
                    <a:pt x="7844" y="1761"/>
                  </a:moveTo>
                  <a:lnTo>
                    <a:pt x="7908" y="1761"/>
                  </a:lnTo>
                  <a:lnTo>
                    <a:pt x="7908" y="1697"/>
                  </a:lnTo>
                  <a:lnTo>
                    <a:pt x="7844" y="1697"/>
                  </a:lnTo>
                  <a:lnTo>
                    <a:pt x="7844" y="1761"/>
                  </a:lnTo>
                  <a:close/>
                  <a:moveTo>
                    <a:pt x="7844" y="2106"/>
                  </a:moveTo>
                  <a:lnTo>
                    <a:pt x="7908" y="2106"/>
                  </a:lnTo>
                  <a:lnTo>
                    <a:pt x="7908" y="2042"/>
                  </a:lnTo>
                  <a:lnTo>
                    <a:pt x="7844" y="2042"/>
                  </a:lnTo>
                  <a:lnTo>
                    <a:pt x="7844" y="2106"/>
                  </a:lnTo>
                  <a:close/>
                  <a:moveTo>
                    <a:pt x="7844" y="2217"/>
                  </a:moveTo>
                  <a:lnTo>
                    <a:pt x="7908" y="2217"/>
                  </a:lnTo>
                  <a:lnTo>
                    <a:pt x="7908" y="2152"/>
                  </a:lnTo>
                  <a:lnTo>
                    <a:pt x="7844" y="2152"/>
                  </a:lnTo>
                  <a:lnTo>
                    <a:pt x="7844" y="2217"/>
                  </a:lnTo>
                  <a:close/>
                  <a:moveTo>
                    <a:pt x="7844" y="2330"/>
                  </a:moveTo>
                  <a:lnTo>
                    <a:pt x="7908" y="2330"/>
                  </a:lnTo>
                  <a:lnTo>
                    <a:pt x="7908" y="2265"/>
                  </a:lnTo>
                  <a:lnTo>
                    <a:pt x="7844" y="2265"/>
                  </a:lnTo>
                  <a:lnTo>
                    <a:pt x="7844" y="2330"/>
                  </a:lnTo>
                  <a:close/>
                  <a:moveTo>
                    <a:pt x="7844" y="2444"/>
                  </a:moveTo>
                  <a:lnTo>
                    <a:pt x="7908" y="2444"/>
                  </a:lnTo>
                  <a:lnTo>
                    <a:pt x="7908" y="2380"/>
                  </a:lnTo>
                  <a:lnTo>
                    <a:pt x="7844" y="2380"/>
                  </a:lnTo>
                  <a:lnTo>
                    <a:pt x="7844" y="2444"/>
                  </a:lnTo>
                  <a:close/>
                  <a:moveTo>
                    <a:pt x="7844" y="2558"/>
                  </a:moveTo>
                  <a:lnTo>
                    <a:pt x="7908" y="2558"/>
                  </a:lnTo>
                  <a:lnTo>
                    <a:pt x="7908" y="2493"/>
                  </a:lnTo>
                  <a:lnTo>
                    <a:pt x="7844" y="2493"/>
                  </a:lnTo>
                  <a:lnTo>
                    <a:pt x="7844" y="2558"/>
                  </a:lnTo>
                  <a:close/>
                  <a:moveTo>
                    <a:pt x="7844" y="2669"/>
                  </a:moveTo>
                  <a:lnTo>
                    <a:pt x="7908" y="2669"/>
                  </a:lnTo>
                  <a:lnTo>
                    <a:pt x="7908" y="2605"/>
                  </a:lnTo>
                  <a:lnTo>
                    <a:pt x="7844" y="2605"/>
                  </a:lnTo>
                  <a:lnTo>
                    <a:pt x="7844" y="2669"/>
                  </a:lnTo>
                  <a:close/>
                  <a:moveTo>
                    <a:pt x="7844" y="2783"/>
                  </a:moveTo>
                  <a:lnTo>
                    <a:pt x="7908" y="2783"/>
                  </a:lnTo>
                  <a:lnTo>
                    <a:pt x="7908" y="2718"/>
                  </a:lnTo>
                  <a:lnTo>
                    <a:pt x="7844" y="2718"/>
                  </a:lnTo>
                  <a:lnTo>
                    <a:pt x="7844" y="2783"/>
                  </a:lnTo>
                  <a:close/>
                  <a:moveTo>
                    <a:pt x="7844" y="2897"/>
                  </a:moveTo>
                  <a:lnTo>
                    <a:pt x="7908" y="2897"/>
                  </a:lnTo>
                  <a:lnTo>
                    <a:pt x="7908" y="2832"/>
                  </a:lnTo>
                  <a:lnTo>
                    <a:pt x="7844" y="2832"/>
                  </a:lnTo>
                  <a:lnTo>
                    <a:pt x="7844" y="2897"/>
                  </a:lnTo>
                  <a:close/>
                  <a:moveTo>
                    <a:pt x="7844" y="3010"/>
                  </a:moveTo>
                  <a:lnTo>
                    <a:pt x="7908" y="3010"/>
                  </a:lnTo>
                  <a:lnTo>
                    <a:pt x="7908" y="2946"/>
                  </a:lnTo>
                  <a:lnTo>
                    <a:pt x="7844" y="2946"/>
                  </a:lnTo>
                  <a:lnTo>
                    <a:pt x="7844" y="3010"/>
                  </a:lnTo>
                  <a:close/>
                  <a:moveTo>
                    <a:pt x="7844" y="3121"/>
                  </a:moveTo>
                  <a:lnTo>
                    <a:pt x="7908" y="3121"/>
                  </a:lnTo>
                  <a:lnTo>
                    <a:pt x="7908" y="3057"/>
                  </a:lnTo>
                  <a:lnTo>
                    <a:pt x="7844" y="3057"/>
                  </a:lnTo>
                  <a:lnTo>
                    <a:pt x="7844" y="3121"/>
                  </a:lnTo>
                  <a:close/>
                  <a:moveTo>
                    <a:pt x="7844" y="3234"/>
                  </a:moveTo>
                  <a:lnTo>
                    <a:pt x="7908" y="3234"/>
                  </a:lnTo>
                  <a:lnTo>
                    <a:pt x="7908" y="3170"/>
                  </a:lnTo>
                  <a:lnTo>
                    <a:pt x="7844" y="3170"/>
                  </a:lnTo>
                  <a:lnTo>
                    <a:pt x="7844" y="3234"/>
                  </a:lnTo>
                  <a:close/>
                  <a:moveTo>
                    <a:pt x="7844" y="3349"/>
                  </a:moveTo>
                  <a:lnTo>
                    <a:pt x="7908" y="3349"/>
                  </a:lnTo>
                  <a:lnTo>
                    <a:pt x="7908" y="3284"/>
                  </a:lnTo>
                  <a:lnTo>
                    <a:pt x="7844" y="3284"/>
                  </a:lnTo>
                  <a:lnTo>
                    <a:pt x="7844" y="3349"/>
                  </a:lnTo>
                  <a:close/>
                  <a:moveTo>
                    <a:pt x="7844" y="3462"/>
                  </a:moveTo>
                  <a:lnTo>
                    <a:pt x="7908" y="3462"/>
                  </a:lnTo>
                  <a:lnTo>
                    <a:pt x="7908" y="3397"/>
                  </a:lnTo>
                  <a:lnTo>
                    <a:pt x="7844" y="3397"/>
                  </a:lnTo>
                  <a:lnTo>
                    <a:pt x="7844" y="3462"/>
                  </a:lnTo>
                  <a:close/>
                  <a:moveTo>
                    <a:pt x="7844" y="3575"/>
                  </a:moveTo>
                  <a:lnTo>
                    <a:pt x="7908" y="3575"/>
                  </a:lnTo>
                  <a:lnTo>
                    <a:pt x="7908" y="3510"/>
                  </a:lnTo>
                  <a:lnTo>
                    <a:pt x="7844" y="3510"/>
                  </a:lnTo>
                  <a:lnTo>
                    <a:pt x="7844" y="3575"/>
                  </a:lnTo>
                  <a:close/>
                  <a:moveTo>
                    <a:pt x="7844" y="3688"/>
                  </a:moveTo>
                  <a:lnTo>
                    <a:pt x="7908" y="3688"/>
                  </a:lnTo>
                  <a:lnTo>
                    <a:pt x="7908" y="3624"/>
                  </a:lnTo>
                  <a:lnTo>
                    <a:pt x="7844" y="3624"/>
                  </a:lnTo>
                  <a:lnTo>
                    <a:pt x="7844" y="3688"/>
                  </a:lnTo>
                  <a:close/>
                  <a:moveTo>
                    <a:pt x="7844" y="3802"/>
                  </a:moveTo>
                  <a:lnTo>
                    <a:pt x="7908" y="3802"/>
                  </a:lnTo>
                  <a:lnTo>
                    <a:pt x="7908" y="3738"/>
                  </a:lnTo>
                  <a:lnTo>
                    <a:pt x="7844" y="3738"/>
                  </a:lnTo>
                  <a:lnTo>
                    <a:pt x="7844" y="3802"/>
                  </a:lnTo>
                  <a:close/>
                  <a:moveTo>
                    <a:pt x="7844" y="3916"/>
                  </a:moveTo>
                  <a:lnTo>
                    <a:pt x="7908" y="3916"/>
                  </a:lnTo>
                  <a:lnTo>
                    <a:pt x="7908" y="3851"/>
                  </a:lnTo>
                  <a:lnTo>
                    <a:pt x="7844" y="3851"/>
                  </a:lnTo>
                  <a:lnTo>
                    <a:pt x="7844" y="3916"/>
                  </a:lnTo>
                  <a:close/>
                  <a:moveTo>
                    <a:pt x="7844" y="4026"/>
                  </a:moveTo>
                  <a:lnTo>
                    <a:pt x="7908" y="4026"/>
                  </a:lnTo>
                  <a:lnTo>
                    <a:pt x="7908" y="3962"/>
                  </a:lnTo>
                  <a:lnTo>
                    <a:pt x="7844" y="3962"/>
                  </a:lnTo>
                  <a:lnTo>
                    <a:pt x="7844" y="4026"/>
                  </a:lnTo>
                  <a:close/>
                  <a:moveTo>
                    <a:pt x="7844" y="4140"/>
                  </a:moveTo>
                  <a:lnTo>
                    <a:pt x="7908" y="4140"/>
                  </a:lnTo>
                  <a:lnTo>
                    <a:pt x="7908" y="4076"/>
                  </a:lnTo>
                  <a:lnTo>
                    <a:pt x="7844" y="4076"/>
                  </a:lnTo>
                  <a:lnTo>
                    <a:pt x="7844" y="4140"/>
                  </a:lnTo>
                  <a:close/>
                  <a:moveTo>
                    <a:pt x="7844" y="4254"/>
                  </a:moveTo>
                  <a:lnTo>
                    <a:pt x="7908" y="4254"/>
                  </a:lnTo>
                  <a:lnTo>
                    <a:pt x="7908" y="4190"/>
                  </a:lnTo>
                  <a:lnTo>
                    <a:pt x="7844" y="4190"/>
                  </a:lnTo>
                  <a:lnTo>
                    <a:pt x="7844" y="4254"/>
                  </a:lnTo>
                  <a:close/>
                  <a:moveTo>
                    <a:pt x="7844" y="4367"/>
                  </a:moveTo>
                  <a:lnTo>
                    <a:pt x="7908" y="4367"/>
                  </a:lnTo>
                  <a:lnTo>
                    <a:pt x="7908" y="4303"/>
                  </a:lnTo>
                  <a:lnTo>
                    <a:pt x="7844" y="4303"/>
                  </a:lnTo>
                  <a:lnTo>
                    <a:pt x="7844" y="4367"/>
                  </a:lnTo>
                  <a:close/>
                  <a:moveTo>
                    <a:pt x="7844" y="4479"/>
                  </a:moveTo>
                  <a:lnTo>
                    <a:pt x="7908" y="4479"/>
                  </a:lnTo>
                  <a:lnTo>
                    <a:pt x="7908" y="4415"/>
                  </a:lnTo>
                  <a:lnTo>
                    <a:pt x="7844" y="4415"/>
                  </a:lnTo>
                  <a:lnTo>
                    <a:pt x="7844" y="4479"/>
                  </a:lnTo>
                  <a:close/>
                  <a:moveTo>
                    <a:pt x="7844" y="4593"/>
                  </a:moveTo>
                  <a:lnTo>
                    <a:pt x="7908" y="4593"/>
                  </a:lnTo>
                  <a:lnTo>
                    <a:pt x="7908" y="4528"/>
                  </a:lnTo>
                  <a:lnTo>
                    <a:pt x="7844" y="4528"/>
                  </a:lnTo>
                  <a:lnTo>
                    <a:pt x="7844" y="4593"/>
                  </a:lnTo>
                  <a:close/>
                  <a:moveTo>
                    <a:pt x="7844" y="4707"/>
                  </a:moveTo>
                  <a:lnTo>
                    <a:pt x="7908" y="4707"/>
                  </a:lnTo>
                  <a:lnTo>
                    <a:pt x="7908" y="4642"/>
                  </a:lnTo>
                  <a:lnTo>
                    <a:pt x="7844" y="4642"/>
                  </a:lnTo>
                  <a:lnTo>
                    <a:pt x="7844" y="4707"/>
                  </a:lnTo>
                  <a:close/>
                  <a:moveTo>
                    <a:pt x="7844" y="4820"/>
                  </a:moveTo>
                  <a:lnTo>
                    <a:pt x="7908" y="4820"/>
                  </a:lnTo>
                  <a:lnTo>
                    <a:pt x="7908" y="4755"/>
                  </a:lnTo>
                  <a:lnTo>
                    <a:pt x="7844" y="4755"/>
                  </a:lnTo>
                  <a:lnTo>
                    <a:pt x="7844" y="4820"/>
                  </a:lnTo>
                  <a:close/>
                  <a:moveTo>
                    <a:pt x="7844" y="4931"/>
                  </a:moveTo>
                  <a:lnTo>
                    <a:pt x="7908" y="4931"/>
                  </a:lnTo>
                  <a:lnTo>
                    <a:pt x="7908" y="4866"/>
                  </a:lnTo>
                  <a:lnTo>
                    <a:pt x="7844" y="4866"/>
                  </a:lnTo>
                  <a:lnTo>
                    <a:pt x="7844" y="4931"/>
                  </a:lnTo>
                  <a:close/>
                  <a:moveTo>
                    <a:pt x="7958" y="1420"/>
                  </a:moveTo>
                  <a:lnTo>
                    <a:pt x="8022" y="1420"/>
                  </a:lnTo>
                  <a:lnTo>
                    <a:pt x="8022" y="1357"/>
                  </a:lnTo>
                  <a:lnTo>
                    <a:pt x="7958" y="1357"/>
                  </a:lnTo>
                  <a:lnTo>
                    <a:pt x="7958" y="1420"/>
                  </a:lnTo>
                  <a:close/>
                  <a:moveTo>
                    <a:pt x="7958" y="1534"/>
                  </a:moveTo>
                  <a:lnTo>
                    <a:pt x="8022" y="1534"/>
                  </a:lnTo>
                  <a:lnTo>
                    <a:pt x="8022" y="1469"/>
                  </a:lnTo>
                  <a:lnTo>
                    <a:pt x="7958" y="1469"/>
                  </a:lnTo>
                  <a:lnTo>
                    <a:pt x="7958" y="1534"/>
                  </a:lnTo>
                  <a:close/>
                  <a:moveTo>
                    <a:pt x="7958" y="1648"/>
                  </a:moveTo>
                  <a:lnTo>
                    <a:pt x="8022" y="1648"/>
                  </a:lnTo>
                  <a:lnTo>
                    <a:pt x="8022" y="1584"/>
                  </a:lnTo>
                  <a:lnTo>
                    <a:pt x="7958" y="1584"/>
                  </a:lnTo>
                  <a:lnTo>
                    <a:pt x="7958" y="1648"/>
                  </a:lnTo>
                  <a:close/>
                  <a:moveTo>
                    <a:pt x="7958" y="1761"/>
                  </a:moveTo>
                  <a:lnTo>
                    <a:pt x="8022" y="1761"/>
                  </a:lnTo>
                  <a:lnTo>
                    <a:pt x="8022" y="1697"/>
                  </a:lnTo>
                  <a:lnTo>
                    <a:pt x="7958" y="1697"/>
                  </a:lnTo>
                  <a:lnTo>
                    <a:pt x="7958" y="1761"/>
                  </a:lnTo>
                  <a:close/>
                  <a:moveTo>
                    <a:pt x="7958" y="1878"/>
                  </a:moveTo>
                  <a:lnTo>
                    <a:pt x="8022" y="1878"/>
                  </a:lnTo>
                  <a:lnTo>
                    <a:pt x="8022" y="1814"/>
                  </a:lnTo>
                  <a:lnTo>
                    <a:pt x="7958" y="1814"/>
                  </a:lnTo>
                  <a:lnTo>
                    <a:pt x="7958" y="1878"/>
                  </a:lnTo>
                  <a:close/>
                  <a:moveTo>
                    <a:pt x="7958" y="2106"/>
                  </a:moveTo>
                  <a:lnTo>
                    <a:pt x="8022" y="2106"/>
                  </a:lnTo>
                  <a:lnTo>
                    <a:pt x="8022" y="2042"/>
                  </a:lnTo>
                  <a:lnTo>
                    <a:pt x="7958" y="2042"/>
                  </a:lnTo>
                  <a:lnTo>
                    <a:pt x="7958" y="2106"/>
                  </a:lnTo>
                  <a:close/>
                  <a:moveTo>
                    <a:pt x="7958" y="2217"/>
                  </a:moveTo>
                  <a:lnTo>
                    <a:pt x="8022" y="2217"/>
                  </a:lnTo>
                  <a:lnTo>
                    <a:pt x="8022" y="2152"/>
                  </a:lnTo>
                  <a:lnTo>
                    <a:pt x="7958" y="2152"/>
                  </a:lnTo>
                  <a:lnTo>
                    <a:pt x="7958" y="2217"/>
                  </a:lnTo>
                  <a:close/>
                  <a:moveTo>
                    <a:pt x="7958" y="2330"/>
                  </a:moveTo>
                  <a:lnTo>
                    <a:pt x="8022" y="2330"/>
                  </a:lnTo>
                  <a:lnTo>
                    <a:pt x="8022" y="2265"/>
                  </a:lnTo>
                  <a:lnTo>
                    <a:pt x="7958" y="2265"/>
                  </a:lnTo>
                  <a:lnTo>
                    <a:pt x="7958" y="2330"/>
                  </a:lnTo>
                  <a:close/>
                  <a:moveTo>
                    <a:pt x="7958" y="2444"/>
                  </a:moveTo>
                  <a:lnTo>
                    <a:pt x="8022" y="2444"/>
                  </a:lnTo>
                  <a:lnTo>
                    <a:pt x="8022" y="2380"/>
                  </a:lnTo>
                  <a:lnTo>
                    <a:pt x="7958" y="2380"/>
                  </a:lnTo>
                  <a:lnTo>
                    <a:pt x="7958" y="2444"/>
                  </a:lnTo>
                  <a:close/>
                  <a:moveTo>
                    <a:pt x="7958" y="2558"/>
                  </a:moveTo>
                  <a:lnTo>
                    <a:pt x="8022" y="2558"/>
                  </a:lnTo>
                  <a:lnTo>
                    <a:pt x="8022" y="2493"/>
                  </a:lnTo>
                  <a:lnTo>
                    <a:pt x="7958" y="2493"/>
                  </a:lnTo>
                  <a:lnTo>
                    <a:pt x="7958" y="2558"/>
                  </a:lnTo>
                  <a:close/>
                  <a:moveTo>
                    <a:pt x="7958" y="2669"/>
                  </a:moveTo>
                  <a:lnTo>
                    <a:pt x="8022" y="2669"/>
                  </a:lnTo>
                  <a:lnTo>
                    <a:pt x="8022" y="2605"/>
                  </a:lnTo>
                  <a:lnTo>
                    <a:pt x="7958" y="2605"/>
                  </a:lnTo>
                  <a:lnTo>
                    <a:pt x="7958" y="2669"/>
                  </a:lnTo>
                  <a:close/>
                  <a:moveTo>
                    <a:pt x="7958" y="2783"/>
                  </a:moveTo>
                  <a:lnTo>
                    <a:pt x="8022" y="2783"/>
                  </a:lnTo>
                  <a:lnTo>
                    <a:pt x="8022" y="2718"/>
                  </a:lnTo>
                  <a:lnTo>
                    <a:pt x="7958" y="2718"/>
                  </a:lnTo>
                  <a:lnTo>
                    <a:pt x="7958" y="2783"/>
                  </a:lnTo>
                  <a:close/>
                  <a:moveTo>
                    <a:pt x="7958" y="2897"/>
                  </a:moveTo>
                  <a:lnTo>
                    <a:pt x="8022" y="2897"/>
                  </a:lnTo>
                  <a:lnTo>
                    <a:pt x="8022" y="2832"/>
                  </a:lnTo>
                  <a:lnTo>
                    <a:pt x="7958" y="2832"/>
                  </a:lnTo>
                  <a:lnTo>
                    <a:pt x="7958" y="2897"/>
                  </a:lnTo>
                  <a:close/>
                  <a:moveTo>
                    <a:pt x="7958" y="3010"/>
                  </a:moveTo>
                  <a:lnTo>
                    <a:pt x="8022" y="3010"/>
                  </a:lnTo>
                  <a:lnTo>
                    <a:pt x="8022" y="2946"/>
                  </a:lnTo>
                  <a:lnTo>
                    <a:pt x="7958" y="2946"/>
                  </a:lnTo>
                  <a:lnTo>
                    <a:pt x="7958" y="3010"/>
                  </a:lnTo>
                  <a:close/>
                  <a:moveTo>
                    <a:pt x="7958" y="3121"/>
                  </a:moveTo>
                  <a:lnTo>
                    <a:pt x="8022" y="3121"/>
                  </a:lnTo>
                  <a:lnTo>
                    <a:pt x="8022" y="3057"/>
                  </a:lnTo>
                  <a:lnTo>
                    <a:pt x="7958" y="3057"/>
                  </a:lnTo>
                  <a:lnTo>
                    <a:pt x="7958" y="3121"/>
                  </a:lnTo>
                  <a:close/>
                  <a:moveTo>
                    <a:pt x="7958" y="3234"/>
                  </a:moveTo>
                  <a:lnTo>
                    <a:pt x="8022" y="3234"/>
                  </a:lnTo>
                  <a:lnTo>
                    <a:pt x="8022" y="3170"/>
                  </a:lnTo>
                  <a:lnTo>
                    <a:pt x="7958" y="3170"/>
                  </a:lnTo>
                  <a:lnTo>
                    <a:pt x="7958" y="3234"/>
                  </a:lnTo>
                  <a:close/>
                  <a:moveTo>
                    <a:pt x="7958" y="3349"/>
                  </a:moveTo>
                  <a:lnTo>
                    <a:pt x="8022" y="3349"/>
                  </a:lnTo>
                  <a:lnTo>
                    <a:pt x="8022" y="3284"/>
                  </a:lnTo>
                  <a:lnTo>
                    <a:pt x="7958" y="3284"/>
                  </a:lnTo>
                  <a:lnTo>
                    <a:pt x="7958" y="3349"/>
                  </a:lnTo>
                  <a:close/>
                  <a:moveTo>
                    <a:pt x="7958" y="3462"/>
                  </a:moveTo>
                  <a:lnTo>
                    <a:pt x="8022" y="3462"/>
                  </a:lnTo>
                  <a:lnTo>
                    <a:pt x="8022" y="3397"/>
                  </a:lnTo>
                  <a:lnTo>
                    <a:pt x="7958" y="3397"/>
                  </a:lnTo>
                  <a:lnTo>
                    <a:pt x="7958" y="3462"/>
                  </a:lnTo>
                  <a:close/>
                  <a:moveTo>
                    <a:pt x="7958" y="3575"/>
                  </a:moveTo>
                  <a:lnTo>
                    <a:pt x="8022" y="3575"/>
                  </a:lnTo>
                  <a:lnTo>
                    <a:pt x="8022" y="3510"/>
                  </a:lnTo>
                  <a:lnTo>
                    <a:pt x="7958" y="3510"/>
                  </a:lnTo>
                  <a:lnTo>
                    <a:pt x="7958" y="3575"/>
                  </a:lnTo>
                  <a:close/>
                  <a:moveTo>
                    <a:pt x="7958" y="3688"/>
                  </a:moveTo>
                  <a:lnTo>
                    <a:pt x="8022" y="3688"/>
                  </a:lnTo>
                  <a:lnTo>
                    <a:pt x="8022" y="3624"/>
                  </a:lnTo>
                  <a:lnTo>
                    <a:pt x="7958" y="3624"/>
                  </a:lnTo>
                  <a:lnTo>
                    <a:pt x="7958" y="3688"/>
                  </a:lnTo>
                  <a:close/>
                  <a:moveTo>
                    <a:pt x="7958" y="3802"/>
                  </a:moveTo>
                  <a:lnTo>
                    <a:pt x="8022" y="3802"/>
                  </a:lnTo>
                  <a:lnTo>
                    <a:pt x="8022" y="3738"/>
                  </a:lnTo>
                  <a:lnTo>
                    <a:pt x="7958" y="3738"/>
                  </a:lnTo>
                  <a:lnTo>
                    <a:pt x="7958" y="3802"/>
                  </a:lnTo>
                  <a:close/>
                  <a:moveTo>
                    <a:pt x="7958" y="3916"/>
                  </a:moveTo>
                  <a:lnTo>
                    <a:pt x="8022" y="3916"/>
                  </a:lnTo>
                  <a:lnTo>
                    <a:pt x="8022" y="3851"/>
                  </a:lnTo>
                  <a:lnTo>
                    <a:pt x="7958" y="3851"/>
                  </a:lnTo>
                  <a:lnTo>
                    <a:pt x="7958" y="3916"/>
                  </a:lnTo>
                  <a:close/>
                  <a:moveTo>
                    <a:pt x="7958" y="4026"/>
                  </a:moveTo>
                  <a:lnTo>
                    <a:pt x="8022" y="4026"/>
                  </a:lnTo>
                  <a:lnTo>
                    <a:pt x="8022" y="3962"/>
                  </a:lnTo>
                  <a:lnTo>
                    <a:pt x="7958" y="3962"/>
                  </a:lnTo>
                  <a:lnTo>
                    <a:pt x="7958" y="4026"/>
                  </a:lnTo>
                  <a:close/>
                  <a:moveTo>
                    <a:pt x="7958" y="4140"/>
                  </a:moveTo>
                  <a:lnTo>
                    <a:pt x="8022" y="4140"/>
                  </a:lnTo>
                  <a:lnTo>
                    <a:pt x="8022" y="4076"/>
                  </a:lnTo>
                  <a:lnTo>
                    <a:pt x="7958" y="4076"/>
                  </a:lnTo>
                  <a:lnTo>
                    <a:pt x="7958" y="4140"/>
                  </a:lnTo>
                  <a:close/>
                  <a:moveTo>
                    <a:pt x="7958" y="4254"/>
                  </a:moveTo>
                  <a:lnTo>
                    <a:pt x="8022" y="4254"/>
                  </a:lnTo>
                  <a:lnTo>
                    <a:pt x="8022" y="4190"/>
                  </a:lnTo>
                  <a:lnTo>
                    <a:pt x="7958" y="4190"/>
                  </a:lnTo>
                  <a:lnTo>
                    <a:pt x="7958" y="4254"/>
                  </a:lnTo>
                  <a:close/>
                  <a:moveTo>
                    <a:pt x="7958" y="4367"/>
                  </a:moveTo>
                  <a:lnTo>
                    <a:pt x="8022" y="4367"/>
                  </a:lnTo>
                  <a:lnTo>
                    <a:pt x="8022" y="4303"/>
                  </a:lnTo>
                  <a:lnTo>
                    <a:pt x="7958" y="4303"/>
                  </a:lnTo>
                  <a:lnTo>
                    <a:pt x="7958" y="4367"/>
                  </a:lnTo>
                  <a:close/>
                  <a:moveTo>
                    <a:pt x="7958" y="4479"/>
                  </a:moveTo>
                  <a:lnTo>
                    <a:pt x="8022" y="4479"/>
                  </a:lnTo>
                  <a:lnTo>
                    <a:pt x="8022" y="4415"/>
                  </a:lnTo>
                  <a:lnTo>
                    <a:pt x="7958" y="4415"/>
                  </a:lnTo>
                  <a:lnTo>
                    <a:pt x="7958" y="4479"/>
                  </a:lnTo>
                  <a:close/>
                  <a:moveTo>
                    <a:pt x="7958" y="4593"/>
                  </a:moveTo>
                  <a:lnTo>
                    <a:pt x="8022" y="4593"/>
                  </a:lnTo>
                  <a:lnTo>
                    <a:pt x="8022" y="4528"/>
                  </a:lnTo>
                  <a:lnTo>
                    <a:pt x="7958" y="4528"/>
                  </a:lnTo>
                  <a:lnTo>
                    <a:pt x="7958" y="4593"/>
                  </a:lnTo>
                  <a:close/>
                  <a:moveTo>
                    <a:pt x="8070" y="1309"/>
                  </a:moveTo>
                  <a:lnTo>
                    <a:pt x="8134" y="1309"/>
                  </a:lnTo>
                  <a:lnTo>
                    <a:pt x="8134" y="1245"/>
                  </a:lnTo>
                  <a:lnTo>
                    <a:pt x="8070" y="1245"/>
                  </a:lnTo>
                  <a:lnTo>
                    <a:pt x="8070" y="1309"/>
                  </a:lnTo>
                  <a:close/>
                  <a:moveTo>
                    <a:pt x="8070" y="1420"/>
                  </a:moveTo>
                  <a:lnTo>
                    <a:pt x="8134" y="1420"/>
                  </a:lnTo>
                  <a:lnTo>
                    <a:pt x="8134" y="1357"/>
                  </a:lnTo>
                  <a:lnTo>
                    <a:pt x="8070" y="1357"/>
                  </a:lnTo>
                  <a:lnTo>
                    <a:pt x="8070" y="1420"/>
                  </a:lnTo>
                  <a:close/>
                  <a:moveTo>
                    <a:pt x="8070" y="1534"/>
                  </a:moveTo>
                  <a:lnTo>
                    <a:pt x="8134" y="1534"/>
                  </a:lnTo>
                  <a:lnTo>
                    <a:pt x="8134" y="1469"/>
                  </a:lnTo>
                  <a:lnTo>
                    <a:pt x="8070" y="1469"/>
                  </a:lnTo>
                  <a:lnTo>
                    <a:pt x="8070" y="1534"/>
                  </a:lnTo>
                  <a:close/>
                  <a:moveTo>
                    <a:pt x="8070" y="1878"/>
                  </a:moveTo>
                  <a:lnTo>
                    <a:pt x="8134" y="1878"/>
                  </a:lnTo>
                  <a:lnTo>
                    <a:pt x="8134" y="1814"/>
                  </a:lnTo>
                  <a:lnTo>
                    <a:pt x="8070" y="1814"/>
                  </a:lnTo>
                  <a:lnTo>
                    <a:pt x="8070" y="1878"/>
                  </a:lnTo>
                  <a:close/>
                  <a:moveTo>
                    <a:pt x="8070" y="2106"/>
                  </a:moveTo>
                  <a:lnTo>
                    <a:pt x="8134" y="2106"/>
                  </a:lnTo>
                  <a:lnTo>
                    <a:pt x="8134" y="2042"/>
                  </a:lnTo>
                  <a:lnTo>
                    <a:pt x="8070" y="2042"/>
                  </a:lnTo>
                  <a:lnTo>
                    <a:pt x="8070" y="2106"/>
                  </a:lnTo>
                  <a:close/>
                  <a:moveTo>
                    <a:pt x="8070" y="2217"/>
                  </a:moveTo>
                  <a:lnTo>
                    <a:pt x="8134" y="2217"/>
                  </a:lnTo>
                  <a:lnTo>
                    <a:pt x="8134" y="2152"/>
                  </a:lnTo>
                  <a:lnTo>
                    <a:pt x="8070" y="2152"/>
                  </a:lnTo>
                  <a:lnTo>
                    <a:pt x="8070" y="2217"/>
                  </a:lnTo>
                  <a:close/>
                  <a:moveTo>
                    <a:pt x="8070" y="2330"/>
                  </a:moveTo>
                  <a:lnTo>
                    <a:pt x="8134" y="2330"/>
                  </a:lnTo>
                  <a:lnTo>
                    <a:pt x="8134" y="2265"/>
                  </a:lnTo>
                  <a:lnTo>
                    <a:pt x="8070" y="2265"/>
                  </a:lnTo>
                  <a:lnTo>
                    <a:pt x="8070" y="2330"/>
                  </a:lnTo>
                  <a:close/>
                  <a:moveTo>
                    <a:pt x="8070" y="2444"/>
                  </a:moveTo>
                  <a:lnTo>
                    <a:pt x="8134" y="2444"/>
                  </a:lnTo>
                  <a:lnTo>
                    <a:pt x="8134" y="2380"/>
                  </a:lnTo>
                  <a:lnTo>
                    <a:pt x="8070" y="2380"/>
                  </a:lnTo>
                  <a:lnTo>
                    <a:pt x="8070" y="2444"/>
                  </a:lnTo>
                  <a:close/>
                  <a:moveTo>
                    <a:pt x="8070" y="2558"/>
                  </a:moveTo>
                  <a:lnTo>
                    <a:pt x="8134" y="2558"/>
                  </a:lnTo>
                  <a:lnTo>
                    <a:pt x="8134" y="2493"/>
                  </a:lnTo>
                  <a:lnTo>
                    <a:pt x="8070" y="2493"/>
                  </a:lnTo>
                  <a:lnTo>
                    <a:pt x="8070" y="2558"/>
                  </a:lnTo>
                  <a:close/>
                  <a:moveTo>
                    <a:pt x="8070" y="2669"/>
                  </a:moveTo>
                  <a:lnTo>
                    <a:pt x="8134" y="2669"/>
                  </a:lnTo>
                  <a:lnTo>
                    <a:pt x="8134" y="2605"/>
                  </a:lnTo>
                  <a:lnTo>
                    <a:pt x="8070" y="2605"/>
                  </a:lnTo>
                  <a:lnTo>
                    <a:pt x="8070" y="2669"/>
                  </a:lnTo>
                  <a:close/>
                  <a:moveTo>
                    <a:pt x="8070" y="2783"/>
                  </a:moveTo>
                  <a:lnTo>
                    <a:pt x="8134" y="2783"/>
                  </a:lnTo>
                  <a:lnTo>
                    <a:pt x="8134" y="2718"/>
                  </a:lnTo>
                  <a:lnTo>
                    <a:pt x="8070" y="2718"/>
                  </a:lnTo>
                  <a:lnTo>
                    <a:pt x="8070" y="2783"/>
                  </a:lnTo>
                  <a:close/>
                  <a:moveTo>
                    <a:pt x="8070" y="2897"/>
                  </a:moveTo>
                  <a:lnTo>
                    <a:pt x="8134" y="2897"/>
                  </a:lnTo>
                  <a:lnTo>
                    <a:pt x="8134" y="2832"/>
                  </a:lnTo>
                  <a:lnTo>
                    <a:pt x="8070" y="2832"/>
                  </a:lnTo>
                  <a:lnTo>
                    <a:pt x="8070" y="2897"/>
                  </a:lnTo>
                  <a:close/>
                  <a:moveTo>
                    <a:pt x="8070" y="3010"/>
                  </a:moveTo>
                  <a:lnTo>
                    <a:pt x="8134" y="3010"/>
                  </a:lnTo>
                  <a:lnTo>
                    <a:pt x="8134" y="2946"/>
                  </a:lnTo>
                  <a:lnTo>
                    <a:pt x="8070" y="2946"/>
                  </a:lnTo>
                  <a:lnTo>
                    <a:pt x="8070" y="3010"/>
                  </a:lnTo>
                  <a:close/>
                  <a:moveTo>
                    <a:pt x="8070" y="3121"/>
                  </a:moveTo>
                  <a:lnTo>
                    <a:pt x="8134" y="3121"/>
                  </a:lnTo>
                  <a:lnTo>
                    <a:pt x="8134" y="3057"/>
                  </a:lnTo>
                  <a:lnTo>
                    <a:pt x="8070" y="3057"/>
                  </a:lnTo>
                  <a:lnTo>
                    <a:pt x="8070" y="3121"/>
                  </a:lnTo>
                  <a:close/>
                  <a:moveTo>
                    <a:pt x="8070" y="3234"/>
                  </a:moveTo>
                  <a:lnTo>
                    <a:pt x="8134" y="3234"/>
                  </a:lnTo>
                  <a:lnTo>
                    <a:pt x="8134" y="3170"/>
                  </a:lnTo>
                  <a:lnTo>
                    <a:pt x="8070" y="3170"/>
                  </a:lnTo>
                  <a:lnTo>
                    <a:pt x="8070" y="3234"/>
                  </a:lnTo>
                  <a:close/>
                  <a:moveTo>
                    <a:pt x="8070" y="3349"/>
                  </a:moveTo>
                  <a:lnTo>
                    <a:pt x="8134" y="3349"/>
                  </a:lnTo>
                  <a:lnTo>
                    <a:pt x="8134" y="3284"/>
                  </a:lnTo>
                  <a:lnTo>
                    <a:pt x="8070" y="3284"/>
                  </a:lnTo>
                  <a:lnTo>
                    <a:pt x="8070" y="3349"/>
                  </a:lnTo>
                  <a:close/>
                  <a:moveTo>
                    <a:pt x="8070" y="3462"/>
                  </a:moveTo>
                  <a:lnTo>
                    <a:pt x="8134" y="3462"/>
                  </a:lnTo>
                  <a:lnTo>
                    <a:pt x="8134" y="3397"/>
                  </a:lnTo>
                  <a:lnTo>
                    <a:pt x="8070" y="3397"/>
                  </a:lnTo>
                  <a:lnTo>
                    <a:pt x="8070" y="3462"/>
                  </a:lnTo>
                  <a:close/>
                  <a:moveTo>
                    <a:pt x="8070" y="3575"/>
                  </a:moveTo>
                  <a:lnTo>
                    <a:pt x="8134" y="3575"/>
                  </a:lnTo>
                  <a:lnTo>
                    <a:pt x="8134" y="3510"/>
                  </a:lnTo>
                  <a:lnTo>
                    <a:pt x="8070" y="3510"/>
                  </a:lnTo>
                  <a:lnTo>
                    <a:pt x="8070" y="3575"/>
                  </a:lnTo>
                  <a:close/>
                  <a:moveTo>
                    <a:pt x="8070" y="3688"/>
                  </a:moveTo>
                  <a:lnTo>
                    <a:pt x="8134" y="3688"/>
                  </a:lnTo>
                  <a:lnTo>
                    <a:pt x="8134" y="3624"/>
                  </a:lnTo>
                  <a:lnTo>
                    <a:pt x="8070" y="3624"/>
                  </a:lnTo>
                  <a:lnTo>
                    <a:pt x="8070" y="3688"/>
                  </a:lnTo>
                  <a:close/>
                  <a:moveTo>
                    <a:pt x="8070" y="3802"/>
                  </a:moveTo>
                  <a:lnTo>
                    <a:pt x="8134" y="3802"/>
                  </a:lnTo>
                  <a:lnTo>
                    <a:pt x="8134" y="3738"/>
                  </a:lnTo>
                  <a:lnTo>
                    <a:pt x="8070" y="3738"/>
                  </a:lnTo>
                  <a:lnTo>
                    <a:pt x="8070" y="3802"/>
                  </a:lnTo>
                  <a:close/>
                  <a:moveTo>
                    <a:pt x="8070" y="3916"/>
                  </a:moveTo>
                  <a:lnTo>
                    <a:pt x="8134" y="3916"/>
                  </a:lnTo>
                  <a:lnTo>
                    <a:pt x="8134" y="3851"/>
                  </a:lnTo>
                  <a:lnTo>
                    <a:pt x="8070" y="3851"/>
                  </a:lnTo>
                  <a:lnTo>
                    <a:pt x="8070" y="3916"/>
                  </a:lnTo>
                  <a:close/>
                  <a:moveTo>
                    <a:pt x="8070" y="4026"/>
                  </a:moveTo>
                  <a:lnTo>
                    <a:pt x="8134" y="4026"/>
                  </a:lnTo>
                  <a:lnTo>
                    <a:pt x="8134" y="3962"/>
                  </a:lnTo>
                  <a:lnTo>
                    <a:pt x="8070" y="3962"/>
                  </a:lnTo>
                  <a:lnTo>
                    <a:pt x="8070" y="4026"/>
                  </a:lnTo>
                  <a:close/>
                  <a:moveTo>
                    <a:pt x="8070" y="4140"/>
                  </a:moveTo>
                  <a:lnTo>
                    <a:pt x="8134" y="4140"/>
                  </a:lnTo>
                  <a:lnTo>
                    <a:pt x="8134" y="4076"/>
                  </a:lnTo>
                  <a:lnTo>
                    <a:pt x="8070" y="4076"/>
                  </a:lnTo>
                  <a:lnTo>
                    <a:pt x="8070" y="4140"/>
                  </a:lnTo>
                  <a:close/>
                  <a:moveTo>
                    <a:pt x="8070" y="4254"/>
                  </a:moveTo>
                  <a:lnTo>
                    <a:pt x="8134" y="4254"/>
                  </a:lnTo>
                  <a:lnTo>
                    <a:pt x="8134" y="4190"/>
                  </a:lnTo>
                  <a:lnTo>
                    <a:pt x="8070" y="4190"/>
                  </a:lnTo>
                  <a:lnTo>
                    <a:pt x="8070" y="4254"/>
                  </a:lnTo>
                  <a:close/>
                  <a:moveTo>
                    <a:pt x="8070" y="4367"/>
                  </a:moveTo>
                  <a:lnTo>
                    <a:pt x="8134" y="4367"/>
                  </a:lnTo>
                  <a:lnTo>
                    <a:pt x="8134" y="4303"/>
                  </a:lnTo>
                  <a:lnTo>
                    <a:pt x="8070" y="4303"/>
                  </a:lnTo>
                  <a:lnTo>
                    <a:pt x="8070" y="4367"/>
                  </a:lnTo>
                  <a:close/>
                  <a:moveTo>
                    <a:pt x="8070" y="4479"/>
                  </a:moveTo>
                  <a:lnTo>
                    <a:pt x="8134" y="4479"/>
                  </a:lnTo>
                  <a:lnTo>
                    <a:pt x="8134" y="4415"/>
                  </a:lnTo>
                  <a:lnTo>
                    <a:pt x="8070" y="4415"/>
                  </a:lnTo>
                  <a:lnTo>
                    <a:pt x="8070" y="4479"/>
                  </a:lnTo>
                  <a:close/>
                  <a:moveTo>
                    <a:pt x="8070" y="4593"/>
                  </a:moveTo>
                  <a:lnTo>
                    <a:pt x="8134" y="4593"/>
                  </a:lnTo>
                  <a:lnTo>
                    <a:pt x="8134" y="4528"/>
                  </a:lnTo>
                  <a:lnTo>
                    <a:pt x="8070" y="4528"/>
                  </a:lnTo>
                  <a:lnTo>
                    <a:pt x="8070" y="4593"/>
                  </a:lnTo>
                  <a:close/>
                  <a:moveTo>
                    <a:pt x="8184" y="1197"/>
                  </a:moveTo>
                  <a:lnTo>
                    <a:pt x="8248" y="1197"/>
                  </a:lnTo>
                  <a:lnTo>
                    <a:pt x="8248" y="1132"/>
                  </a:lnTo>
                  <a:lnTo>
                    <a:pt x="8184" y="1132"/>
                  </a:lnTo>
                  <a:lnTo>
                    <a:pt x="8184" y="1197"/>
                  </a:lnTo>
                  <a:close/>
                  <a:moveTo>
                    <a:pt x="8184" y="1309"/>
                  </a:moveTo>
                  <a:lnTo>
                    <a:pt x="8248" y="1309"/>
                  </a:lnTo>
                  <a:lnTo>
                    <a:pt x="8248" y="1245"/>
                  </a:lnTo>
                  <a:lnTo>
                    <a:pt x="8184" y="1245"/>
                  </a:lnTo>
                  <a:lnTo>
                    <a:pt x="8184" y="1309"/>
                  </a:lnTo>
                  <a:close/>
                  <a:moveTo>
                    <a:pt x="8184" y="1992"/>
                  </a:moveTo>
                  <a:lnTo>
                    <a:pt x="8248" y="1992"/>
                  </a:lnTo>
                  <a:lnTo>
                    <a:pt x="8248" y="1928"/>
                  </a:lnTo>
                  <a:lnTo>
                    <a:pt x="8184" y="1928"/>
                  </a:lnTo>
                  <a:lnTo>
                    <a:pt x="8184" y="1992"/>
                  </a:lnTo>
                  <a:close/>
                  <a:moveTo>
                    <a:pt x="8184" y="2106"/>
                  </a:moveTo>
                  <a:lnTo>
                    <a:pt x="8248" y="2106"/>
                  </a:lnTo>
                  <a:lnTo>
                    <a:pt x="8248" y="2042"/>
                  </a:lnTo>
                  <a:lnTo>
                    <a:pt x="8184" y="2042"/>
                  </a:lnTo>
                  <a:lnTo>
                    <a:pt x="8184" y="2106"/>
                  </a:lnTo>
                  <a:close/>
                  <a:moveTo>
                    <a:pt x="8184" y="2217"/>
                  </a:moveTo>
                  <a:lnTo>
                    <a:pt x="8248" y="2217"/>
                  </a:lnTo>
                  <a:lnTo>
                    <a:pt x="8248" y="2152"/>
                  </a:lnTo>
                  <a:lnTo>
                    <a:pt x="8184" y="2152"/>
                  </a:lnTo>
                  <a:lnTo>
                    <a:pt x="8184" y="2217"/>
                  </a:lnTo>
                  <a:close/>
                  <a:moveTo>
                    <a:pt x="8184" y="2330"/>
                  </a:moveTo>
                  <a:lnTo>
                    <a:pt x="8248" y="2330"/>
                  </a:lnTo>
                  <a:lnTo>
                    <a:pt x="8248" y="2265"/>
                  </a:lnTo>
                  <a:lnTo>
                    <a:pt x="8184" y="2265"/>
                  </a:lnTo>
                  <a:lnTo>
                    <a:pt x="8184" y="2330"/>
                  </a:lnTo>
                  <a:close/>
                  <a:moveTo>
                    <a:pt x="8184" y="2444"/>
                  </a:moveTo>
                  <a:lnTo>
                    <a:pt x="8248" y="2444"/>
                  </a:lnTo>
                  <a:lnTo>
                    <a:pt x="8248" y="2380"/>
                  </a:lnTo>
                  <a:lnTo>
                    <a:pt x="8184" y="2380"/>
                  </a:lnTo>
                  <a:lnTo>
                    <a:pt x="8184" y="2444"/>
                  </a:lnTo>
                  <a:close/>
                  <a:moveTo>
                    <a:pt x="8184" y="2558"/>
                  </a:moveTo>
                  <a:lnTo>
                    <a:pt x="8248" y="2558"/>
                  </a:lnTo>
                  <a:lnTo>
                    <a:pt x="8248" y="2493"/>
                  </a:lnTo>
                  <a:lnTo>
                    <a:pt x="8184" y="2493"/>
                  </a:lnTo>
                  <a:lnTo>
                    <a:pt x="8184" y="2558"/>
                  </a:lnTo>
                  <a:close/>
                  <a:moveTo>
                    <a:pt x="8184" y="2669"/>
                  </a:moveTo>
                  <a:lnTo>
                    <a:pt x="8248" y="2669"/>
                  </a:lnTo>
                  <a:lnTo>
                    <a:pt x="8248" y="2605"/>
                  </a:lnTo>
                  <a:lnTo>
                    <a:pt x="8184" y="2605"/>
                  </a:lnTo>
                  <a:lnTo>
                    <a:pt x="8184" y="2669"/>
                  </a:lnTo>
                  <a:close/>
                  <a:moveTo>
                    <a:pt x="8184" y="2783"/>
                  </a:moveTo>
                  <a:lnTo>
                    <a:pt x="8248" y="2783"/>
                  </a:lnTo>
                  <a:lnTo>
                    <a:pt x="8248" y="2718"/>
                  </a:lnTo>
                  <a:lnTo>
                    <a:pt x="8184" y="2718"/>
                  </a:lnTo>
                  <a:lnTo>
                    <a:pt x="8184" y="2783"/>
                  </a:lnTo>
                  <a:close/>
                  <a:moveTo>
                    <a:pt x="8184" y="2897"/>
                  </a:moveTo>
                  <a:lnTo>
                    <a:pt x="8248" y="2897"/>
                  </a:lnTo>
                  <a:lnTo>
                    <a:pt x="8248" y="2832"/>
                  </a:lnTo>
                  <a:lnTo>
                    <a:pt x="8184" y="2832"/>
                  </a:lnTo>
                  <a:lnTo>
                    <a:pt x="8184" y="2897"/>
                  </a:lnTo>
                  <a:close/>
                  <a:moveTo>
                    <a:pt x="8184" y="3010"/>
                  </a:moveTo>
                  <a:lnTo>
                    <a:pt x="8248" y="3010"/>
                  </a:lnTo>
                  <a:lnTo>
                    <a:pt x="8248" y="2946"/>
                  </a:lnTo>
                  <a:lnTo>
                    <a:pt x="8184" y="2946"/>
                  </a:lnTo>
                  <a:lnTo>
                    <a:pt x="8184" y="3010"/>
                  </a:lnTo>
                  <a:close/>
                  <a:moveTo>
                    <a:pt x="8184" y="3121"/>
                  </a:moveTo>
                  <a:lnTo>
                    <a:pt x="8248" y="3121"/>
                  </a:lnTo>
                  <a:lnTo>
                    <a:pt x="8248" y="3057"/>
                  </a:lnTo>
                  <a:lnTo>
                    <a:pt x="8184" y="3057"/>
                  </a:lnTo>
                  <a:lnTo>
                    <a:pt x="8184" y="3121"/>
                  </a:lnTo>
                  <a:close/>
                  <a:moveTo>
                    <a:pt x="8184" y="3234"/>
                  </a:moveTo>
                  <a:lnTo>
                    <a:pt x="8248" y="3234"/>
                  </a:lnTo>
                  <a:lnTo>
                    <a:pt x="8248" y="3170"/>
                  </a:lnTo>
                  <a:lnTo>
                    <a:pt x="8184" y="3170"/>
                  </a:lnTo>
                  <a:lnTo>
                    <a:pt x="8184" y="3234"/>
                  </a:lnTo>
                  <a:close/>
                  <a:moveTo>
                    <a:pt x="8184" y="3349"/>
                  </a:moveTo>
                  <a:lnTo>
                    <a:pt x="8248" y="3349"/>
                  </a:lnTo>
                  <a:lnTo>
                    <a:pt x="8248" y="3284"/>
                  </a:lnTo>
                  <a:lnTo>
                    <a:pt x="8184" y="3284"/>
                  </a:lnTo>
                  <a:lnTo>
                    <a:pt x="8184" y="3349"/>
                  </a:lnTo>
                  <a:close/>
                  <a:moveTo>
                    <a:pt x="8184" y="3462"/>
                  </a:moveTo>
                  <a:lnTo>
                    <a:pt x="8248" y="3462"/>
                  </a:lnTo>
                  <a:lnTo>
                    <a:pt x="8248" y="3397"/>
                  </a:lnTo>
                  <a:lnTo>
                    <a:pt x="8184" y="3397"/>
                  </a:lnTo>
                  <a:lnTo>
                    <a:pt x="8184" y="3462"/>
                  </a:lnTo>
                  <a:close/>
                  <a:moveTo>
                    <a:pt x="8184" y="3575"/>
                  </a:moveTo>
                  <a:lnTo>
                    <a:pt x="8248" y="3575"/>
                  </a:lnTo>
                  <a:lnTo>
                    <a:pt x="8248" y="3510"/>
                  </a:lnTo>
                  <a:lnTo>
                    <a:pt x="8184" y="3510"/>
                  </a:lnTo>
                  <a:lnTo>
                    <a:pt x="8184" y="3575"/>
                  </a:lnTo>
                  <a:close/>
                  <a:moveTo>
                    <a:pt x="8184" y="3688"/>
                  </a:moveTo>
                  <a:lnTo>
                    <a:pt x="8248" y="3688"/>
                  </a:lnTo>
                  <a:lnTo>
                    <a:pt x="8248" y="3624"/>
                  </a:lnTo>
                  <a:lnTo>
                    <a:pt x="8184" y="3624"/>
                  </a:lnTo>
                  <a:lnTo>
                    <a:pt x="8184" y="3688"/>
                  </a:lnTo>
                  <a:close/>
                  <a:moveTo>
                    <a:pt x="8184" y="3802"/>
                  </a:moveTo>
                  <a:lnTo>
                    <a:pt x="8248" y="3802"/>
                  </a:lnTo>
                  <a:lnTo>
                    <a:pt x="8248" y="3738"/>
                  </a:lnTo>
                  <a:lnTo>
                    <a:pt x="8184" y="3738"/>
                  </a:lnTo>
                  <a:lnTo>
                    <a:pt x="8184" y="3802"/>
                  </a:lnTo>
                  <a:close/>
                  <a:moveTo>
                    <a:pt x="8184" y="3916"/>
                  </a:moveTo>
                  <a:lnTo>
                    <a:pt x="8248" y="3916"/>
                  </a:lnTo>
                  <a:lnTo>
                    <a:pt x="8248" y="3851"/>
                  </a:lnTo>
                  <a:lnTo>
                    <a:pt x="8184" y="3851"/>
                  </a:lnTo>
                  <a:lnTo>
                    <a:pt x="8184" y="3916"/>
                  </a:lnTo>
                  <a:close/>
                  <a:moveTo>
                    <a:pt x="8184" y="4026"/>
                  </a:moveTo>
                  <a:lnTo>
                    <a:pt x="8248" y="4026"/>
                  </a:lnTo>
                  <a:lnTo>
                    <a:pt x="8248" y="3962"/>
                  </a:lnTo>
                  <a:lnTo>
                    <a:pt x="8184" y="3962"/>
                  </a:lnTo>
                  <a:lnTo>
                    <a:pt x="8184" y="4026"/>
                  </a:lnTo>
                  <a:close/>
                  <a:moveTo>
                    <a:pt x="8184" y="4140"/>
                  </a:moveTo>
                  <a:lnTo>
                    <a:pt x="8248" y="4140"/>
                  </a:lnTo>
                  <a:lnTo>
                    <a:pt x="8248" y="4076"/>
                  </a:lnTo>
                  <a:lnTo>
                    <a:pt x="8184" y="4076"/>
                  </a:lnTo>
                  <a:lnTo>
                    <a:pt x="8184" y="4140"/>
                  </a:lnTo>
                  <a:close/>
                  <a:moveTo>
                    <a:pt x="8184" y="4254"/>
                  </a:moveTo>
                  <a:lnTo>
                    <a:pt x="8248" y="4254"/>
                  </a:lnTo>
                  <a:lnTo>
                    <a:pt x="8248" y="4190"/>
                  </a:lnTo>
                  <a:lnTo>
                    <a:pt x="8184" y="4190"/>
                  </a:lnTo>
                  <a:lnTo>
                    <a:pt x="8184" y="4254"/>
                  </a:lnTo>
                  <a:close/>
                  <a:moveTo>
                    <a:pt x="8184" y="4367"/>
                  </a:moveTo>
                  <a:lnTo>
                    <a:pt x="8248" y="4367"/>
                  </a:lnTo>
                  <a:lnTo>
                    <a:pt x="8248" y="4303"/>
                  </a:lnTo>
                  <a:lnTo>
                    <a:pt x="8184" y="4303"/>
                  </a:lnTo>
                  <a:lnTo>
                    <a:pt x="8184" y="4367"/>
                  </a:lnTo>
                  <a:close/>
                  <a:moveTo>
                    <a:pt x="8299" y="1084"/>
                  </a:moveTo>
                  <a:lnTo>
                    <a:pt x="8363" y="1084"/>
                  </a:lnTo>
                  <a:lnTo>
                    <a:pt x="8363" y="1020"/>
                  </a:lnTo>
                  <a:lnTo>
                    <a:pt x="8299" y="1020"/>
                  </a:lnTo>
                  <a:lnTo>
                    <a:pt x="8299" y="1084"/>
                  </a:lnTo>
                  <a:close/>
                  <a:moveTo>
                    <a:pt x="8299" y="1198"/>
                  </a:moveTo>
                  <a:lnTo>
                    <a:pt x="8363" y="1198"/>
                  </a:lnTo>
                  <a:lnTo>
                    <a:pt x="8363" y="1133"/>
                  </a:lnTo>
                  <a:lnTo>
                    <a:pt x="8299" y="1133"/>
                  </a:lnTo>
                  <a:lnTo>
                    <a:pt x="8299" y="1198"/>
                  </a:lnTo>
                  <a:close/>
                  <a:moveTo>
                    <a:pt x="8413" y="1084"/>
                  </a:moveTo>
                  <a:lnTo>
                    <a:pt x="8477" y="1084"/>
                  </a:lnTo>
                  <a:lnTo>
                    <a:pt x="8477" y="1020"/>
                  </a:lnTo>
                  <a:lnTo>
                    <a:pt x="8413" y="1020"/>
                  </a:lnTo>
                  <a:lnTo>
                    <a:pt x="8413" y="1084"/>
                  </a:lnTo>
                  <a:close/>
                  <a:moveTo>
                    <a:pt x="8413" y="4367"/>
                  </a:moveTo>
                  <a:lnTo>
                    <a:pt x="8477" y="4367"/>
                  </a:lnTo>
                  <a:lnTo>
                    <a:pt x="8477" y="4302"/>
                  </a:lnTo>
                  <a:lnTo>
                    <a:pt x="8413" y="4302"/>
                  </a:lnTo>
                  <a:lnTo>
                    <a:pt x="8413" y="4367"/>
                  </a:lnTo>
                  <a:close/>
                  <a:moveTo>
                    <a:pt x="8526" y="4255"/>
                  </a:moveTo>
                  <a:lnTo>
                    <a:pt x="8590" y="4255"/>
                  </a:lnTo>
                  <a:lnTo>
                    <a:pt x="8590" y="4191"/>
                  </a:lnTo>
                  <a:lnTo>
                    <a:pt x="8526" y="4191"/>
                  </a:lnTo>
                  <a:lnTo>
                    <a:pt x="8526" y="4255"/>
                  </a:lnTo>
                  <a:close/>
                  <a:moveTo>
                    <a:pt x="8526" y="4367"/>
                  </a:moveTo>
                  <a:lnTo>
                    <a:pt x="8590" y="4367"/>
                  </a:lnTo>
                  <a:lnTo>
                    <a:pt x="8590" y="4302"/>
                  </a:lnTo>
                  <a:lnTo>
                    <a:pt x="8526" y="4302"/>
                  </a:lnTo>
                  <a:lnTo>
                    <a:pt x="8526" y="4367"/>
                  </a:lnTo>
                  <a:close/>
                  <a:moveTo>
                    <a:pt x="8526" y="4480"/>
                  </a:moveTo>
                  <a:lnTo>
                    <a:pt x="8590" y="4480"/>
                  </a:lnTo>
                  <a:lnTo>
                    <a:pt x="8590" y="4416"/>
                  </a:lnTo>
                  <a:lnTo>
                    <a:pt x="8526" y="4416"/>
                  </a:lnTo>
                  <a:lnTo>
                    <a:pt x="8526" y="4480"/>
                  </a:lnTo>
                  <a:close/>
                  <a:moveTo>
                    <a:pt x="8526" y="4595"/>
                  </a:moveTo>
                  <a:lnTo>
                    <a:pt x="8590" y="4595"/>
                  </a:lnTo>
                  <a:lnTo>
                    <a:pt x="8590" y="4530"/>
                  </a:lnTo>
                  <a:lnTo>
                    <a:pt x="8526" y="4530"/>
                  </a:lnTo>
                  <a:lnTo>
                    <a:pt x="8526" y="4595"/>
                  </a:lnTo>
                  <a:close/>
                  <a:moveTo>
                    <a:pt x="8639" y="4028"/>
                  </a:moveTo>
                  <a:lnTo>
                    <a:pt x="8704" y="4028"/>
                  </a:lnTo>
                  <a:lnTo>
                    <a:pt x="8704" y="3963"/>
                  </a:lnTo>
                  <a:lnTo>
                    <a:pt x="8639" y="3963"/>
                  </a:lnTo>
                  <a:lnTo>
                    <a:pt x="8639" y="4028"/>
                  </a:lnTo>
                  <a:close/>
                  <a:moveTo>
                    <a:pt x="8639" y="4142"/>
                  </a:moveTo>
                  <a:lnTo>
                    <a:pt x="8704" y="4142"/>
                  </a:lnTo>
                  <a:lnTo>
                    <a:pt x="8704" y="4077"/>
                  </a:lnTo>
                  <a:lnTo>
                    <a:pt x="8639" y="4077"/>
                  </a:lnTo>
                  <a:lnTo>
                    <a:pt x="8639" y="4142"/>
                  </a:lnTo>
                  <a:close/>
                  <a:moveTo>
                    <a:pt x="8639" y="4255"/>
                  </a:moveTo>
                  <a:lnTo>
                    <a:pt x="8704" y="4255"/>
                  </a:lnTo>
                  <a:lnTo>
                    <a:pt x="8704" y="4191"/>
                  </a:lnTo>
                  <a:lnTo>
                    <a:pt x="8639" y="4191"/>
                  </a:lnTo>
                  <a:lnTo>
                    <a:pt x="8639" y="4255"/>
                  </a:lnTo>
                  <a:close/>
                  <a:moveTo>
                    <a:pt x="8639" y="4367"/>
                  </a:moveTo>
                  <a:lnTo>
                    <a:pt x="8704" y="4367"/>
                  </a:lnTo>
                  <a:lnTo>
                    <a:pt x="8704" y="4302"/>
                  </a:lnTo>
                  <a:lnTo>
                    <a:pt x="8639" y="4302"/>
                  </a:lnTo>
                  <a:lnTo>
                    <a:pt x="8639" y="4367"/>
                  </a:lnTo>
                  <a:close/>
                  <a:moveTo>
                    <a:pt x="8639" y="4480"/>
                  </a:moveTo>
                  <a:lnTo>
                    <a:pt x="8704" y="4480"/>
                  </a:lnTo>
                  <a:lnTo>
                    <a:pt x="8704" y="4416"/>
                  </a:lnTo>
                  <a:lnTo>
                    <a:pt x="8639" y="4416"/>
                  </a:lnTo>
                  <a:lnTo>
                    <a:pt x="8639" y="4480"/>
                  </a:lnTo>
                  <a:close/>
                  <a:moveTo>
                    <a:pt x="8639" y="4595"/>
                  </a:moveTo>
                  <a:lnTo>
                    <a:pt x="8704" y="4595"/>
                  </a:lnTo>
                  <a:lnTo>
                    <a:pt x="8704" y="4530"/>
                  </a:lnTo>
                  <a:lnTo>
                    <a:pt x="8639" y="4530"/>
                  </a:lnTo>
                  <a:lnTo>
                    <a:pt x="8639" y="4595"/>
                  </a:lnTo>
                  <a:close/>
                  <a:moveTo>
                    <a:pt x="8639" y="4707"/>
                  </a:moveTo>
                  <a:lnTo>
                    <a:pt x="8704" y="4707"/>
                  </a:lnTo>
                  <a:lnTo>
                    <a:pt x="8704" y="4643"/>
                  </a:lnTo>
                  <a:lnTo>
                    <a:pt x="8639" y="4643"/>
                  </a:lnTo>
                  <a:lnTo>
                    <a:pt x="8639" y="4707"/>
                  </a:lnTo>
                  <a:close/>
                  <a:moveTo>
                    <a:pt x="8639" y="4819"/>
                  </a:moveTo>
                  <a:lnTo>
                    <a:pt x="8704" y="4819"/>
                  </a:lnTo>
                  <a:lnTo>
                    <a:pt x="8704" y="4754"/>
                  </a:lnTo>
                  <a:lnTo>
                    <a:pt x="8639" y="4754"/>
                  </a:lnTo>
                  <a:lnTo>
                    <a:pt x="8639" y="4819"/>
                  </a:lnTo>
                  <a:close/>
                  <a:moveTo>
                    <a:pt x="8754" y="4142"/>
                  </a:moveTo>
                  <a:lnTo>
                    <a:pt x="8818" y="4142"/>
                  </a:lnTo>
                  <a:lnTo>
                    <a:pt x="8818" y="4077"/>
                  </a:lnTo>
                  <a:lnTo>
                    <a:pt x="8754" y="4077"/>
                  </a:lnTo>
                  <a:lnTo>
                    <a:pt x="8754" y="4142"/>
                  </a:lnTo>
                  <a:close/>
                  <a:moveTo>
                    <a:pt x="8754" y="4255"/>
                  </a:moveTo>
                  <a:lnTo>
                    <a:pt x="8818" y="4255"/>
                  </a:lnTo>
                  <a:lnTo>
                    <a:pt x="8818" y="4191"/>
                  </a:lnTo>
                  <a:lnTo>
                    <a:pt x="8754" y="4191"/>
                  </a:lnTo>
                  <a:lnTo>
                    <a:pt x="8754" y="4255"/>
                  </a:lnTo>
                  <a:close/>
                  <a:moveTo>
                    <a:pt x="8754" y="4367"/>
                  </a:moveTo>
                  <a:lnTo>
                    <a:pt x="8818" y="4367"/>
                  </a:lnTo>
                  <a:lnTo>
                    <a:pt x="8818" y="4302"/>
                  </a:lnTo>
                  <a:lnTo>
                    <a:pt x="8754" y="4302"/>
                  </a:lnTo>
                  <a:lnTo>
                    <a:pt x="8754" y="4367"/>
                  </a:lnTo>
                  <a:close/>
                  <a:moveTo>
                    <a:pt x="8754" y="4480"/>
                  </a:moveTo>
                  <a:lnTo>
                    <a:pt x="8818" y="4480"/>
                  </a:lnTo>
                  <a:lnTo>
                    <a:pt x="8818" y="4416"/>
                  </a:lnTo>
                  <a:lnTo>
                    <a:pt x="8754" y="4416"/>
                  </a:lnTo>
                  <a:lnTo>
                    <a:pt x="8754" y="4480"/>
                  </a:lnTo>
                  <a:close/>
                  <a:moveTo>
                    <a:pt x="8754" y="4595"/>
                  </a:moveTo>
                  <a:lnTo>
                    <a:pt x="8818" y="4595"/>
                  </a:lnTo>
                  <a:lnTo>
                    <a:pt x="8818" y="4530"/>
                  </a:lnTo>
                  <a:lnTo>
                    <a:pt x="8754" y="4530"/>
                  </a:lnTo>
                  <a:lnTo>
                    <a:pt x="8754" y="4595"/>
                  </a:lnTo>
                  <a:close/>
                  <a:moveTo>
                    <a:pt x="8754" y="4707"/>
                  </a:moveTo>
                  <a:lnTo>
                    <a:pt x="8818" y="4707"/>
                  </a:lnTo>
                  <a:lnTo>
                    <a:pt x="8818" y="4643"/>
                  </a:lnTo>
                  <a:lnTo>
                    <a:pt x="8754" y="4643"/>
                  </a:lnTo>
                  <a:lnTo>
                    <a:pt x="8754" y="4707"/>
                  </a:lnTo>
                  <a:close/>
                  <a:moveTo>
                    <a:pt x="8754" y="4819"/>
                  </a:moveTo>
                  <a:lnTo>
                    <a:pt x="8818" y="4819"/>
                  </a:lnTo>
                  <a:lnTo>
                    <a:pt x="8818" y="4754"/>
                  </a:lnTo>
                  <a:lnTo>
                    <a:pt x="8754" y="4754"/>
                  </a:lnTo>
                  <a:lnTo>
                    <a:pt x="8754" y="4819"/>
                  </a:lnTo>
                  <a:close/>
                  <a:moveTo>
                    <a:pt x="8754" y="4932"/>
                  </a:moveTo>
                  <a:lnTo>
                    <a:pt x="8818" y="4932"/>
                  </a:lnTo>
                  <a:lnTo>
                    <a:pt x="8818" y="4868"/>
                  </a:lnTo>
                  <a:lnTo>
                    <a:pt x="8754" y="4868"/>
                  </a:lnTo>
                  <a:lnTo>
                    <a:pt x="8754" y="4932"/>
                  </a:lnTo>
                  <a:close/>
                  <a:moveTo>
                    <a:pt x="8868" y="4367"/>
                  </a:moveTo>
                  <a:lnTo>
                    <a:pt x="8932" y="4367"/>
                  </a:lnTo>
                  <a:lnTo>
                    <a:pt x="8932" y="4302"/>
                  </a:lnTo>
                  <a:lnTo>
                    <a:pt x="8868" y="4302"/>
                  </a:lnTo>
                  <a:lnTo>
                    <a:pt x="8868" y="4367"/>
                  </a:lnTo>
                  <a:close/>
                  <a:moveTo>
                    <a:pt x="8868" y="4480"/>
                  </a:moveTo>
                  <a:lnTo>
                    <a:pt x="8932" y="4480"/>
                  </a:lnTo>
                  <a:lnTo>
                    <a:pt x="8932" y="4416"/>
                  </a:lnTo>
                  <a:lnTo>
                    <a:pt x="8868" y="4416"/>
                  </a:lnTo>
                  <a:lnTo>
                    <a:pt x="8868" y="4480"/>
                  </a:lnTo>
                  <a:close/>
                  <a:moveTo>
                    <a:pt x="8980" y="4367"/>
                  </a:moveTo>
                  <a:lnTo>
                    <a:pt x="9044" y="4367"/>
                  </a:lnTo>
                  <a:lnTo>
                    <a:pt x="9044" y="4302"/>
                  </a:lnTo>
                  <a:lnTo>
                    <a:pt x="8980" y="4302"/>
                  </a:lnTo>
                  <a:lnTo>
                    <a:pt x="8980" y="4367"/>
                  </a:lnTo>
                  <a:close/>
                  <a:moveTo>
                    <a:pt x="8980" y="4480"/>
                  </a:moveTo>
                  <a:lnTo>
                    <a:pt x="9044" y="4480"/>
                  </a:lnTo>
                  <a:lnTo>
                    <a:pt x="9044" y="4416"/>
                  </a:lnTo>
                  <a:lnTo>
                    <a:pt x="8980" y="4416"/>
                  </a:lnTo>
                  <a:lnTo>
                    <a:pt x="8980" y="4480"/>
                  </a:lnTo>
                  <a:close/>
                  <a:moveTo>
                    <a:pt x="9094" y="4367"/>
                  </a:moveTo>
                  <a:lnTo>
                    <a:pt x="9159" y="4367"/>
                  </a:lnTo>
                  <a:lnTo>
                    <a:pt x="9159" y="4302"/>
                  </a:lnTo>
                  <a:lnTo>
                    <a:pt x="9094" y="4302"/>
                  </a:lnTo>
                  <a:lnTo>
                    <a:pt x="9094" y="4367"/>
                  </a:lnTo>
                  <a:close/>
                  <a:moveTo>
                    <a:pt x="9208" y="4367"/>
                  </a:moveTo>
                  <a:lnTo>
                    <a:pt x="9272" y="4367"/>
                  </a:lnTo>
                  <a:lnTo>
                    <a:pt x="9272" y="4302"/>
                  </a:lnTo>
                  <a:lnTo>
                    <a:pt x="9208" y="4302"/>
                  </a:lnTo>
                  <a:lnTo>
                    <a:pt x="9208" y="4367"/>
                  </a:lnTo>
                  <a:close/>
                  <a:moveTo>
                    <a:pt x="9208" y="4480"/>
                  </a:moveTo>
                  <a:lnTo>
                    <a:pt x="9272" y="4480"/>
                  </a:lnTo>
                  <a:lnTo>
                    <a:pt x="9272" y="4416"/>
                  </a:lnTo>
                  <a:lnTo>
                    <a:pt x="9208" y="4416"/>
                  </a:lnTo>
                  <a:lnTo>
                    <a:pt x="9208" y="4480"/>
                  </a:lnTo>
                  <a:close/>
                  <a:moveTo>
                    <a:pt x="9322" y="4255"/>
                  </a:moveTo>
                  <a:lnTo>
                    <a:pt x="9387" y="4255"/>
                  </a:lnTo>
                  <a:lnTo>
                    <a:pt x="9387" y="4191"/>
                  </a:lnTo>
                  <a:lnTo>
                    <a:pt x="9322" y="4191"/>
                  </a:lnTo>
                  <a:lnTo>
                    <a:pt x="9322" y="4255"/>
                  </a:lnTo>
                  <a:close/>
                  <a:moveTo>
                    <a:pt x="9322" y="4367"/>
                  </a:moveTo>
                  <a:lnTo>
                    <a:pt x="9387" y="4367"/>
                  </a:lnTo>
                  <a:lnTo>
                    <a:pt x="9387" y="4302"/>
                  </a:lnTo>
                  <a:lnTo>
                    <a:pt x="9322" y="4302"/>
                  </a:lnTo>
                  <a:lnTo>
                    <a:pt x="9322" y="4367"/>
                  </a:lnTo>
                  <a:close/>
                  <a:moveTo>
                    <a:pt x="8299" y="1766"/>
                  </a:moveTo>
                  <a:lnTo>
                    <a:pt x="8363" y="1766"/>
                  </a:lnTo>
                  <a:lnTo>
                    <a:pt x="8363" y="1702"/>
                  </a:lnTo>
                  <a:lnTo>
                    <a:pt x="8299" y="1702"/>
                  </a:lnTo>
                  <a:lnTo>
                    <a:pt x="8299" y="1766"/>
                  </a:lnTo>
                  <a:close/>
                  <a:moveTo>
                    <a:pt x="8299" y="1880"/>
                  </a:moveTo>
                  <a:lnTo>
                    <a:pt x="8363" y="1880"/>
                  </a:lnTo>
                  <a:lnTo>
                    <a:pt x="8363" y="1816"/>
                  </a:lnTo>
                  <a:lnTo>
                    <a:pt x="8299" y="1816"/>
                  </a:lnTo>
                  <a:lnTo>
                    <a:pt x="8299" y="1880"/>
                  </a:lnTo>
                  <a:close/>
                  <a:moveTo>
                    <a:pt x="8299" y="1994"/>
                  </a:moveTo>
                  <a:lnTo>
                    <a:pt x="8363" y="1994"/>
                  </a:lnTo>
                  <a:lnTo>
                    <a:pt x="8363" y="1929"/>
                  </a:lnTo>
                  <a:lnTo>
                    <a:pt x="8299" y="1929"/>
                  </a:lnTo>
                  <a:lnTo>
                    <a:pt x="8299" y="1994"/>
                  </a:lnTo>
                  <a:close/>
                  <a:moveTo>
                    <a:pt x="8299" y="2105"/>
                  </a:moveTo>
                  <a:lnTo>
                    <a:pt x="8363" y="2105"/>
                  </a:lnTo>
                  <a:lnTo>
                    <a:pt x="8363" y="2040"/>
                  </a:lnTo>
                  <a:lnTo>
                    <a:pt x="8299" y="2040"/>
                  </a:lnTo>
                  <a:lnTo>
                    <a:pt x="8299" y="2105"/>
                  </a:lnTo>
                  <a:close/>
                  <a:moveTo>
                    <a:pt x="8299" y="2218"/>
                  </a:moveTo>
                  <a:lnTo>
                    <a:pt x="8363" y="2218"/>
                  </a:lnTo>
                  <a:lnTo>
                    <a:pt x="8363" y="2153"/>
                  </a:lnTo>
                  <a:lnTo>
                    <a:pt x="8299" y="2153"/>
                  </a:lnTo>
                  <a:lnTo>
                    <a:pt x="8299" y="2218"/>
                  </a:lnTo>
                  <a:close/>
                  <a:moveTo>
                    <a:pt x="8299" y="2332"/>
                  </a:moveTo>
                  <a:lnTo>
                    <a:pt x="8363" y="2332"/>
                  </a:lnTo>
                  <a:lnTo>
                    <a:pt x="8363" y="2268"/>
                  </a:lnTo>
                  <a:lnTo>
                    <a:pt x="8299" y="2268"/>
                  </a:lnTo>
                  <a:lnTo>
                    <a:pt x="8299" y="2332"/>
                  </a:lnTo>
                  <a:close/>
                  <a:moveTo>
                    <a:pt x="8299" y="2445"/>
                  </a:moveTo>
                  <a:lnTo>
                    <a:pt x="8363" y="2445"/>
                  </a:lnTo>
                  <a:lnTo>
                    <a:pt x="8363" y="2381"/>
                  </a:lnTo>
                  <a:lnTo>
                    <a:pt x="8299" y="2381"/>
                  </a:lnTo>
                  <a:lnTo>
                    <a:pt x="8299" y="2445"/>
                  </a:lnTo>
                  <a:close/>
                  <a:moveTo>
                    <a:pt x="8299" y="2557"/>
                  </a:moveTo>
                  <a:lnTo>
                    <a:pt x="8363" y="2557"/>
                  </a:lnTo>
                  <a:lnTo>
                    <a:pt x="8363" y="2493"/>
                  </a:lnTo>
                  <a:lnTo>
                    <a:pt x="8299" y="2493"/>
                  </a:lnTo>
                  <a:lnTo>
                    <a:pt x="8299" y="2557"/>
                  </a:lnTo>
                  <a:close/>
                  <a:moveTo>
                    <a:pt x="8299" y="2670"/>
                  </a:moveTo>
                  <a:lnTo>
                    <a:pt x="8363" y="2670"/>
                  </a:lnTo>
                  <a:lnTo>
                    <a:pt x="8363" y="2606"/>
                  </a:lnTo>
                  <a:lnTo>
                    <a:pt x="8299" y="2606"/>
                  </a:lnTo>
                  <a:lnTo>
                    <a:pt x="8299" y="2670"/>
                  </a:lnTo>
                  <a:close/>
                  <a:moveTo>
                    <a:pt x="8299" y="2785"/>
                  </a:moveTo>
                  <a:lnTo>
                    <a:pt x="8363" y="2785"/>
                  </a:lnTo>
                  <a:lnTo>
                    <a:pt x="8363" y="2720"/>
                  </a:lnTo>
                  <a:lnTo>
                    <a:pt x="8299" y="2720"/>
                  </a:lnTo>
                  <a:lnTo>
                    <a:pt x="8299" y="2785"/>
                  </a:lnTo>
                  <a:close/>
                  <a:moveTo>
                    <a:pt x="8299" y="2898"/>
                  </a:moveTo>
                  <a:lnTo>
                    <a:pt x="8363" y="2898"/>
                  </a:lnTo>
                  <a:lnTo>
                    <a:pt x="8363" y="2834"/>
                  </a:lnTo>
                  <a:lnTo>
                    <a:pt x="8299" y="2834"/>
                  </a:lnTo>
                  <a:lnTo>
                    <a:pt x="8299" y="2898"/>
                  </a:lnTo>
                  <a:close/>
                  <a:moveTo>
                    <a:pt x="8299" y="3009"/>
                  </a:moveTo>
                  <a:lnTo>
                    <a:pt x="8363" y="3009"/>
                  </a:lnTo>
                  <a:lnTo>
                    <a:pt x="8363" y="2945"/>
                  </a:lnTo>
                  <a:lnTo>
                    <a:pt x="8299" y="2945"/>
                  </a:lnTo>
                  <a:lnTo>
                    <a:pt x="8299" y="3009"/>
                  </a:lnTo>
                  <a:close/>
                  <a:moveTo>
                    <a:pt x="8299" y="3122"/>
                  </a:moveTo>
                  <a:lnTo>
                    <a:pt x="8363" y="3122"/>
                  </a:lnTo>
                  <a:lnTo>
                    <a:pt x="8363" y="3058"/>
                  </a:lnTo>
                  <a:lnTo>
                    <a:pt x="8299" y="3058"/>
                  </a:lnTo>
                  <a:lnTo>
                    <a:pt x="8299" y="3122"/>
                  </a:lnTo>
                  <a:close/>
                  <a:moveTo>
                    <a:pt x="8299" y="3237"/>
                  </a:moveTo>
                  <a:lnTo>
                    <a:pt x="8363" y="3237"/>
                  </a:lnTo>
                  <a:lnTo>
                    <a:pt x="8363" y="3172"/>
                  </a:lnTo>
                  <a:lnTo>
                    <a:pt x="8299" y="3172"/>
                  </a:lnTo>
                  <a:lnTo>
                    <a:pt x="8299" y="3237"/>
                  </a:lnTo>
                  <a:close/>
                  <a:moveTo>
                    <a:pt x="8299" y="3350"/>
                  </a:moveTo>
                  <a:lnTo>
                    <a:pt x="8363" y="3350"/>
                  </a:lnTo>
                  <a:lnTo>
                    <a:pt x="8363" y="3285"/>
                  </a:lnTo>
                  <a:lnTo>
                    <a:pt x="8299" y="3285"/>
                  </a:lnTo>
                  <a:lnTo>
                    <a:pt x="8299" y="3350"/>
                  </a:lnTo>
                  <a:close/>
                  <a:moveTo>
                    <a:pt x="8299" y="3463"/>
                  </a:moveTo>
                  <a:lnTo>
                    <a:pt x="8363" y="3463"/>
                  </a:lnTo>
                  <a:lnTo>
                    <a:pt x="8363" y="3398"/>
                  </a:lnTo>
                  <a:lnTo>
                    <a:pt x="8299" y="3398"/>
                  </a:lnTo>
                  <a:lnTo>
                    <a:pt x="8299" y="3463"/>
                  </a:lnTo>
                  <a:close/>
                  <a:moveTo>
                    <a:pt x="8299" y="3576"/>
                  </a:moveTo>
                  <a:lnTo>
                    <a:pt x="8363" y="3576"/>
                  </a:lnTo>
                  <a:lnTo>
                    <a:pt x="8363" y="3512"/>
                  </a:lnTo>
                  <a:lnTo>
                    <a:pt x="8299" y="3512"/>
                  </a:lnTo>
                  <a:lnTo>
                    <a:pt x="8299" y="3576"/>
                  </a:lnTo>
                  <a:close/>
                  <a:moveTo>
                    <a:pt x="8299" y="3690"/>
                  </a:moveTo>
                  <a:lnTo>
                    <a:pt x="8363" y="3690"/>
                  </a:lnTo>
                  <a:lnTo>
                    <a:pt x="8363" y="3626"/>
                  </a:lnTo>
                  <a:lnTo>
                    <a:pt x="8299" y="3626"/>
                  </a:lnTo>
                  <a:lnTo>
                    <a:pt x="8299" y="3690"/>
                  </a:lnTo>
                  <a:close/>
                  <a:moveTo>
                    <a:pt x="8299" y="3803"/>
                  </a:moveTo>
                  <a:lnTo>
                    <a:pt x="8363" y="3803"/>
                  </a:lnTo>
                  <a:lnTo>
                    <a:pt x="8363" y="3739"/>
                  </a:lnTo>
                  <a:lnTo>
                    <a:pt x="8299" y="3739"/>
                  </a:lnTo>
                  <a:lnTo>
                    <a:pt x="8299" y="3803"/>
                  </a:lnTo>
                  <a:close/>
                  <a:moveTo>
                    <a:pt x="8299" y="3914"/>
                  </a:moveTo>
                  <a:lnTo>
                    <a:pt x="8363" y="3914"/>
                  </a:lnTo>
                  <a:lnTo>
                    <a:pt x="8363" y="3850"/>
                  </a:lnTo>
                  <a:lnTo>
                    <a:pt x="8299" y="3850"/>
                  </a:lnTo>
                  <a:lnTo>
                    <a:pt x="8299" y="3914"/>
                  </a:lnTo>
                  <a:close/>
                  <a:moveTo>
                    <a:pt x="8299" y="4028"/>
                  </a:moveTo>
                  <a:lnTo>
                    <a:pt x="8363" y="4028"/>
                  </a:lnTo>
                  <a:lnTo>
                    <a:pt x="8363" y="3963"/>
                  </a:lnTo>
                  <a:lnTo>
                    <a:pt x="8299" y="3963"/>
                  </a:lnTo>
                  <a:lnTo>
                    <a:pt x="8299" y="4028"/>
                  </a:lnTo>
                  <a:close/>
                  <a:moveTo>
                    <a:pt x="8299" y="4142"/>
                  </a:moveTo>
                  <a:lnTo>
                    <a:pt x="8363" y="4142"/>
                  </a:lnTo>
                  <a:lnTo>
                    <a:pt x="8363" y="4077"/>
                  </a:lnTo>
                  <a:lnTo>
                    <a:pt x="8299" y="4077"/>
                  </a:lnTo>
                  <a:lnTo>
                    <a:pt x="8299" y="4142"/>
                  </a:lnTo>
                  <a:close/>
                  <a:moveTo>
                    <a:pt x="8299" y="4255"/>
                  </a:moveTo>
                  <a:lnTo>
                    <a:pt x="8363" y="4255"/>
                  </a:lnTo>
                  <a:lnTo>
                    <a:pt x="8363" y="4191"/>
                  </a:lnTo>
                  <a:lnTo>
                    <a:pt x="8299" y="4191"/>
                  </a:lnTo>
                  <a:lnTo>
                    <a:pt x="8299" y="4255"/>
                  </a:lnTo>
                  <a:close/>
                  <a:moveTo>
                    <a:pt x="8413" y="1536"/>
                  </a:moveTo>
                  <a:lnTo>
                    <a:pt x="8477" y="1536"/>
                  </a:lnTo>
                  <a:lnTo>
                    <a:pt x="8477" y="1471"/>
                  </a:lnTo>
                  <a:lnTo>
                    <a:pt x="8413" y="1471"/>
                  </a:lnTo>
                  <a:lnTo>
                    <a:pt x="8413" y="1536"/>
                  </a:lnTo>
                  <a:close/>
                  <a:moveTo>
                    <a:pt x="8413" y="1649"/>
                  </a:moveTo>
                  <a:lnTo>
                    <a:pt x="8477" y="1649"/>
                  </a:lnTo>
                  <a:lnTo>
                    <a:pt x="8477" y="1585"/>
                  </a:lnTo>
                  <a:lnTo>
                    <a:pt x="8413" y="1585"/>
                  </a:lnTo>
                  <a:lnTo>
                    <a:pt x="8413" y="1649"/>
                  </a:lnTo>
                  <a:close/>
                  <a:moveTo>
                    <a:pt x="8413" y="1766"/>
                  </a:moveTo>
                  <a:lnTo>
                    <a:pt x="8477" y="1766"/>
                  </a:lnTo>
                  <a:lnTo>
                    <a:pt x="8477" y="1702"/>
                  </a:lnTo>
                  <a:lnTo>
                    <a:pt x="8413" y="1702"/>
                  </a:lnTo>
                  <a:lnTo>
                    <a:pt x="8413" y="1766"/>
                  </a:lnTo>
                  <a:close/>
                  <a:moveTo>
                    <a:pt x="8413" y="1880"/>
                  </a:moveTo>
                  <a:lnTo>
                    <a:pt x="8477" y="1880"/>
                  </a:lnTo>
                  <a:lnTo>
                    <a:pt x="8477" y="1816"/>
                  </a:lnTo>
                  <a:lnTo>
                    <a:pt x="8413" y="1816"/>
                  </a:lnTo>
                  <a:lnTo>
                    <a:pt x="8413" y="1880"/>
                  </a:lnTo>
                  <a:close/>
                  <a:moveTo>
                    <a:pt x="8413" y="1994"/>
                  </a:moveTo>
                  <a:lnTo>
                    <a:pt x="8477" y="1994"/>
                  </a:lnTo>
                  <a:lnTo>
                    <a:pt x="8477" y="1929"/>
                  </a:lnTo>
                  <a:lnTo>
                    <a:pt x="8413" y="1929"/>
                  </a:lnTo>
                  <a:lnTo>
                    <a:pt x="8413" y="1994"/>
                  </a:lnTo>
                  <a:close/>
                  <a:moveTo>
                    <a:pt x="8413" y="2105"/>
                  </a:moveTo>
                  <a:lnTo>
                    <a:pt x="8477" y="2105"/>
                  </a:lnTo>
                  <a:lnTo>
                    <a:pt x="8477" y="2040"/>
                  </a:lnTo>
                  <a:lnTo>
                    <a:pt x="8413" y="2040"/>
                  </a:lnTo>
                  <a:lnTo>
                    <a:pt x="8413" y="2105"/>
                  </a:lnTo>
                  <a:close/>
                  <a:moveTo>
                    <a:pt x="8413" y="2218"/>
                  </a:moveTo>
                  <a:lnTo>
                    <a:pt x="8477" y="2218"/>
                  </a:lnTo>
                  <a:lnTo>
                    <a:pt x="8477" y="2153"/>
                  </a:lnTo>
                  <a:lnTo>
                    <a:pt x="8413" y="2153"/>
                  </a:lnTo>
                  <a:lnTo>
                    <a:pt x="8413" y="2218"/>
                  </a:lnTo>
                  <a:close/>
                  <a:moveTo>
                    <a:pt x="8413" y="2332"/>
                  </a:moveTo>
                  <a:lnTo>
                    <a:pt x="8477" y="2332"/>
                  </a:lnTo>
                  <a:lnTo>
                    <a:pt x="8477" y="2268"/>
                  </a:lnTo>
                  <a:lnTo>
                    <a:pt x="8413" y="2268"/>
                  </a:lnTo>
                  <a:lnTo>
                    <a:pt x="8413" y="2332"/>
                  </a:lnTo>
                  <a:close/>
                  <a:moveTo>
                    <a:pt x="8413" y="2445"/>
                  </a:moveTo>
                  <a:lnTo>
                    <a:pt x="8477" y="2445"/>
                  </a:lnTo>
                  <a:lnTo>
                    <a:pt x="8477" y="2381"/>
                  </a:lnTo>
                  <a:lnTo>
                    <a:pt x="8413" y="2381"/>
                  </a:lnTo>
                  <a:lnTo>
                    <a:pt x="8413" y="2445"/>
                  </a:lnTo>
                  <a:close/>
                  <a:moveTo>
                    <a:pt x="8413" y="2557"/>
                  </a:moveTo>
                  <a:lnTo>
                    <a:pt x="8477" y="2557"/>
                  </a:lnTo>
                  <a:lnTo>
                    <a:pt x="8477" y="2493"/>
                  </a:lnTo>
                  <a:lnTo>
                    <a:pt x="8413" y="2493"/>
                  </a:lnTo>
                  <a:lnTo>
                    <a:pt x="8413" y="2557"/>
                  </a:lnTo>
                  <a:close/>
                  <a:moveTo>
                    <a:pt x="8413" y="2670"/>
                  </a:moveTo>
                  <a:lnTo>
                    <a:pt x="8477" y="2670"/>
                  </a:lnTo>
                  <a:lnTo>
                    <a:pt x="8477" y="2606"/>
                  </a:lnTo>
                  <a:lnTo>
                    <a:pt x="8413" y="2606"/>
                  </a:lnTo>
                  <a:lnTo>
                    <a:pt x="8413" y="2670"/>
                  </a:lnTo>
                  <a:close/>
                  <a:moveTo>
                    <a:pt x="8413" y="2785"/>
                  </a:moveTo>
                  <a:lnTo>
                    <a:pt x="8477" y="2785"/>
                  </a:lnTo>
                  <a:lnTo>
                    <a:pt x="8477" y="2720"/>
                  </a:lnTo>
                  <a:lnTo>
                    <a:pt x="8413" y="2720"/>
                  </a:lnTo>
                  <a:lnTo>
                    <a:pt x="8413" y="2785"/>
                  </a:lnTo>
                  <a:close/>
                  <a:moveTo>
                    <a:pt x="8413" y="2898"/>
                  </a:moveTo>
                  <a:lnTo>
                    <a:pt x="8477" y="2898"/>
                  </a:lnTo>
                  <a:lnTo>
                    <a:pt x="8477" y="2834"/>
                  </a:lnTo>
                  <a:lnTo>
                    <a:pt x="8413" y="2834"/>
                  </a:lnTo>
                  <a:lnTo>
                    <a:pt x="8413" y="2898"/>
                  </a:lnTo>
                  <a:close/>
                  <a:moveTo>
                    <a:pt x="8413" y="3009"/>
                  </a:moveTo>
                  <a:lnTo>
                    <a:pt x="8477" y="3009"/>
                  </a:lnTo>
                  <a:lnTo>
                    <a:pt x="8477" y="2945"/>
                  </a:lnTo>
                  <a:lnTo>
                    <a:pt x="8413" y="2945"/>
                  </a:lnTo>
                  <a:lnTo>
                    <a:pt x="8413" y="3009"/>
                  </a:lnTo>
                  <a:close/>
                  <a:moveTo>
                    <a:pt x="8413" y="3122"/>
                  </a:moveTo>
                  <a:lnTo>
                    <a:pt x="8477" y="3122"/>
                  </a:lnTo>
                  <a:lnTo>
                    <a:pt x="8477" y="3058"/>
                  </a:lnTo>
                  <a:lnTo>
                    <a:pt x="8413" y="3058"/>
                  </a:lnTo>
                  <a:lnTo>
                    <a:pt x="8413" y="3122"/>
                  </a:lnTo>
                  <a:close/>
                  <a:moveTo>
                    <a:pt x="8413" y="3237"/>
                  </a:moveTo>
                  <a:lnTo>
                    <a:pt x="8477" y="3237"/>
                  </a:lnTo>
                  <a:lnTo>
                    <a:pt x="8477" y="3172"/>
                  </a:lnTo>
                  <a:lnTo>
                    <a:pt x="8413" y="3172"/>
                  </a:lnTo>
                  <a:lnTo>
                    <a:pt x="8413" y="3237"/>
                  </a:lnTo>
                  <a:close/>
                  <a:moveTo>
                    <a:pt x="8413" y="3350"/>
                  </a:moveTo>
                  <a:lnTo>
                    <a:pt x="8477" y="3350"/>
                  </a:lnTo>
                  <a:lnTo>
                    <a:pt x="8477" y="3285"/>
                  </a:lnTo>
                  <a:lnTo>
                    <a:pt x="8413" y="3285"/>
                  </a:lnTo>
                  <a:lnTo>
                    <a:pt x="8413" y="3350"/>
                  </a:lnTo>
                  <a:close/>
                  <a:moveTo>
                    <a:pt x="8413" y="3463"/>
                  </a:moveTo>
                  <a:lnTo>
                    <a:pt x="8477" y="3463"/>
                  </a:lnTo>
                  <a:lnTo>
                    <a:pt x="8477" y="3398"/>
                  </a:lnTo>
                  <a:lnTo>
                    <a:pt x="8413" y="3398"/>
                  </a:lnTo>
                  <a:lnTo>
                    <a:pt x="8413" y="3463"/>
                  </a:lnTo>
                  <a:close/>
                  <a:moveTo>
                    <a:pt x="8413" y="3576"/>
                  </a:moveTo>
                  <a:lnTo>
                    <a:pt x="8477" y="3576"/>
                  </a:lnTo>
                  <a:lnTo>
                    <a:pt x="8477" y="3512"/>
                  </a:lnTo>
                  <a:lnTo>
                    <a:pt x="8413" y="3512"/>
                  </a:lnTo>
                  <a:lnTo>
                    <a:pt x="8413" y="3576"/>
                  </a:lnTo>
                  <a:close/>
                  <a:moveTo>
                    <a:pt x="8413" y="3690"/>
                  </a:moveTo>
                  <a:lnTo>
                    <a:pt x="8477" y="3690"/>
                  </a:lnTo>
                  <a:lnTo>
                    <a:pt x="8477" y="3626"/>
                  </a:lnTo>
                  <a:lnTo>
                    <a:pt x="8413" y="3626"/>
                  </a:lnTo>
                  <a:lnTo>
                    <a:pt x="8413" y="3690"/>
                  </a:lnTo>
                  <a:close/>
                  <a:moveTo>
                    <a:pt x="8413" y="3803"/>
                  </a:moveTo>
                  <a:lnTo>
                    <a:pt x="8477" y="3803"/>
                  </a:lnTo>
                  <a:lnTo>
                    <a:pt x="8477" y="3739"/>
                  </a:lnTo>
                  <a:lnTo>
                    <a:pt x="8413" y="3739"/>
                  </a:lnTo>
                  <a:lnTo>
                    <a:pt x="8413" y="3803"/>
                  </a:lnTo>
                  <a:close/>
                  <a:moveTo>
                    <a:pt x="8413" y="3914"/>
                  </a:moveTo>
                  <a:lnTo>
                    <a:pt x="8477" y="3914"/>
                  </a:lnTo>
                  <a:lnTo>
                    <a:pt x="8477" y="3850"/>
                  </a:lnTo>
                  <a:lnTo>
                    <a:pt x="8413" y="3850"/>
                  </a:lnTo>
                  <a:lnTo>
                    <a:pt x="8413" y="3914"/>
                  </a:lnTo>
                  <a:close/>
                  <a:moveTo>
                    <a:pt x="8413" y="4028"/>
                  </a:moveTo>
                  <a:lnTo>
                    <a:pt x="8477" y="4028"/>
                  </a:lnTo>
                  <a:lnTo>
                    <a:pt x="8477" y="3963"/>
                  </a:lnTo>
                  <a:lnTo>
                    <a:pt x="8413" y="3963"/>
                  </a:lnTo>
                  <a:lnTo>
                    <a:pt x="8413" y="4028"/>
                  </a:lnTo>
                  <a:close/>
                  <a:moveTo>
                    <a:pt x="8413" y="4142"/>
                  </a:moveTo>
                  <a:lnTo>
                    <a:pt x="8477" y="4142"/>
                  </a:lnTo>
                  <a:lnTo>
                    <a:pt x="8477" y="4077"/>
                  </a:lnTo>
                  <a:lnTo>
                    <a:pt x="8413" y="4077"/>
                  </a:lnTo>
                  <a:lnTo>
                    <a:pt x="8413" y="4142"/>
                  </a:lnTo>
                  <a:close/>
                  <a:moveTo>
                    <a:pt x="8413" y="4255"/>
                  </a:moveTo>
                  <a:lnTo>
                    <a:pt x="8477" y="4255"/>
                  </a:lnTo>
                  <a:lnTo>
                    <a:pt x="8477" y="4191"/>
                  </a:lnTo>
                  <a:lnTo>
                    <a:pt x="8413" y="4191"/>
                  </a:lnTo>
                  <a:lnTo>
                    <a:pt x="8413" y="4255"/>
                  </a:lnTo>
                  <a:close/>
                  <a:moveTo>
                    <a:pt x="8526" y="1536"/>
                  </a:moveTo>
                  <a:lnTo>
                    <a:pt x="8590" y="1536"/>
                  </a:lnTo>
                  <a:lnTo>
                    <a:pt x="8590" y="1471"/>
                  </a:lnTo>
                  <a:lnTo>
                    <a:pt x="8526" y="1471"/>
                  </a:lnTo>
                  <a:lnTo>
                    <a:pt x="8526" y="1536"/>
                  </a:lnTo>
                  <a:close/>
                  <a:moveTo>
                    <a:pt x="8526" y="1649"/>
                  </a:moveTo>
                  <a:lnTo>
                    <a:pt x="8590" y="1649"/>
                  </a:lnTo>
                  <a:lnTo>
                    <a:pt x="8590" y="1585"/>
                  </a:lnTo>
                  <a:lnTo>
                    <a:pt x="8526" y="1585"/>
                  </a:lnTo>
                  <a:lnTo>
                    <a:pt x="8526" y="1649"/>
                  </a:lnTo>
                  <a:close/>
                  <a:moveTo>
                    <a:pt x="8526" y="1766"/>
                  </a:moveTo>
                  <a:lnTo>
                    <a:pt x="8590" y="1766"/>
                  </a:lnTo>
                  <a:lnTo>
                    <a:pt x="8590" y="1702"/>
                  </a:lnTo>
                  <a:lnTo>
                    <a:pt x="8526" y="1702"/>
                  </a:lnTo>
                  <a:lnTo>
                    <a:pt x="8526" y="1766"/>
                  </a:lnTo>
                  <a:close/>
                  <a:moveTo>
                    <a:pt x="8526" y="1880"/>
                  </a:moveTo>
                  <a:lnTo>
                    <a:pt x="8590" y="1880"/>
                  </a:lnTo>
                  <a:lnTo>
                    <a:pt x="8590" y="1816"/>
                  </a:lnTo>
                  <a:lnTo>
                    <a:pt x="8526" y="1816"/>
                  </a:lnTo>
                  <a:lnTo>
                    <a:pt x="8526" y="1880"/>
                  </a:lnTo>
                  <a:close/>
                  <a:moveTo>
                    <a:pt x="8526" y="1994"/>
                  </a:moveTo>
                  <a:lnTo>
                    <a:pt x="8590" y="1994"/>
                  </a:lnTo>
                  <a:lnTo>
                    <a:pt x="8590" y="1929"/>
                  </a:lnTo>
                  <a:lnTo>
                    <a:pt x="8526" y="1929"/>
                  </a:lnTo>
                  <a:lnTo>
                    <a:pt x="8526" y="1994"/>
                  </a:lnTo>
                  <a:close/>
                  <a:moveTo>
                    <a:pt x="8526" y="2105"/>
                  </a:moveTo>
                  <a:lnTo>
                    <a:pt x="8590" y="2105"/>
                  </a:lnTo>
                  <a:lnTo>
                    <a:pt x="8590" y="2040"/>
                  </a:lnTo>
                  <a:lnTo>
                    <a:pt x="8526" y="2040"/>
                  </a:lnTo>
                  <a:lnTo>
                    <a:pt x="8526" y="2105"/>
                  </a:lnTo>
                  <a:close/>
                  <a:moveTo>
                    <a:pt x="8526" y="2218"/>
                  </a:moveTo>
                  <a:lnTo>
                    <a:pt x="8590" y="2218"/>
                  </a:lnTo>
                  <a:lnTo>
                    <a:pt x="8590" y="2153"/>
                  </a:lnTo>
                  <a:lnTo>
                    <a:pt x="8526" y="2153"/>
                  </a:lnTo>
                  <a:lnTo>
                    <a:pt x="8526" y="2218"/>
                  </a:lnTo>
                  <a:close/>
                  <a:moveTo>
                    <a:pt x="8526" y="2332"/>
                  </a:moveTo>
                  <a:lnTo>
                    <a:pt x="8590" y="2332"/>
                  </a:lnTo>
                  <a:lnTo>
                    <a:pt x="8590" y="2268"/>
                  </a:lnTo>
                  <a:lnTo>
                    <a:pt x="8526" y="2268"/>
                  </a:lnTo>
                  <a:lnTo>
                    <a:pt x="8526" y="2332"/>
                  </a:lnTo>
                  <a:close/>
                  <a:moveTo>
                    <a:pt x="8526" y="2445"/>
                  </a:moveTo>
                  <a:lnTo>
                    <a:pt x="8590" y="2445"/>
                  </a:lnTo>
                  <a:lnTo>
                    <a:pt x="8590" y="2381"/>
                  </a:lnTo>
                  <a:lnTo>
                    <a:pt x="8526" y="2381"/>
                  </a:lnTo>
                  <a:lnTo>
                    <a:pt x="8526" y="2445"/>
                  </a:lnTo>
                  <a:close/>
                  <a:moveTo>
                    <a:pt x="8526" y="2557"/>
                  </a:moveTo>
                  <a:lnTo>
                    <a:pt x="8590" y="2557"/>
                  </a:lnTo>
                  <a:lnTo>
                    <a:pt x="8590" y="2493"/>
                  </a:lnTo>
                  <a:lnTo>
                    <a:pt x="8526" y="2493"/>
                  </a:lnTo>
                  <a:lnTo>
                    <a:pt x="8526" y="2557"/>
                  </a:lnTo>
                  <a:close/>
                  <a:moveTo>
                    <a:pt x="8526" y="2670"/>
                  </a:moveTo>
                  <a:lnTo>
                    <a:pt x="8590" y="2670"/>
                  </a:lnTo>
                  <a:lnTo>
                    <a:pt x="8590" y="2606"/>
                  </a:lnTo>
                  <a:lnTo>
                    <a:pt x="8526" y="2606"/>
                  </a:lnTo>
                  <a:lnTo>
                    <a:pt x="8526" y="2670"/>
                  </a:lnTo>
                  <a:close/>
                  <a:moveTo>
                    <a:pt x="8526" y="2785"/>
                  </a:moveTo>
                  <a:lnTo>
                    <a:pt x="8590" y="2785"/>
                  </a:lnTo>
                  <a:lnTo>
                    <a:pt x="8590" y="2720"/>
                  </a:lnTo>
                  <a:lnTo>
                    <a:pt x="8526" y="2720"/>
                  </a:lnTo>
                  <a:lnTo>
                    <a:pt x="8526" y="2785"/>
                  </a:lnTo>
                  <a:close/>
                  <a:moveTo>
                    <a:pt x="8526" y="2898"/>
                  </a:moveTo>
                  <a:lnTo>
                    <a:pt x="8590" y="2898"/>
                  </a:lnTo>
                  <a:lnTo>
                    <a:pt x="8590" y="2834"/>
                  </a:lnTo>
                  <a:lnTo>
                    <a:pt x="8526" y="2834"/>
                  </a:lnTo>
                  <a:lnTo>
                    <a:pt x="8526" y="2898"/>
                  </a:lnTo>
                  <a:close/>
                  <a:moveTo>
                    <a:pt x="8526" y="3009"/>
                  </a:moveTo>
                  <a:lnTo>
                    <a:pt x="8590" y="3009"/>
                  </a:lnTo>
                  <a:lnTo>
                    <a:pt x="8590" y="2945"/>
                  </a:lnTo>
                  <a:lnTo>
                    <a:pt x="8526" y="2945"/>
                  </a:lnTo>
                  <a:lnTo>
                    <a:pt x="8526" y="3009"/>
                  </a:lnTo>
                  <a:close/>
                  <a:moveTo>
                    <a:pt x="8526" y="3122"/>
                  </a:moveTo>
                  <a:lnTo>
                    <a:pt x="8590" y="3122"/>
                  </a:lnTo>
                  <a:lnTo>
                    <a:pt x="8590" y="3058"/>
                  </a:lnTo>
                  <a:lnTo>
                    <a:pt x="8526" y="3058"/>
                  </a:lnTo>
                  <a:lnTo>
                    <a:pt x="8526" y="3122"/>
                  </a:lnTo>
                  <a:close/>
                  <a:moveTo>
                    <a:pt x="8526" y="3237"/>
                  </a:moveTo>
                  <a:lnTo>
                    <a:pt x="8590" y="3237"/>
                  </a:lnTo>
                  <a:lnTo>
                    <a:pt x="8590" y="3172"/>
                  </a:lnTo>
                  <a:lnTo>
                    <a:pt x="8526" y="3172"/>
                  </a:lnTo>
                  <a:lnTo>
                    <a:pt x="8526" y="3237"/>
                  </a:lnTo>
                  <a:close/>
                  <a:moveTo>
                    <a:pt x="8526" y="3350"/>
                  </a:moveTo>
                  <a:lnTo>
                    <a:pt x="8590" y="3350"/>
                  </a:lnTo>
                  <a:lnTo>
                    <a:pt x="8590" y="3285"/>
                  </a:lnTo>
                  <a:lnTo>
                    <a:pt x="8526" y="3285"/>
                  </a:lnTo>
                  <a:lnTo>
                    <a:pt x="8526" y="3350"/>
                  </a:lnTo>
                  <a:close/>
                  <a:moveTo>
                    <a:pt x="8526" y="3463"/>
                  </a:moveTo>
                  <a:lnTo>
                    <a:pt x="8590" y="3463"/>
                  </a:lnTo>
                  <a:lnTo>
                    <a:pt x="8590" y="3398"/>
                  </a:lnTo>
                  <a:lnTo>
                    <a:pt x="8526" y="3398"/>
                  </a:lnTo>
                  <a:lnTo>
                    <a:pt x="8526" y="3463"/>
                  </a:lnTo>
                  <a:close/>
                  <a:moveTo>
                    <a:pt x="8526" y="3576"/>
                  </a:moveTo>
                  <a:lnTo>
                    <a:pt x="8590" y="3576"/>
                  </a:lnTo>
                  <a:lnTo>
                    <a:pt x="8590" y="3512"/>
                  </a:lnTo>
                  <a:lnTo>
                    <a:pt x="8526" y="3512"/>
                  </a:lnTo>
                  <a:lnTo>
                    <a:pt x="8526" y="3576"/>
                  </a:lnTo>
                  <a:close/>
                  <a:moveTo>
                    <a:pt x="8526" y="3690"/>
                  </a:moveTo>
                  <a:lnTo>
                    <a:pt x="8590" y="3690"/>
                  </a:lnTo>
                  <a:lnTo>
                    <a:pt x="8590" y="3626"/>
                  </a:lnTo>
                  <a:lnTo>
                    <a:pt x="8526" y="3626"/>
                  </a:lnTo>
                  <a:lnTo>
                    <a:pt x="8526" y="3690"/>
                  </a:lnTo>
                  <a:close/>
                  <a:moveTo>
                    <a:pt x="8526" y="3803"/>
                  </a:moveTo>
                  <a:lnTo>
                    <a:pt x="8590" y="3803"/>
                  </a:lnTo>
                  <a:lnTo>
                    <a:pt x="8590" y="3739"/>
                  </a:lnTo>
                  <a:lnTo>
                    <a:pt x="8526" y="3739"/>
                  </a:lnTo>
                  <a:lnTo>
                    <a:pt x="8526" y="3803"/>
                  </a:lnTo>
                  <a:close/>
                  <a:moveTo>
                    <a:pt x="8526" y="3914"/>
                  </a:moveTo>
                  <a:lnTo>
                    <a:pt x="8590" y="3914"/>
                  </a:lnTo>
                  <a:lnTo>
                    <a:pt x="8590" y="3850"/>
                  </a:lnTo>
                  <a:lnTo>
                    <a:pt x="8526" y="3850"/>
                  </a:lnTo>
                  <a:lnTo>
                    <a:pt x="8526" y="3914"/>
                  </a:lnTo>
                  <a:close/>
                  <a:moveTo>
                    <a:pt x="8526" y="4028"/>
                  </a:moveTo>
                  <a:lnTo>
                    <a:pt x="8590" y="4028"/>
                  </a:lnTo>
                  <a:lnTo>
                    <a:pt x="8590" y="3963"/>
                  </a:lnTo>
                  <a:lnTo>
                    <a:pt x="8526" y="3963"/>
                  </a:lnTo>
                  <a:lnTo>
                    <a:pt x="8526" y="4028"/>
                  </a:lnTo>
                  <a:close/>
                  <a:moveTo>
                    <a:pt x="8526" y="4142"/>
                  </a:moveTo>
                  <a:lnTo>
                    <a:pt x="8590" y="4142"/>
                  </a:lnTo>
                  <a:lnTo>
                    <a:pt x="8590" y="4077"/>
                  </a:lnTo>
                  <a:lnTo>
                    <a:pt x="8526" y="4077"/>
                  </a:lnTo>
                  <a:lnTo>
                    <a:pt x="8526" y="4142"/>
                  </a:lnTo>
                  <a:close/>
                  <a:moveTo>
                    <a:pt x="8639" y="1536"/>
                  </a:moveTo>
                  <a:lnTo>
                    <a:pt x="8704" y="1536"/>
                  </a:lnTo>
                  <a:lnTo>
                    <a:pt x="8704" y="1471"/>
                  </a:lnTo>
                  <a:lnTo>
                    <a:pt x="8639" y="1471"/>
                  </a:lnTo>
                  <a:lnTo>
                    <a:pt x="8639" y="1536"/>
                  </a:lnTo>
                  <a:close/>
                  <a:moveTo>
                    <a:pt x="8639" y="1649"/>
                  </a:moveTo>
                  <a:lnTo>
                    <a:pt x="8704" y="1649"/>
                  </a:lnTo>
                  <a:lnTo>
                    <a:pt x="8704" y="1585"/>
                  </a:lnTo>
                  <a:lnTo>
                    <a:pt x="8639" y="1585"/>
                  </a:lnTo>
                  <a:lnTo>
                    <a:pt x="8639" y="1649"/>
                  </a:lnTo>
                  <a:close/>
                  <a:moveTo>
                    <a:pt x="8639" y="1766"/>
                  </a:moveTo>
                  <a:lnTo>
                    <a:pt x="8704" y="1766"/>
                  </a:lnTo>
                  <a:lnTo>
                    <a:pt x="8704" y="1702"/>
                  </a:lnTo>
                  <a:lnTo>
                    <a:pt x="8639" y="1702"/>
                  </a:lnTo>
                  <a:lnTo>
                    <a:pt x="8639" y="1766"/>
                  </a:lnTo>
                  <a:close/>
                  <a:moveTo>
                    <a:pt x="8639" y="1880"/>
                  </a:moveTo>
                  <a:lnTo>
                    <a:pt x="8704" y="1880"/>
                  </a:lnTo>
                  <a:lnTo>
                    <a:pt x="8704" y="1816"/>
                  </a:lnTo>
                  <a:lnTo>
                    <a:pt x="8639" y="1816"/>
                  </a:lnTo>
                  <a:lnTo>
                    <a:pt x="8639" y="1880"/>
                  </a:lnTo>
                  <a:close/>
                  <a:moveTo>
                    <a:pt x="8639" y="1994"/>
                  </a:moveTo>
                  <a:lnTo>
                    <a:pt x="8704" y="1994"/>
                  </a:lnTo>
                  <a:lnTo>
                    <a:pt x="8704" y="1929"/>
                  </a:lnTo>
                  <a:lnTo>
                    <a:pt x="8639" y="1929"/>
                  </a:lnTo>
                  <a:lnTo>
                    <a:pt x="8639" y="1994"/>
                  </a:lnTo>
                  <a:close/>
                  <a:moveTo>
                    <a:pt x="8639" y="2105"/>
                  </a:moveTo>
                  <a:lnTo>
                    <a:pt x="8704" y="2105"/>
                  </a:lnTo>
                  <a:lnTo>
                    <a:pt x="8704" y="2040"/>
                  </a:lnTo>
                  <a:lnTo>
                    <a:pt x="8639" y="2040"/>
                  </a:lnTo>
                  <a:lnTo>
                    <a:pt x="8639" y="2105"/>
                  </a:lnTo>
                  <a:close/>
                  <a:moveTo>
                    <a:pt x="8639" y="2218"/>
                  </a:moveTo>
                  <a:lnTo>
                    <a:pt x="8704" y="2218"/>
                  </a:lnTo>
                  <a:lnTo>
                    <a:pt x="8704" y="2153"/>
                  </a:lnTo>
                  <a:lnTo>
                    <a:pt x="8639" y="2153"/>
                  </a:lnTo>
                  <a:lnTo>
                    <a:pt x="8639" y="2218"/>
                  </a:lnTo>
                  <a:close/>
                  <a:moveTo>
                    <a:pt x="8639" y="2332"/>
                  </a:moveTo>
                  <a:lnTo>
                    <a:pt x="8704" y="2332"/>
                  </a:lnTo>
                  <a:lnTo>
                    <a:pt x="8704" y="2268"/>
                  </a:lnTo>
                  <a:lnTo>
                    <a:pt x="8639" y="2268"/>
                  </a:lnTo>
                  <a:lnTo>
                    <a:pt x="8639" y="2332"/>
                  </a:lnTo>
                  <a:close/>
                  <a:moveTo>
                    <a:pt x="8639" y="2445"/>
                  </a:moveTo>
                  <a:lnTo>
                    <a:pt x="8704" y="2445"/>
                  </a:lnTo>
                  <a:lnTo>
                    <a:pt x="8704" y="2381"/>
                  </a:lnTo>
                  <a:lnTo>
                    <a:pt x="8639" y="2381"/>
                  </a:lnTo>
                  <a:lnTo>
                    <a:pt x="8639" y="2445"/>
                  </a:lnTo>
                  <a:close/>
                  <a:moveTo>
                    <a:pt x="8639" y="2557"/>
                  </a:moveTo>
                  <a:lnTo>
                    <a:pt x="8704" y="2557"/>
                  </a:lnTo>
                  <a:lnTo>
                    <a:pt x="8704" y="2493"/>
                  </a:lnTo>
                  <a:lnTo>
                    <a:pt x="8639" y="2493"/>
                  </a:lnTo>
                  <a:lnTo>
                    <a:pt x="8639" y="2557"/>
                  </a:lnTo>
                  <a:close/>
                  <a:moveTo>
                    <a:pt x="8639" y="2670"/>
                  </a:moveTo>
                  <a:lnTo>
                    <a:pt x="8704" y="2670"/>
                  </a:lnTo>
                  <a:lnTo>
                    <a:pt x="8704" y="2606"/>
                  </a:lnTo>
                  <a:lnTo>
                    <a:pt x="8639" y="2606"/>
                  </a:lnTo>
                  <a:lnTo>
                    <a:pt x="8639" y="2670"/>
                  </a:lnTo>
                  <a:close/>
                  <a:moveTo>
                    <a:pt x="8639" y="2785"/>
                  </a:moveTo>
                  <a:lnTo>
                    <a:pt x="8704" y="2785"/>
                  </a:lnTo>
                  <a:lnTo>
                    <a:pt x="8704" y="2720"/>
                  </a:lnTo>
                  <a:lnTo>
                    <a:pt x="8639" y="2720"/>
                  </a:lnTo>
                  <a:lnTo>
                    <a:pt x="8639" y="2785"/>
                  </a:lnTo>
                  <a:close/>
                  <a:moveTo>
                    <a:pt x="8639" y="2898"/>
                  </a:moveTo>
                  <a:lnTo>
                    <a:pt x="8704" y="2898"/>
                  </a:lnTo>
                  <a:lnTo>
                    <a:pt x="8704" y="2834"/>
                  </a:lnTo>
                  <a:lnTo>
                    <a:pt x="8639" y="2834"/>
                  </a:lnTo>
                  <a:lnTo>
                    <a:pt x="8639" y="2898"/>
                  </a:lnTo>
                  <a:close/>
                  <a:moveTo>
                    <a:pt x="8639" y="3009"/>
                  </a:moveTo>
                  <a:lnTo>
                    <a:pt x="8704" y="3009"/>
                  </a:lnTo>
                  <a:lnTo>
                    <a:pt x="8704" y="2945"/>
                  </a:lnTo>
                  <a:lnTo>
                    <a:pt x="8639" y="2945"/>
                  </a:lnTo>
                  <a:lnTo>
                    <a:pt x="8639" y="3009"/>
                  </a:lnTo>
                  <a:close/>
                  <a:moveTo>
                    <a:pt x="8639" y="3122"/>
                  </a:moveTo>
                  <a:lnTo>
                    <a:pt x="8704" y="3122"/>
                  </a:lnTo>
                  <a:lnTo>
                    <a:pt x="8704" y="3058"/>
                  </a:lnTo>
                  <a:lnTo>
                    <a:pt x="8639" y="3058"/>
                  </a:lnTo>
                  <a:lnTo>
                    <a:pt x="8639" y="3122"/>
                  </a:lnTo>
                  <a:close/>
                  <a:moveTo>
                    <a:pt x="8639" y="3237"/>
                  </a:moveTo>
                  <a:lnTo>
                    <a:pt x="8704" y="3237"/>
                  </a:lnTo>
                  <a:lnTo>
                    <a:pt x="8704" y="3172"/>
                  </a:lnTo>
                  <a:lnTo>
                    <a:pt x="8639" y="3172"/>
                  </a:lnTo>
                  <a:lnTo>
                    <a:pt x="8639" y="3237"/>
                  </a:lnTo>
                  <a:close/>
                  <a:moveTo>
                    <a:pt x="8639" y="3350"/>
                  </a:moveTo>
                  <a:lnTo>
                    <a:pt x="8704" y="3350"/>
                  </a:lnTo>
                  <a:lnTo>
                    <a:pt x="8704" y="3285"/>
                  </a:lnTo>
                  <a:lnTo>
                    <a:pt x="8639" y="3285"/>
                  </a:lnTo>
                  <a:lnTo>
                    <a:pt x="8639" y="3350"/>
                  </a:lnTo>
                  <a:close/>
                  <a:moveTo>
                    <a:pt x="8639" y="3463"/>
                  </a:moveTo>
                  <a:lnTo>
                    <a:pt x="8704" y="3463"/>
                  </a:lnTo>
                  <a:lnTo>
                    <a:pt x="8704" y="3398"/>
                  </a:lnTo>
                  <a:lnTo>
                    <a:pt x="8639" y="3398"/>
                  </a:lnTo>
                  <a:lnTo>
                    <a:pt x="8639" y="3463"/>
                  </a:lnTo>
                  <a:close/>
                  <a:moveTo>
                    <a:pt x="8639" y="3576"/>
                  </a:moveTo>
                  <a:lnTo>
                    <a:pt x="8704" y="3576"/>
                  </a:lnTo>
                  <a:lnTo>
                    <a:pt x="8704" y="3512"/>
                  </a:lnTo>
                  <a:lnTo>
                    <a:pt x="8639" y="3512"/>
                  </a:lnTo>
                  <a:lnTo>
                    <a:pt x="8639" y="3576"/>
                  </a:lnTo>
                  <a:close/>
                  <a:moveTo>
                    <a:pt x="8639" y="3690"/>
                  </a:moveTo>
                  <a:lnTo>
                    <a:pt x="8704" y="3690"/>
                  </a:lnTo>
                  <a:lnTo>
                    <a:pt x="8704" y="3626"/>
                  </a:lnTo>
                  <a:lnTo>
                    <a:pt x="8639" y="3626"/>
                  </a:lnTo>
                  <a:lnTo>
                    <a:pt x="8639" y="3690"/>
                  </a:lnTo>
                  <a:close/>
                  <a:moveTo>
                    <a:pt x="8639" y="3803"/>
                  </a:moveTo>
                  <a:lnTo>
                    <a:pt x="8704" y="3803"/>
                  </a:lnTo>
                  <a:lnTo>
                    <a:pt x="8704" y="3739"/>
                  </a:lnTo>
                  <a:lnTo>
                    <a:pt x="8639" y="3739"/>
                  </a:lnTo>
                  <a:lnTo>
                    <a:pt x="8639" y="3803"/>
                  </a:lnTo>
                  <a:close/>
                  <a:moveTo>
                    <a:pt x="8639" y="3914"/>
                  </a:moveTo>
                  <a:lnTo>
                    <a:pt x="8704" y="3914"/>
                  </a:lnTo>
                  <a:lnTo>
                    <a:pt x="8704" y="3850"/>
                  </a:lnTo>
                  <a:lnTo>
                    <a:pt x="8639" y="3850"/>
                  </a:lnTo>
                  <a:lnTo>
                    <a:pt x="8639" y="3914"/>
                  </a:lnTo>
                  <a:close/>
                  <a:moveTo>
                    <a:pt x="8754" y="1649"/>
                  </a:moveTo>
                  <a:lnTo>
                    <a:pt x="8818" y="1649"/>
                  </a:lnTo>
                  <a:lnTo>
                    <a:pt x="8818" y="1585"/>
                  </a:lnTo>
                  <a:lnTo>
                    <a:pt x="8754" y="1585"/>
                  </a:lnTo>
                  <a:lnTo>
                    <a:pt x="8754" y="1649"/>
                  </a:lnTo>
                  <a:close/>
                  <a:moveTo>
                    <a:pt x="8754" y="1766"/>
                  </a:moveTo>
                  <a:lnTo>
                    <a:pt x="8818" y="1766"/>
                  </a:lnTo>
                  <a:lnTo>
                    <a:pt x="8818" y="1702"/>
                  </a:lnTo>
                  <a:lnTo>
                    <a:pt x="8754" y="1702"/>
                  </a:lnTo>
                  <a:lnTo>
                    <a:pt x="8754" y="1766"/>
                  </a:lnTo>
                  <a:close/>
                  <a:moveTo>
                    <a:pt x="8754" y="1880"/>
                  </a:moveTo>
                  <a:lnTo>
                    <a:pt x="8818" y="1880"/>
                  </a:lnTo>
                  <a:lnTo>
                    <a:pt x="8818" y="1816"/>
                  </a:lnTo>
                  <a:lnTo>
                    <a:pt x="8754" y="1816"/>
                  </a:lnTo>
                  <a:lnTo>
                    <a:pt x="8754" y="1880"/>
                  </a:lnTo>
                  <a:close/>
                  <a:moveTo>
                    <a:pt x="8754" y="1994"/>
                  </a:moveTo>
                  <a:lnTo>
                    <a:pt x="8818" y="1994"/>
                  </a:lnTo>
                  <a:lnTo>
                    <a:pt x="8818" y="1929"/>
                  </a:lnTo>
                  <a:lnTo>
                    <a:pt x="8754" y="1929"/>
                  </a:lnTo>
                  <a:lnTo>
                    <a:pt x="8754" y="1994"/>
                  </a:lnTo>
                  <a:close/>
                  <a:moveTo>
                    <a:pt x="8754" y="2105"/>
                  </a:moveTo>
                  <a:lnTo>
                    <a:pt x="8818" y="2105"/>
                  </a:lnTo>
                  <a:lnTo>
                    <a:pt x="8818" y="2040"/>
                  </a:lnTo>
                  <a:lnTo>
                    <a:pt x="8754" y="2040"/>
                  </a:lnTo>
                  <a:lnTo>
                    <a:pt x="8754" y="2105"/>
                  </a:lnTo>
                  <a:close/>
                  <a:moveTo>
                    <a:pt x="8754" y="2218"/>
                  </a:moveTo>
                  <a:lnTo>
                    <a:pt x="8818" y="2218"/>
                  </a:lnTo>
                  <a:lnTo>
                    <a:pt x="8818" y="2153"/>
                  </a:lnTo>
                  <a:lnTo>
                    <a:pt x="8754" y="2153"/>
                  </a:lnTo>
                  <a:lnTo>
                    <a:pt x="8754" y="2218"/>
                  </a:lnTo>
                  <a:close/>
                  <a:moveTo>
                    <a:pt x="8754" y="2332"/>
                  </a:moveTo>
                  <a:lnTo>
                    <a:pt x="8818" y="2332"/>
                  </a:lnTo>
                  <a:lnTo>
                    <a:pt x="8818" y="2268"/>
                  </a:lnTo>
                  <a:lnTo>
                    <a:pt x="8754" y="2268"/>
                  </a:lnTo>
                  <a:lnTo>
                    <a:pt x="8754" y="2332"/>
                  </a:lnTo>
                  <a:close/>
                  <a:moveTo>
                    <a:pt x="8754" y="2445"/>
                  </a:moveTo>
                  <a:lnTo>
                    <a:pt x="8818" y="2445"/>
                  </a:lnTo>
                  <a:lnTo>
                    <a:pt x="8818" y="2381"/>
                  </a:lnTo>
                  <a:lnTo>
                    <a:pt x="8754" y="2381"/>
                  </a:lnTo>
                  <a:lnTo>
                    <a:pt x="8754" y="2445"/>
                  </a:lnTo>
                  <a:close/>
                  <a:moveTo>
                    <a:pt x="8754" y="2557"/>
                  </a:moveTo>
                  <a:lnTo>
                    <a:pt x="8818" y="2557"/>
                  </a:lnTo>
                  <a:lnTo>
                    <a:pt x="8818" y="2493"/>
                  </a:lnTo>
                  <a:lnTo>
                    <a:pt x="8754" y="2493"/>
                  </a:lnTo>
                  <a:lnTo>
                    <a:pt x="8754" y="2557"/>
                  </a:lnTo>
                  <a:close/>
                  <a:moveTo>
                    <a:pt x="8754" y="2670"/>
                  </a:moveTo>
                  <a:lnTo>
                    <a:pt x="8818" y="2670"/>
                  </a:lnTo>
                  <a:lnTo>
                    <a:pt x="8818" y="2606"/>
                  </a:lnTo>
                  <a:lnTo>
                    <a:pt x="8754" y="2606"/>
                  </a:lnTo>
                  <a:lnTo>
                    <a:pt x="8754" y="2670"/>
                  </a:lnTo>
                  <a:close/>
                  <a:moveTo>
                    <a:pt x="8754" y="2785"/>
                  </a:moveTo>
                  <a:lnTo>
                    <a:pt x="8818" y="2785"/>
                  </a:lnTo>
                  <a:lnTo>
                    <a:pt x="8818" y="2720"/>
                  </a:lnTo>
                  <a:lnTo>
                    <a:pt x="8754" y="2720"/>
                  </a:lnTo>
                  <a:lnTo>
                    <a:pt x="8754" y="2785"/>
                  </a:lnTo>
                  <a:close/>
                  <a:moveTo>
                    <a:pt x="8754" y="2898"/>
                  </a:moveTo>
                  <a:lnTo>
                    <a:pt x="8818" y="2898"/>
                  </a:lnTo>
                  <a:lnTo>
                    <a:pt x="8818" y="2834"/>
                  </a:lnTo>
                  <a:lnTo>
                    <a:pt x="8754" y="2834"/>
                  </a:lnTo>
                  <a:lnTo>
                    <a:pt x="8754" y="2898"/>
                  </a:lnTo>
                  <a:close/>
                  <a:moveTo>
                    <a:pt x="8754" y="3009"/>
                  </a:moveTo>
                  <a:lnTo>
                    <a:pt x="8818" y="3009"/>
                  </a:lnTo>
                  <a:lnTo>
                    <a:pt x="8818" y="2945"/>
                  </a:lnTo>
                  <a:lnTo>
                    <a:pt x="8754" y="2945"/>
                  </a:lnTo>
                  <a:lnTo>
                    <a:pt x="8754" y="3009"/>
                  </a:lnTo>
                  <a:close/>
                  <a:moveTo>
                    <a:pt x="8754" y="3122"/>
                  </a:moveTo>
                  <a:lnTo>
                    <a:pt x="8818" y="3122"/>
                  </a:lnTo>
                  <a:lnTo>
                    <a:pt x="8818" y="3058"/>
                  </a:lnTo>
                  <a:lnTo>
                    <a:pt x="8754" y="3058"/>
                  </a:lnTo>
                  <a:lnTo>
                    <a:pt x="8754" y="3122"/>
                  </a:lnTo>
                  <a:close/>
                  <a:moveTo>
                    <a:pt x="8754" y="3237"/>
                  </a:moveTo>
                  <a:lnTo>
                    <a:pt x="8818" y="3237"/>
                  </a:lnTo>
                  <a:lnTo>
                    <a:pt x="8818" y="3172"/>
                  </a:lnTo>
                  <a:lnTo>
                    <a:pt x="8754" y="3172"/>
                  </a:lnTo>
                  <a:lnTo>
                    <a:pt x="8754" y="3237"/>
                  </a:lnTo>
                  <a:close/>
                  <a:moveTo>
                    <a:pt x="8754" y="3350"/>
                  </a:moveTo>
                  <a:lnTo>
                    <a:pt x="8818" y="3350"/>
                  </a:lnTo>
                  <a:lnTo>
                    <a:pt x="8818" y="3285"/>
                  </a:lnTo>
                  <a:lnTo>
                    <a:pt x="8754" y="3285"/>
                  </a:lnTo>
                  <a:lnTo>
                    <a:pt x="8754" y="3350"/>
                  </a:lnTo>
                  <a:close/>
                  <a:moveTo>
                    <a:pt x="8754" y="3463"/>
                  </a:moveTo>
                  <a:lnTo>
                    <a:pt x="8818" y="3463"/>
                  </a:lnTo>
                  <a:lnTo>
                    <a:pt x="8818" y="3398"/>
                  </a:lnTo>
                  <a:lnTo>
                    <a:pt x="8754" y="3398"/>
                  </a:lnTo>
                  <a:lnTo>
                    <a:pt x="8754" y="3463"/>
                  </a:lnTo>
                  <a:close/>
                  <a:moveTo>
                    <a:pt x="8754" y="3576"/>
                  </a:moveTo>
                  <a:lnTo>
                    <a:pt x="8818" y="3576"/>
                  </a:lnTo>
                  <a:lnTo>
                    <a:pt x="8818" y="3512"/>
                  </a:lnTo>
                  <a:lnTo>
                    <a:pt x="8754" y="3512"/>
                  </a:lnTo>
                  <a:lnTo>
                    <a:pt x="8754" y="3576"/>
                  </a:lnTo>
                  <a:close/>
                  <a:moveTo>
                    <a:pt x="8754" y="3690"/>
                  </a:moveTo>
                  <a:lnTo>
                    <a:pt x="8818" y="3690"/>
                  </a:lnTo>
                  <a:lnTo>
                    <a:pt x="8818" y="3626"/>
                  </a:lnTo>
                  <a:lnTo>
                    <a:pt x="8754" y="3626"/>
                  </a:lnTo>
                  <a:lnTo>
                    <a:pt x="8754" y="3690"/>
                  </a:lnTo>
                  <a:close/>
                  <a:moveTo>
                    <a:pt x="8754" y="3803"/>
                  </a:moveTo>
                  <a:lnTo>
                    <a:pt x="8818" y="3803"/>
                  </a:lnTo>
                  <a:lnTo>
                    <a:pt x="8818" y="3739"/>
                  </a:lnTo>
                  <a:lnTo>
                    <a:pt x="8754" y="3739"/>
                  </a:lnTo>
                  <a:lnTo>
                    <a:pt x="8754" y="3803"/>
                  </a:lnTo>
                  <a:close/>
                  <a:moveTo>
                    <a:pt x="8754" y="3914"/>
                  </a:moveTo>
                  <a:lnTo>
                    <a:pt x="8818" y="3914"/>
                  </a:lnTo>
                  <a:lnTo>
                    <a:pt x="8818" y="3850"/>
                  </a:lnTo>
                  <a:lnTo>
                    <a:pt x="8754" y="3850"/>
                  </a:lnTo>
                  <a:lnTo>
                    <a:pt x="8754" y="3914"/>
                  </a:lnTo>
                  <a:close/>
                  <a:moveTo>
                    <a:pt x="8754" y="4028"/>
                  </a:moveTo>
                  <a:lnTo>
                    <a:pt x="8818" y="4028"/>
                  </a:lnTo>
                  <a:lnTo>
                    <a:pt x="8818" y="3963"/>
                  </a:lnTo>
                  <a:lnTo>
                    <a:pt x="8754" y="3963"/>
                  </a:lnTo>
                  <a:lnTo>
                    <a:pt x="8754" y="4028"/>
                  </a:lnTo>
                  <a:close/>
                  <a:moveTo>
                    <a:pt x="8868" y="1536"/>
                  </a:moveTo>
                  <a:lnTo>
                    <a:pt x="8932" y="1536"/>
                  </a:lnTo>
                  <a:lnTo>
                    <a:pt x="8932" y="1471"/>
                  </a:lnTo>
                  <a:lnTo>
                    <a:pt x="8868" y="1471"/>
                  </a:lnTo>
                  <a:lnTo>
                    <a:pt x="8868" y="1536"/>
                  </a:lnTo>
                  <a:close/>
                  <a:moveTo>
                    <a:pt x="8868" y="1649"/>
                  </a:moveTo>
                  <a:lnTo>
                    <a:pt x="8932" y="1649"/>
                  </a:lnTo>
                  <a:lnTo>
                    <a:pt x="8932" y="1585"/>
                  </a:lnTo>
                  <a:lnTo>
                    <a:pt x="8868" y="1585"/>
                  </a:lnTo>
                  <a:lnTo>
                    <a:pt x="8868" y="1649"/>
                  </a:lnTo>
                  <a:close/>
                  <a:moveTo>
                    <a:pt x="8868" y="1766"/>
                  </a:moveTo>
                  <a:lnTo>
                    <a:pt x="8932" y="1766"/>
                  </a:lnTo>
                  <a:lnTo>
                    <a:pt x="8932" y="1702"/>
                  </a:lnTo>
                  <a:lnTo>
                    <a:pt x="8868" y="1702"/>
                  </a:lnTo>
                  <a:lnTo>
                    <a:pt x="8868" y="1766"/>
                  </a:lnTo>
                  <a:close/>
                  <a:moveTo>
                    <a:pt x="8868" y="1880"/>
                  </a:moveTo>
                  <a:lnTo>
                    <a:pt x="8932" y="1880"/>
                  </a:lnTo>
                  <a:lnTo>
                    <a:pt x="8932" y="1816"/>
                  </a:lnTo>
                  <a:lnTo>
                    <a:pt x="8868" y="1816"/>
                  </a:lnTo>
                  <a:lnTo>
                    <a:pt x="8868" y="1880"/>
                  </a:lnTo>
                  <a:close/>
                  <a:moveTo>
                    <a:pt x="8868" y="1994"/>
                  </a:moveTo>
                  <a:lnTo>
                    <a:pt x="8932" y="1994"/>
                  </a:lnTo>
                  <a:lnTo>
                    <a:pt x="8932" y="1929"/>
                  </a:lnTo>
                  <a:lnTo>
                    <a:pt x="8868" y="1929"/>
                  </a:lnTo>
                  <a:lnTo>
                    <a:pt x="8868" y="1994"/>
                  </a:lnTo>
                  <a:close/>
                  <a:moveTo>
                    <a:pt x="8868" y="2105"/>
                  </a:moveTo>
                  <a:lnTo>
                    <a:pt x="8932" y="2105"/>
                  </a:lnTo>
                  <a:lnTo>
                    <a:pt x="8932" y="2040"/>
                  </a:lnTo>
                  <a:lnTo>
                    <a:pt x="8868" y="2040"/>
                  </a:lnTo>
                  <a:lnTo>
                    <a:pt x="8868" y="2105"/>
                  </a:lnTo>
                  <a:close/>
                  <a:moveTo>
                    <a:pt x="8868" y="2218"/>
                  </a:moveTo>
                  <a:lnTo>
                    <a:pt x="8932" y="2218"/>
                  </a:lnTo>
                  <a:lnTo>
                    <a:pt x="8932" y="2153"/>
                  </a:lnTo>
                  <a:lnTo>
                    <a:pt x="8868" y="2153"/>
                  </a:lnTo>
                  <a:lnTo>
                    <a:pt x="8868" y="2218"/>
                  </a:lnTo>
                  <a:close/>
                  <a:moveTo>
                    <a:pt x="8868" y="2332"/>
                  </a:moveTo>
                  <a:lnTo>
                    <a:pt x="8932" y="2332"/>
                  </a:lnTo>
                  <a:lnTo>
                    <a:pt x="8932" y="2268"/>
                  </a:lnTo>
                  <a:lnTo>
                    <a:pt x="8868" y="2268"/>
                  </a:lnTo>
                  <a:lnTo>
                    <a:pt x="8868" y="2332"/>
                  </a:lnTo>
                  <a:close/>
                  <a:moveTo>
                    <a:pt x="8868" y="2445"/>
                  </a:moveTo>
                  <a:lnTo>
                    <a:pt x="8932" y="2445"/>
                  </a:lnTo>
                  <a:lnTo>
                    <a:pt x="8932" y="2381"/>
                  </a:lnTo>
                  <a:lnTo>
                    <a:pt x="8868" y="2381"/>
                  </a:lnTo>
                  <a:lnTo>
                    <a:pt x="8868" y="2445"/>
                  </a:lnTo>
                  <a:close/>
                  <a:moveTo>
                    <a:pt x="8868" y="2557"/>
                  </a:moveTo>
                  <a:lnTo>
                    <a:pt x="8932" y="2557"/>
                  </a:lnTo>
                  <a:lnTo>
                    <a:pt x="8932" y="2493"/>
                  </a:lnTo>
                  <a:lnTo>
                    <a:pt x="8868" y="2493"/>
                  </a:lnTo>
                  <a:lnTo>
                    <a:pt x="8868" y="2557"/>
                  </a:lnTo>
                  <a:close/>
                  <a:moveTo>
                    <a:pt x="8868" y="2670"/>
                  </a:moveTo>
                  <a:lnTo>
                    <a:pt x="8932" y="2670"/>
                  </a:lnTo>
                  <a:lnTo>
                    <a:pt x="8932" y="2606"/>
                  </a:lnTo>
                  <a:lnTo>
                    <a:pt x="8868" y="2606"/>
                  </a:lnTo>
                  <a:lnTo>
                    <a:pt x="8868" y="2670"/>
                  </a:lnTo>
                  <a:close/>
                  <a:moveTo>
                    <a:pt x="8868" y="2785"/>
                  </a:moveTo>
                  <a:lnTo>
                    <a:pt x="8932" y="2785"/>
                  </a:lnTo>
                  <a:lnTo>
                    <a:pt x="8932" y="2720"/>
                  </a:lnTo>
                  <a:lnTo>
                    <a:pt x="8868" y="2720"/>
                  </a:lnTo>
                  <a:lnTo>
                    <a:pt x="8868" y="2785"/>
                  </a:lnTo>
                  <a:close/>
                  <a:moveTo>
                    <a:pt x="8868" y="2898"/>
                  </a:moveTo>
                  <a:lnTo>
                    <a:pt x="8932" y="2898"/>
                  </a:lnTo>
                  <a:lnTo>
                    <a:pt x="8932" y="2834"/>
                  </a:lnTo>
                  <a:lnTo>
                    <a:pt x="8868" y="2834"/>
                  </a:lnTo>
                  <a:lnTo>
                    <a:pt x="8868" y="2898"/>
                  </a:lnTo>
                  <a:close/>
                  <a:moveTo>
                    <a:pt x="8868" y="3009"/>
                  </a:moveTo>
                  <a:lnTo>
                    <a:pt x="8932" y="3009"/>
                  </a:lnTo>
                  <a:lnTo>
                    <a:pt x="8932" y="2945"/>
                  </a:lnTo>
                  <a:lnTo>
                    <a:pt x="8868" y="2945"/>
                  </a:lnTo>
                  <a:lnTo>
                    <a:pt x="8868" y="3009"/>
                  </a:lnTo>
                  <a:close/>
                  <a:moveTo>
                    <a:pt x="8868" y="3122"/>
                  </a:moveTo>
                  <a:lnTo>
                    <a:pt x="8932" y="3122"/>
                  </a:lnTo>
                  <a:lnTo>
                    <a:pt x="8932" y="3058"/>
                  </a:lnTo>
                  <a:lnTo>
                    <a:pt x="8868" y="3058"/>
                  </a:lnTo>
                  <a:lnTo>
                    <a:pt x="8868" y="3122"/>
                  </a:lnTo>
                  <a:close/>
                  <a:moveTo>
                    <a:pt x="8868" y="3237"/>
                  </a:moveTo>
                  <a:lnTo>
                    <a:pt x="8932" y="3237"/>
                  </a:lnTo>
                  <a:lnTo>
                    <a:pt x="8932" y="3172"/>
                  </a:lnTo>
                  <a:lnTo>
                    <a:pt x="8868" y="3172"/>
                  </a:lnTo>
                  <a:lnTo>
                    <a:pt x="8868" y="3237"/>
                  </a:lnTo>
                  <a:close/>
                  <a:moveTo>
                    <a:pt x="8868" y="3350"/>
                  </a:moveTo>
                  <a:lnTo>
                    <a:pt x="8932" y="3350"/>
                  </a:lnTo>
                  <a:lnTo>
                    <a:pt x="8932" y="3285"/>
                  </a:lnTo>
                  <a:lnTo>
                    <a:pt x="8868" y="3285"/>
                  </a:lnTo>
                  <a:lnTo>
                    <a:pt x="8868" y="3350"/>
                  </a:lnTo>
                  <a:close/>
                  <a:moveTo>
                    <a:pt x="8868" y="3463"/>
                  </a:moveTo>
                  <a:lnTo>
                    <a:pt x="8932" y="3463"/>
                  </a:lnTo>
                  <a:lnTo>
                    <a:pt x="8932" y="3398"/>
                  </a:lnTo>
                  <a:lnTo>
                    <a:pt x="8868" y="3398"/>
                  </a:lnTo>
                  <a:lnTo>
                    <a:pt x="8868" y="3463"/>
                  </a:lnTo>
                  <a:close/>
                  <a:moveTo>
                    <a:pt x="8868" y="3576"/>
                  </a:moveTo>
                  <a:lnTo>
                    <a:pt x="8932" y="3576"/>
                  </a:lnTo>
                  <a:lnTo>
                    <a:pt x="8932" y="3512"/>
                  </a:lnTo>
                  <a:lnTo>
                    <a:pt x="8868" y="3512"/>
                  </a:lnTo>
                  <a:lnTo>
                    <a:pt x="8868" y="3576"/>
                  </a:lnTo>
                  <a:close/>
                  <a:moveTo>
                    <a:pt x="8868" y="3690"/>
                  </a:moveTo>
                  <a:lnTo>
                    <a:pt x="8932" y="3690"/>
                  </a:lnTo>
                  <a:lnTo>
                    <a:pt x="8932" y="3626"/>
                  </a:lnTo>
                  <a:lnTo>
                    <a:pt x="8868" y="3626"/>
                  </a:lnTo>
                  <a:lnTo>
                    <a:pt x="8868" y="3690"/>
                  </a:lnTo>
                  <a:close/>
                  <a:moveTo>
                    <a:pt x="8868" y="3803"/>
                  </a:moveTo>
                  <a:lnTo>
                    <a:pt x="8932" y="3803"/>
                  </a:lnTo>
                  <a:lnTo>
                    <a:pt x="8932" y="3739"/>
                  </a:lnTo>
                  <a:lnTo>
                    <a:pt x="8868" y="3739"/>
                  </a:lnTo>
                  <a:lnTo>
                    <a:pt x="8868" y="3803"/>
                  </a:lnTo>
                  <a:close/>
                  <a:moveTo>
                    <a:pt x="8868" y="3914"/>
                  </a:moveTo>
                  <a:lnTo>
                    <a:pt x="8932" y="3914"/>
                  </a:lnTo>
                  <a:lnTo>
                    <a:pt x="8932" y="3850"/>
                  </a:lnTo>
                  <a:lnTo>
                    <a:pt x="8868" y="3850"/>
                  </a:lnTo>
                  <a:lnTo>
                    <a:pt x="8868" y="3914"/>
                  </a:lnTo>
                  <a:close/>
                  <a:moveTo>
                    <a:pt x="8868" y="4028"/>
                  </a:moveTo>
                  <a:lnTo>
                    <a:pt x="8932" y="4028"/>
                  </a:lnTo>
                  <a:lnTo>
                    <a:pt x="8932" y="3963"/>
                  </a:lnTo>
                  <a:lnTo>
                    <a:pt x="8868" y="3963"/>
                  </a:lnTo>
                  <a:lnTo>
                    <a:pt x="8868" y="4028"/>
                  </a:lnTo>
                  <a:close/>
                  <a:moveTo>
                    <a:pt x="8868" y="4142"/>
                  </a:moveTo>
                  <a:lnTo>
                    <a:pt x="8932" y="4142"/>
                  </a:lnTo>
                  <a:lnTo>
                    <a:pt x="8932" y="4077"/>
                  </a:lnTo>
                  <a:lnTo>
                    <a:pt x="8868" y="4077"/>
                  </a:lnTo>
                  <a:lnTo>
                    <a:pt x="8868" y="4142"/>
                  </a:lnTo>
                  <a:close/>
                  <a:moveTo>
                    <a:pt x="8868" y="4255"/>
                  </a:moveTo>
                  <a:lnTo>
                    <a:pt x="8932" y="4255"/>
                  </a:lnTo>
                  <a:lnTo>
                    <a:pt x="8932" y="4191"/>
                  </a:lnTo>
                  <a:lnTo>
                    <a:pt x="8868" y="4191"/>
                  </a:lnTo>
                  <a:lnTo>
                    <a:pt x="8868" y="4255"/>
                  </a:lnTo>
                  <a:close/>
                  <a:moveTo>
                    <a:pt x="8980" y="1308"/>
                  </a:moveTo>
                  <a:lnTo>
                    <a:pt x="9044" y="1308"/>
                  </a:lnTo>
                  <a:lnTo>
                    <a:pt x="9044" y="1244"/>
                  </a:lnTo>
                  <a:lnTo>
                    <a:pt x="8980" y="1244"/>
                  </a:lnTo>
                  <a:lnTo>
                    <a:pt x="8980" y="1308"/>
                  </a:lnTo>
                  <a:close/>
                  <a:moveTo>
                    <a:pt x="8980" y="1422"/>
                  </a:moveTo>
                  <a:lnTo>
                    <a:pt x="9044" y="1422"/>
                  </a:lnTo>
                  <a:lnTo>
                    <a:pt x="9044" y="1358"/>
                  </a:lnTo>
                  <a:lnTo>
                    <a:pt x="8980" y="1358"/>
                  </a:lnTo>
                  <a:lnTo>
                    <a:pt x="8980" y="1422"/>
                  </a:lnTo>
                  <a:close/>
                  <a:moveTo>
                    <a:pt x="8980" y="1536"/>
                  </a:moveTo>
                  <a:lnTo>
                    <a:pt x="9044" y="1536"/>
                  </a:lnTo>
                  <a:lnTo>
                    <a:pt x="9044" y="1471"/>
                  </a:lnTo>
                  <a:lnTo>
                    <a:pt x="8980" y="1471"/>
                  </a:lnTo>
                  <a:lnTo>
                    <a:pt x="8980" y="1536"/>
                  </a:lnTo>
                  <a:close/>
                  <a:moveTo>
                    <a:pt x="8980" y="1649"/>
                  </a:moveTo>
                  <a:lnTo>
                    <a:pt x="9044" y="1649"/>
                  </a:lnTo>
                  <a:lnTo>
                    <a:pt x="9044" y="1585"/>
                  </a:lnTo>
                  <a:lnTo>
                    <a:pt x="8980" y="1585"/>
                  </a:lnTo>
                  <a:lnTo>
                    <a:pt x="8980" y="1649"/>
                  </a:lnTo>
                  <a:close/>
                  <a:moveTo>
                    <a:pt x="8980" y="1766"/>
                  </a:moveTo>
                  <a:lnTo>
                    <a:pt x="9044" y="1766"/>
                  </a:lnTo>
                  <a:lnTo>
                    <a:pt x="9044" y="1702"/>
                  </a:lnTo>
                  <a:lnTo>
                    <a:pt x="8980" y="1702"/>
                  </a:lnTo>
                  <a:lnTo>
                    <a:pt x="8980" y="1766"/>
                  </a:lnTo>
                  <a:close/>
                  <a:moveTo>
                    <a:pt x="8980" y="1880"/>
                  </a:moveTo>
                  <a:lnTo>
                    <a:pt x="9044" y="1880"/>
                  </a:lnTo>
                  <a:lnTo>
                    <a:pt x="9044" y="1816"/>
                  </a:lnTo>
                  <a:lnTo>
                    <a:pt x="8980" y="1816"/>
                  </a:lnTo>
                  <a:lnTo>
                    <a:pt x="8980" y="1880"/>
                  </a:lnTo>
                  <a:close/>
                  <a:moveTo>
                    <a:pt x="8980" y="1994"/>
                  </a:moveTo>
                  <a:lnTo>
                    <a:pt x="9044" y="1994"/>
                  </a:lnTo>
                  <a:lnTo>
                    <a:pt x="9044" y="1929"/>
                  </a:lnTo>
                  <a:lnTo>
                    <a:pt x="8980" y="1929"/>
                  </a:lnTo>
                  <a:lnTo>
                    <a:pt x="8980" y="1994"/>
                  </a:lnTo>
                  <a:close/>
                  <a:moveTo>
                    <a:pt x="8980" y="2105"/>
                  </a:moveTo>
                  <a:lnTo>
                    <a:pt x="9044" y="2105"/>
                  </a:lnTo>
                  <a:lnTo>
                    <a:pt x="9044" y="2040"/>
                  </a:lnTo>
                  <a:lnTo>
                    <a:pt x="8980" y="2040"/>
                  </a:lnTo>
                  <a:lnTo>
                    <a:pt x="8980" y="2105"/>
                  </a:lnTo>
                  <a:close/>
                  <a:moveTo>
                    <a:pt x="8980" y="2218"/>
                  </a:moveTo>
                  <a:lnTo>
                    <a:pt x="9044" y="2218"/>
                  </a:lnTo>
                  <a:lnTo>
                    <a:pt x="9044" y="2153"/>
                  </a:lnTo>
                  <a:lnTo>
                    <a:pt x="8980" y="2153"/>
                  </a:lnTo>
                  <a:lnTo>
                    <a:pt x="8980" y="2218"/>
                  </a:lnTo>
                  <a:close/>
                  <a:moveTo>
                    <a:pt x="8980" y="2332"/>
                  </a:moveTo>
                  <a:lnTo>
                    <a:pt x="9044" y="2332"/>
                  </a:lnTo>
                  <a:lnTo>
                    <a:pt x="9044" y="2268"/>
                  </a:lnTo>
                  <a:lnTo>
                    <a:pt x="8980" y="2268"/>
                  </a:lnTo>
                  <a:lnTo>
                    <a:pt x="8980" y="2332"/>
                  </a:lnTo>
                  <a:close/>
                  <a:moveTo>
                    <a:pt x="8980" y="2445"/>
                  </a:moveTo>
                  <a:lnTo>
                    <a:pt x="9044" y="2445"/>
                  </a:lnTo>
                  <a:lnTo>
                    <a:pt x="9044" y="2381"/>
                  </a:lnTo>
                  <a:lnTo>
                    <a:pt x="8980" y="2381"/>
                  </a:lnTo>
                  <a:lnTo>
                    <a:pt x="8980" y="2445"/>
                  </a:lnTo>
                  <a:close/>
                  <a:moveTo>
                    <a:pt x="8980" y="2557"/>
                  </a:moveTo>
                  <a:lnTo>
                    <a:pt x="9044" y="2557"/>
                  </a:lnTo>
                  <a:lnTo>
                    <a:pt x="9044" y="2493"/>
                  </a:lnTo>
                  <a:lnTo>
                    <a:pt x="8980" y="2493"/>
                  </a:lnTo>
                  <a:lnTo>
                    <a:pt x="8980" y="2557"/>
                  </a:lnTo>
                  <a:close/>
                  <a:moveTo>
                    <a:pt x="8980" y="2670"/>
                  </a:moveTo>
                  <a:lnTo>
                    <a:pt x="9044" y="2670"/>
                  </a:lnTo>
                  <a:lnTo>
                    <a:pt x="9044" y="2606"/>
                  </a:lnTo>
                  <a:lnTo>
                    <a:pt x="8980" y="2606"/>
                  </a:lnTo>
                  <a:lnTo>
                    <a:pt x="8980" y="2670"/>
                  </a:lnTo>
                  <a:close/>
                  <a:moveTo>
                    <a:pt x="8980" y="2785"/>
                  </a:moveTo>
                  <a:lnTo>
                    <a:pt x="9044" y="2785"/>
                  </a:lnTo>
                  <a:lnTo>
                    <a:pt x="9044" y="2720"/>
                  </a:lnTo>
                  <a:lnTo>
                    <a:pt x="8980" y="2720"/>
                  </a:lnTo>
                  <a:lnTo>
                    <a:pt x="8980" y="2785"/>
                  </a:lnTo>
                  <a:close/>
                  <a:moveTo>
                    <a:pt x="8980" y="2898"/>
                  </a:moveTo>
                  <a:lnTo>
                    <a:pt x="9044" y="2898"/>
                  </a:lnTo>
                  <a:lnTo>
                    <a:pt x="9044" y="2834"/>
                  </a:lnTo>
                  <a:lnTo>
                    <a:pt x="8980" y="2834"/>
                  </a:lnTo>
                  <a:lnTo>
                    <a:pt x="8980" y="2898"/>
                  </a:lnTo>
                  <a:close/>
                  <a:moveTo>
                    <a:pt x="8980" y="3009"/>
                  </a:moveTo>
                  <a:lnTo>
                    <a:pt x="9044" y="3009"/>
                  </a:lnTo>
                  <a:lnTo>
                    <a:pt x="9044" y="2945"/>
                  </a:lnTo>
                  <a:lnTo>
                    <a:pt x="8980" y="2945"/>
                  </a:lnTo>
                  <a:lnTo>
                    <a:pt x="8980" y="3009"/>
                  </a:lnTo>
                  <a:close/>
                  <a:moveTo>
                    <a:pt x="8980" y="3122"/>
                  </a:moveTo>
                  <a:lnTo>
                    <a:pt x="9044" y="3122"/>
                  </a:lnTo>
                  <a:lnTo>
                    <a:pt x="9044" y="3058"/>
                  </a:lnTo>
                  <a:lnTo>
                    <a:pt x="8980" y="3058"/>
                  </a:lnTo>
                  <a:lnTo>
                    <a:pt x="8980" y="3122"/>
                  </a:lnTo>
                  <a:close/>
                  <a:moveTo>
                    <a:pt x="8980" y="3237"/>
                  </a:moveTo>
                  <a:lnTo>
                    <a:pt x="9044" y="3237"/>
                  </a:lnTo>
                  <a:lnTo>
                    <a:pt x="9044" y="3172"/>
                  </a:lnTo>
                  <a:lnTo>
                    <a:pt x="8980" y="3172"/>
                  </a:lnTo>
                  <a:lnTo>
                    <a:pt x="8980" y="3237"/>
                  </a:lnTo>
                  <a:close/>
                  <a:moveTo>
                    <a:pt x="8980" y="3350"/>
                  </a:moveTo>
                  <a:lnTo>
                    <a:pt x="9044" y="3350"/>
                  </a:lnTo>
                  <a:lnTo>
                    <a:pt x="9044" y="3285"/>
                  </a:lnTo>
                  <a:lnTo>
                    <a:pt x="8980" y="3285"/>
                  </a:lnTo>
                  <a:lnTo>
                    <a:pt x="8980" y="3350"/>
                  </a:lnTo>
                  <a:close/>
                  <a:moveTo>
                    <a:pt x="8980" y="3463"/>
                  </a:moveTo>
                  <a:lnTo>
                    <a:pt x="9044" y="3463"/>
                  </a:lnTo>
                  <a:lnTo>
                    <a:pt x="9044" y="3398"/>
                  </a:lnTo>
                  <a:lnTo>
                    <a:pt x="8980" y="3398"/>
                  </a:lnTo>
                  <a:lnTo>
                    <a:pt x="8980" y="3463"/>
                  </a:lnTo>
                  <a:close/>
                  <a:moveTo>
                    <a:pt x="8980" y="3576"/>
                  </a:moveTo>
                  <a:lnTo>
                    <a:pt x="9044" y="3576"/>
                  </a:lnTo>
                  <a:lnTo>
                    <a:pt x="9044" y="3512"/>
                  </a:lnTo>
                  <a:lnTo>
                    <a:pt x="8980" y="3512"/>
                  </a:lnTo>
                  <a:lnTo>
                    <a:pt x="8980" y="3576"/>
                  </a:lnTo>
                  <a:close/>
                  <a:moveTo>
                    <a:pt x="8980" y="3690"/>
                  </a:moveTo>
                  <a:lnTo>
                    <a:pt x="9044" y="3690"/>
                  </a:lnTo>
                  <a:lnTo>
                    <a:pt x="9044" y="3626"/>
                  </a:lnTo>
                  <a:lnTo>
                    <a:pt x="8980" y="3626"/>
                  </a:lnTo>
                  <a:lnTo>
                    <a:pt x="8980" y="3690"/>
                  </a:lnTo>
                  <a:close/>
                  <a:moveTo>
                    <a:pt x="8980" y="3803"/>
                  </a:moveTo>
                  <a:lnTo>
                    <a:pt x="9044" y="3803"/>
                  </a:lnTo>
                  <a:lnTo>
                    <a:pt x="9044" y="3739"/>
                  </a:lnTo>
                  <a:lnTo>
                    <a:pt x="8980" y="3739"/>
                  </a:lnTo>
                  <a:lnTo>
                    <a:pt x="8980" y="3803"/>
                  </a:lnTo>
                  <a:close/>
                  <a:moveTo>
                    <a:pt x="8980" y="3914"/>
                  </a:moveTo>
                  <a:lnTo>
                    <a:pt x="9044" y="3914"/>
                  </a:lnTo>
                  <a:lnTo>
                    <a:pt x="9044" y="3850"/>
                  </a:lnTo>
                  <a:lnTo>
                    <a:pt x="8980" y="3850"/>
                  </a:lnTo>
                  <a:lnTo>
                    <a:pt x="8980" y="3914"/>
                  </a:lnTo>
                  <a:close/>
                  <a:moveTo>
                    <a:pt x="8980" y="4028"/>
                  </a:moveTo>
                  <a:lnTo>
                    <a:pt x="9044" y="4028"/>
                  </a:lnTo>
                  <a:lnTo>
                    <a:pt x="9044" y="3963"/>
                  </a:lnTo>
                  <a:lnTo>
                    <a:pt x="8980" y="3963"/>
                  </a:lnTo>
                  <a:lnTo>
                    <a:pt x="8980" y="4028"/>
                  </a:lnTo>
                  <a:close/>
                  <a:moveTo>
                    <a:pt x="8980" y="4142"/>
                  </a:moveTo>
                  <a:lnTo>
                    <a:pt x="9044" y="4142"/>
                  </a:lnTo>
                  <a:lnTo>
                    <a:pt x="9044" y="4077"/>
                  </a:lnTo>
                  <a:lnTo>
                    <a:pt x="8980" y="4077"/>
                  </a:lnTo>
                  <a:lnTo>
                    <a:pt x="8980" y="4142"/>
                  </a:lnTo>
                  <a:close/>
                  <a:moveTo>
                    <a:pt x="8980" y="4255"/>
                  </a:moveTo>
                  <a:lnTo>
                    <a:pt x="9044" y="4255"/>
                  </a:lnTo>
                  <a:lnTo>
                    <a:pt x="9044" y="4191"/>
                  </a:lnTo>
                  <a:lnTo>
                    <a:pt x="8980" y="4191"/>
                  </a:lnTo>
                  <a:lnTo>
                    <a:pt x="8980" y="4255"/>
                  </a:lnTo>
                  <a:close/>
                  <a:moveTo>
                    <a:pt x="9094" y="1198"/>
                  </a:moveTo>
                  <a:lnTo>
                    <a:pt x="9159" y="1198"/>
                  </a:lnTo>
                  <a:lnTo>
                    <a:pt x="9159" y="1133"/>
                  </a:lnTo>
                  <a:lnTo>
                    <a:pt x="9094" y="1133"/>
                  </a:lnTo>
                  <a:lnTo>
                    <a:pt x="9094" y="1198"/>
                  </a:lnTo>
                  <a:close/>
                  <a:moveTo>
                    <a:pt x="9094" y="1308"/>
                  </a:moveTo>
                  <a:lnTo>
                    <a:pt x="9159" y="1308"/>
                  </a:lnTo>
                  <a:lnTo>
                    <a:pt x="9159" y="1244"/>
                  </a:lnTo>
                  <a:lnTo>
                    <a:pt x="9094" y="1244"/>
                  </a:lnTo>
                  <a:lnTo>
                    <a:pt x="9094" y="1308"/>
                  </a:lnTo>
                  <a:close/>
                  <a:moveTo>
                    <a:pt x="9094" y="1422"/>
                  </a:moveTo>
                  <a:lnTo>
                    <a:pt x="9159" y="1422"/>
                  </a:lnTo>
                  <a:lnTo>
                    <a:pt x="9159" y="1358"/>
                  </a:lnTo>
                  <a:lnTo>
                    <a:pt x="9094" y="1358"/>
                  </a:lnTo>
                  <a:lnTo>
                    <a:pt x="9094" y="1422"/>
                  </a:lnTo>
                  <a:close/>
                  <a:moveTo>
                    <a:pt x="9094" y="1536"/>
                  </a:moveTo>
                  <a:lnTo>
                    <a:pt x="9159" y="1536"/>
                  </a:lnTo>
                  <a:lnTo>
                    <a:pt x="9159" y="1471"/>
                  </a:lnTo>
                  <a:lnTo>
                    <a:pt x="9094" y="1471"/>
                  </a:lnTo>
                  <a:lnTo>
                    <a:pt x="9094" y="1536"/>
                  </a:lnTo>
                  <a:close/>
                  <a:moveTo>
                    <a:pt x="9094" y="1649"/>
                  </a:moveTo>
                  <a:lnTo>
                    <a:pt x="9159" y="1649"/>
                  </a:lnTo>
                  <a:lnTo>
                    <a:pt x="9159" y="1585"/>
                  </a:lnTo>
                  <a:lnTo>
                    <a:pt x="9094" y="1585"/>
                  </a:lnTo>
                  <a:lnTo>
                    <a:pt x="9094" y="1649"/>
                  </a:lnTo>
                  <a:close/>
                  <a:moveTo>
                    <a:pt x="9094" y="1766"/>
                  </a:moveTo>
                  <a:lnTo>
                    <a:pt x="9159" y="1766"/>
                  </a:lnTo>
                  <a:lnTo>
                    <a:pt x="9159" y="1702"/>
                  </a:lnTo>
                  <a:lnTo>
                    <a:pt x="9094" y="1702"/>
                  </a:lnTo>
                  <a:lnTo>
                    <a:pt x="9094" y="1766"/>
                  </a:lnTo>
                  <a:close/>
                  <a:moveTo>
                    <a:pt x="9094" y="1880"/>
                  </a:moveTo>
                  <a:lnTo>
                    <a:pt x="9159" y="1880"/>
                  </a:lnTo>
                  <a:lnTo>
                    <a:pt x="9159" y="1816"/>
                  </a:lnTo>
                  <a:lnTo>
                    <a:pt x="9094" y="1816"/>
                  </a:lnTo>
                  <a:lnTo>
                    <a:pt x="9094" y="1880"/>
                  </a:lnTo>
                  <a:close/>
                  <a:moveTo>
                    <a:pt x="9094" y="1994"/>
                  </a:moveTo>
                  <a:lnTo>
                    <a:pt x="9159" y="1994"/>
                  </a:lnTo>
                  <a:lnTo>
                    <a:pt x="9159" y="1929"/>
                  </a:lnTo>
                  <a:lnTo>
                    <a:pt x="9094" y="1929"/>
                  </a:lnTo>
                  <a:lnTo>
                    <a:pt x="9094" y="1994"/>
                  </a:lnTo>
                  <a:close/>
                  <a:moveTo>
                    <a:pt x="9094" y="2105"/>
                  </a:moveTo>
                  <a:lnTo>
                    <a:pt x="9159" y="2105"/>
                  </a:lnTo>
                  <a:lnTo>
                    <a:pt x="9159" y="2040"/>
                  </a:lnTo>
                  <a:lnTo>
                    <a:pt x="9094" y="2040"/>
                  </a:lnTo>
                  <a:lnTo>
                    <a:pt x="9094" y="2105"/>
                  </a:lnTo>
                  <a:close/>
                  <a:moveTo>
                    <a:pt x="9094" y="2218"/>
                  </a:moveTo>
                  <a:lnTo>
                    <a:pt x="9159" y="2218"/>
                  </a:lnTo>
                  <a:lnTo>
                    <a:pt x="9159" y="2153"/>
                  </a:lnTo>
                  <a:lnTo>
                    <a:pt x="9094" y="2153"/>
                  </a:lnTo>
                  <a:lnTo>
                    <a:pt x="9094" y="2218"/>
                  </a:lnTo>
                  <a:close/>
                  <a:moveTo>
                    <a:pt x="9094" y="2332"/>
                  </a:moveTo>
                  <a:lnTo>
                    <a:pt x="9159" y="2332"/>
                  </a:lnTo>
                  <a:lnTo>
                    <a:pt x="9159" y="2268"/>
                  </a:lnTo>
                  <a:lnTo>
                    <a:pt x="9094" y="2268"/>
                  </a:lnTo>
                  <a:lnTo>
                    <a:pt x="9094" y="2332"/>
                  </a:lnTo>
                  <a:close/>
                  <a:moveTo>
                    <a:pt x="9094" y="2445"/>
                  </a:moveTo>
                  <a:lnTo>
                    <a:pt x="9159" y="2445"/>
                  </a:lnTo>
                  <a:lnTo>
                    <a:pt x="9159" y="2381"/>
                  </a:lnTo>
                  <a:lnTo>
                    <a:pt x="9094" y="2381"/>
                  </a:lnTo>
                  <a:lnTo>
                    <a:pt x="9094" y="2445"/>
                  </a:lnTo>
                  <a:close/>
                  <a:moveTo>
                    <a:pt x="9094" y="2557"/>
                  </a:moveTo>
                  <a:lnTo>
                    <a:pt x="9159" y="2557"/>
                  </a:lnTo>
                  <a:lnTo>
                    <a:pt x="9159" y="2493"/>
                  </a:lnTo>
                  <a:lnTo>
                    <a:pt x="9094" y="2493"/>
                  </a:lnTo>
                  <a:lnTo>
                    <a:pt x="9094" y="2557"/>
                  </a:lnTo>
                  <a:close/>
                  <a:moveTo>
                    <a:pt x="9094" y="2670"/>
                  </a:moveTo>
                  <a:lnTo>
                    <a:pt x="9159" y="2670"/>
                  </a:lnTo>
                  <a:lnTo>
                    <a:pt x="9159" y="2606"/>
                  </a:lnTo>
                  <a:lnTo>
                    <a:pt x="9094" y="2606"/>
                  </a:lnTo>
                  <a:lnTo>
                    <a:pt x="9094" y="2670"/>
                  </a:lnTo>
                  <a:close/>
                  <a:moveTo>
                    <a:pt x="9094" y="2785"/>
                  </a:moveTo>
                  <a:lnTo>
                    <a:pt x="9159" y="2785"/>
                  </a:lnTo>
                  <a:lnTo>
                    <a:pt x="9159" y="2720"/>
                  </a:lnTo>
                  <a:lnTo>
                    <a:pt x="9094" y="2720"/>
                  </a:lnTo>
                  <a:lnTo>
                    <a:pt x="9094" y="2785"/>
                  </a:lnTo>
                  <a:close/>
                  <a:moveTo>
                    <a:pt x="9094" y="2898"/>
                  </a:moveTo>
                  <a:lnTo>
                    <a:pt x="9159" y="2898"/>
                  </a:lnTo>
                  <a:lnTo>
                    <a:pt x="9159" y="2834"/>
                  </a:lnTo>
                  <a:lnTo>
                    <a:pt x="9094" y="2834"/>
                  </a:lnTo>
                  <a:lnTo>
                    <a:pt x="9094" y="2898"/>
                  </a:lnTo>
                  <a:close/>
                  <a:moveTo>
                    <a:pt x="9094" y="3009"/>
                  </a:moveTo>
                  <a:lnTo>
                    <a:pt x="9159" y="3009"/>
                  </a:lnTo>
                  <a:lnTo>
                    <a:pt x="9159" y="2945"/>
                  </a:lnTo>
                  <a:lnTo>
                    <a:pt x="9094" y="2945"/>
                  </a:lnTo>
                  <a:lnTo>
                    <a:pt x="9094" y="3009"/>
                  </a:lnTo>
                  <a:close/>
                  <a:moveTo>
                    <a:pt x="9094" y="3122"/>
                  </a:moveTo>
                  <a:lnTo>
                    <a:pt x="9159" y="3122"/>
                  </a:lnTo>
                  <a:lnTo>
                    <a:pt x="9159" y="3058"/>
                  </a:lnTo>
                  <a:lnTo>
                    <a:pt x="9094" y="3058"/>
                  </a:lnTo>
                  <a:lnTo>
                    <a:pt x="9094" y="3122"/>
                  </a:lnTo>
                  <a:close/>
                  <a:moveTo>
                    <a:pt x="9094" y="3237"/>
                  </a:moveTo>
                  <a:lnTo>
                    <a:pt x="9159" y="3237"/>
                  </a:lnTo>
                  <a:lnTo>
                    <a:pt x="9159" y="3172"/>
                  </a:lnTo>
                  <a:lnTo>
                    <a:pt x="9094" y="3172"/>
                  </a:lnTo>
                  <a:lnTo>
                    <a:pt x="9094" y="3237"/>
                  </a:lnTo>
                  <a:close/>
                  <a:moveTo>
                    <a:pt x="9094" y="3350"/>
                  </a:moveTo>
                  <a:lnTo>
                    <a:pt x="9159" y="3350"/>
                  </a:lnTo>
                  <a:lnTo>
                    <a:pt x="9159" y="3285"/>
                  </a:lnTo>
                  <a:lnTo>
                    <a:pt x="9094" y="3285"/>
                  </a:lnTo>
                  <a:lnTo>
                    <a:pt x="9094" y="3350"/>
                  </a:lnTo>
                  <a:close/>
                  <a:moveTo>
                    <a:pt x="9094" y="3463"/>
                  </a:moveTo>
                  <a:lnTo>
                    <a:pt x="9159" y="3463"/>
                  </a:lnTo>
                  <a:lnTo>
                    <a:pt x="9159" y="3398"/>
                  </a:lnTo>
                  <a:lnTo>
                    <a:pt x="9094" y="3398"/>
                  </a:lnTo>
                  <a:lnTo>
                    <a:pt x="9094" y="3463"/>
                  </a:lnTo>
                  <a:close/>
                  <a:moveTo>
                    <a:pt x="9094" y="3576"/>
                  </a:moveTo>
                  <a:lnTo>
                    <a:pt x="9159" y="3576"/>
                  </a:lnTo>
                  <a:lnTo>
                    <a:pt x="9159" y="3512"/>
                  </a:lnTo>
                  <a:lnTo>
                    <a:pt x="9094" y="3512"/>
                  </a:lnTo>
                  <a:lnTo>
                    <a:pt x="9094" y="3576"/>
                  </a:lnTo>
                  <a:close/>
                  <a:moveTo>
                    <a:pt x="9094" y="3690"/>
                  </a:moveTo>
                  <a:lnTo>
                    <a:pt x="9159" y="3690"/>
                  </a:lnTo>
                  <a:lnTo>
                    <a:pt x="9159" y="3626"/>
                  </a:lnTo>
                  <a:lnTo>
                    <a:pt x="9094" y="3626"/>
                  </a:lnTo>
                  <a:lnTo>
                    <a:pt x="9094" y="3690"/>
                  </a:lnTo>
                  <a:close/>
                  <a:moveTo>
                    <a:pt x="9094" y="3803"/>
                  </a:moveTo>
                  <a:lnTo>
                    <a:pt x="9159" y="3803"/>
                  </a:lnTo>
                  <a:lnTo>
                    <a:pt x="9159" y="3739"/>
                  </a:lnTo>
                  <a:lnTo>
                    <a:pt x="9094" y="3739"/>
                  </a:lnTo>
                  <a:lnTo>
                    <a:pt x="9094" y="3803"/>
                  </a:lnTo>
                  <a:close/>
                  <a:moveTo>
                    <a:pt x="9094" y="3914"/>
                  </a:moveTo>
                  <a:lnTo>
                    <a:pt x="9159" y="3914"/>
                  </a:lnTo>
                  <a:lnTo>
                    <a:pt x="9159" y="3850"/>
                  </a:lnTo>
                  <a:lnTo>
                    <a:pt x="9094" y="3850"/>
                  </a:lnTo>
                  <a:lnTo>
                    <a:pt x="9094" y="3914"/>
                  </a:lnTo>
                  <a:close/>
                  <a:moveTo>
                    <a:pt x="9094" y="4028"/>
                  </a:moveTo>
                  <a:lnTo>
                    <a:pt x="9159" y="4028"/>
                  </a:lnTo>
                  <a:lnTo>
                    <a:pt x="9159" y="3963"/>
                  </a:lnTo>
                  <a:lnTo>
                    <a:pt x="9094" y="3963"/>
                  </a:lnTo>
                  <a:lnTo>
                    <a:pt x="9094" y="4028"/>
                  </a:lnTo>
                  <a:close/>
                  <a:moveTo>
                    <a:pt x="9094" y="4142"/>
                  </a:moveTo>
                  <a:lnTo>
                    <a:pt x="9159" y="4142"/>
                  </a:lnTo>
                  <a:lnTo>
                    <a:pt x="9159" y="4077"/>
                  </a:lnTo>
                  <a:lnTo>
                    <a:pt x="9094" y="4077"/>
                  </a:lnTo>
                  <a:lnTo>
                    <a:pt x="9094" y="4142"/>
                  </a:lnTo>
                  <a:close/>
                  <a:moveTo>
                    <a:pt x="9094" y="4255"/>
                  </a:moveTo>
                  <a:lnTo>
                    <a:pt x="9159" y="4255"/>
                  </a:lnTo>
                  <a:lnTo>
                    <a:pt x="9159" y="4191"/>
                  </a:lnTo>
                  <a:lnTo>
                    <a:pt x="9094" y="4191"/>
                  </a:lnTo>
                  <a:lnTo>
                    <a:pt x="9094" y="4255"/>
                  </a:lnTo>
                  <a:close/>
                  <a:moveTo>
                    <a:pt x="9208" y="1198"/>
                  </a:moveTo>
                  <a:lnTo>
                    <a:pt x="9272" y="1198"/>
                  </a:lnTo>
                  <a:lnTo>
                    <a:pt x="9272" y="1133"/>
                  </a:lnTo>
                  <a:lnTo>
                    <a:pt x="9208" y="1133"/>
                  </a:lnTo>
                  <a:lnTo>
                    <a:pt x="9208" y="1198"/>
                  </a:lnTo>
                  <a:close/>
                  <a:moveTo>
                    <a:pt x="9208" y="1308"/>
                  </a:moveTo>
                  <a:lnTo>
                    <a:pt x="9272" y="1308"/>
                  </a:lnTo>
                  <a:lnTo>
                    <a:pt x="9272" y="1244"/>
                  </a:lnTo>
                  <a:lnTo>
                    <a:pt x="9208" y="1244"/>
                  </a:lnTo>
                  <a:lnTo>
                    <a:pt x="9208" y="1308"/>
                  </a:lnTo>
                  <a:close/>
                  <a:moveTo>
                    <a:pt x="9208" y="1422"/>
                  </a:moveTo>
                  <a:lnTo>
                    <a:pt x="9272" y="1422"/>
                  </a:lnTo>
                  <a:lnTo>
                    <a:pt x="9272" y="1358"/>
                  </a:lnTo>
                  <a:lnTo>
                    <a:pt x="9208" y="1358"/>
                  </a:lnTo>
                  <a:lnTo>
                    <a:pt x="9208" y="1422"/>
                  </a:lnTo>
                  <a:close/>
                  <a:moveTo>
                    <a:pt x="9208" y="1536"/>
                  </a:moveTo>
                  <a:lnTo>
                    <a:pt x="9272" y="1536"/>
                  </a:lnTo>
                  <a:lnTo>
                    <a:pt x="9272" y="1471"/>
                  </a:lnTo>
                  <a:lnTo>
                    <a:pt x="9208" y="1471"/>
                  </a:lnTo>
                  <a:lnTo>
                    <a:pt x="9208" y="1536"/>
                  </a:lnTo>
                  <a:close/>
                  <a:moveTo>
                    <a:pt x="9208" y="1649"/>
                  </a:moveTo>
                  <a:lnTo>
                    <a:pt x="9272" y="1649"/>
                  </a:lnTo>
                  <a:lnTo>
                    <a:pt x="9272" y="1585"/>
                  </a:lnTo>
                  <a:lnTo>
                    <a:pt x="9208" y="1585"/>
                  </a:lnTo>
                  <a:lnTo>
                    <a:pt x="9208" y="1649"/>
                  </a:lnTo>
                  <a:close/>
                  <a:moveTo>
                    <a:pt x="9208" y="1766"/>
                  </a:moveTo>
                  <a:lnTo>
                    <a:pt x="9272" y="1766"/>
                  </a:lnTo>
                  <a:lnTo>
                    <a:pt x="9272" y="1702"/>
                  </a:lnTo>
                  <a:lnTo>
                    <a:pt x="9208" y="1702"/>
                  </a:lnTo>
                  <a:lnTo>
                    <a:pt x="9208" y="1766"/>
                  </a:lnTo>
                  <a:close/>
                  <a:moveTo>
                    <a:pt x="9208" y="1880"/>
                  </a:moveTo>
                  <a:lnTo>
                    <a:pt x="9272" y="1880"/>
                  </a:lnTo>
                  <a:lnTo>
                    <a:pt x="9272" y="1816"/>
                  </a:lnTo>
                  <a:lnTo>
                    <a:pt x="9208" y="1816"/>
                  </a:lnTo>
                  <a:lnTo>
                    <a:pt x="9208" y="1880"/>
                  </a:lnTo>
                  <a:close/>
                  <a:moveTo>
                    <a:pt x="9208" y="1994"/>
                  </a:moveTo>
                  <a:lnTo>
                    <a:pt x="9272" y="1994"/>
                  </a:lnTo>
                  <a:lnTo>
                    <a:pt x="9272" y="1929"/>
                  </a:lnTo>
                  <a:lnTo>
                    <a:pt x="9208" y="1929"/>
                  </a:lnTo>
                  <a:lnTo>
                    <a:pt x="9208" y="1994"/>
                  </a:lnTo>
                  <a:close/>
                  <a:moveTo>
                    <a:pt x="9208" y="2105"/>
                  </a:moveTo>
                  <a:lnTo>
                    <a:pt x="9272" y="2105"/>
                  </a:lnTo>
                  <a:lnTo>
                    <a:pt x="9272" y="2040"/>
                  </a:lnTo>
                  <a:lnTo>
                    <a:pt x="9208" y="2040"/>
                  </a:lnTo>
                  <a:lnTo>
                    <a:pt x="9208" y="2105"/>
                  </a:lnTo>
                  <a:close/>
                  <a:moveTo>
                    <a:pt x="9208" y="2218"/>
                  </a:moveTo>
                  <a:lnTo>
                    <a:pt x="9272" y="2218"/>
                  </a:lnTo>
                  <a:lnTo>
                    <a:pt x="9272" y="2153"/>
                  </a:lnTo>
                  <a:lnTo>
                    <a:pt x="9208" y="2153"/>
                  </a:lnTo>
                  <a:lnTo>
                    <a:pt x="9208" y="2218"/>
                  </a:lnTo>
                  <a:close/>
                  <a:moveTo>
                    <a:pt x="9208" y="2332"/>
                  </a:moveTo>
                  <a:lnTo>
                    <a:pt x="9272" y="2332"/>
                  </a:lnTo>
                  <a:lnTo>
                    <a:pt x="9272" y="2268"/>
                  </a:lnTo>
                  <a:lnTo>
                    <a:pt x="9208" y="2268"/>
                  </a:lnTo>
                  <a:lnTo>
                    <a:pt x="9208" y="2332"/>
                  </a:lnTo>
                  <a:close/>
                  <a:moveTo>
                    <a:pt x="9208" y="2445"/>
                  </a:moveTo>
                  <a:lnTo>
                    <a:pt x="9272" y="2445"/>
                  </a:lnTo>
                  <a:lnTo>
                    <a:pt x="9272" y="2381"/>
                  </a:lnTo>
                  <a:lnTo>
                    <a:pt x="9208" y="2381"/>
                  </a:lnTo>
                  <a:lnTo>
                    <a:pt x="9208" y="2445"/>
                  </a:lnTo>
                  <a:close/>
                  <a:moveTo>
                    <a:pt x="9208" y="2557"/>
                  </a:moveTo>
                  <a:lnTo>
                    <a:pt x="9272" y="2557"/>
                  </a:lnTo>
                  <a:lnTo>
                    <a:pt x="9272" y="2493"/>
                  </a:lnTo>
                  <a:lnTo>
                    <a:pt x="9208" y="2493"/>
                  </a:lnTo>
                  <a:lnTo>
                    <a:pt x="9208" y="2557"/>
                  </a:lnTo>
                  <a:close/>
                  <a:moveTo>
                    <a:pt x="9208" y="2670"/>
                  </a:moveTo>
                  <a:lnTo>
                    <a:pt x="9272" y="2670"/>
                  </a:lnTo>
                  <a:lnTo>
                    <a:pt x="9272" y="2606"/>
                  </a:lnTo>
                  <a:lnTo>
                    <a:pt x="9208" y="2606"/>
                  </a:lnTo>
                  <a:lnTo>
                    <a:pt x="9208" y="2670"/>
                  </a:lnTo>
                  <a:close/>
                  <a:moveTo>
                    <a:pt x="9208" y="2785"/>
                  </a:moveTo>
                  <a:lnTo>
                    <a:pt x="9272" y="2785"/>
                  </a:lnTo>
                  <a:lnTo>
                    <a:pt x="9272" y="2720"/>
                  </a:lnTo>
                  <a:lnTo>
                    <a:pt x="9208" y="2720"/>
                  </a:lnTo>
                  <a:lnTo>
                    <a:pt x="9208" y="2785"/>
                  </a:lnTo>
                  <a:close/>
                  <a:moveTo>
                    <a:pt x="9208" y="2898"/>
                  </a:moveTo>
                  <a:lnTo>
                    <a:pt x="9272" y="2898"/>
                  </a:lnTo>
                  <a:lnTo>
                    <a:pt x="9272" y="2834"/>
                  </a:lnTo>
                  <a:lnTo>
                    <a:pt x="9208" y="2834"/>
                  </a:lnTo>
                  <a:lnTo>
                    <a:pt x="9208" y="2898"/>
                  </a:lnTo>
                  <a:close/>
                  <a:moveTo>
                    <a:pt x="9208" y="3009"/>
                  </a:moveTo>
                  <a:lnTo>
                    <a:pt x="9272" y="3009"/>
                  </a:lnTo>
                  <a:lnTo>
                    <a:pt x="9272" y="2945"/>
                  </a:lnTo>
                  <a:lnTo>
                    <a:pt x="9208" y="2945"/>
                  </a:lnTo>
                  <a:lnTo>
                    <a:pt x="9208" y="3009"/>
                  </a:lnTo>
                  <a:close/>
                  <a:moveTo>
                    <a:pt x="9208" y="3122"/>
                  </a:moveTo>
                  <a:lnTo>
                    <a:pt x="9272" y="3122"/>
                  </a:lnTo>
                  <a:lnTo>
                    <a:pt x="9272" y="3058"/>
                  </a:lnTo>
                  <a:lnTo>
                    <a:pt x="9208" y="3058"/>
                  </a:lnTo>
                  <a:lnTo>
                    <a:pt x="9208" y="3122"/>
                  </a:lnTo>
                  <a:close/>
                  <a:moveTo>
                    <a:pt x="9208" y="3237"/>
                  </a:moveTo>
                  <a:lnTo>
                    <a:pt x="9272" y="3237"/>
                  </a:lnTo>
                  <a:lnTo>
                    <a:pt x="9272" y="3172"/>
                  </a:lnTo>
                  <a:lnTo>
                    <a:pt x="9208" y="3172"/>
                  </a:lnTo>
                  <a:lnTo>
                    <a:pt x="9208" y="3237"/>
                  </a:lnTo>
                  <a:close/>
                  <a:moveTo>
                    <a:pt x="9208" y="3350"/>
                  </a:moveTo>
                  <a:lnTo>
                    <a:pt x="9272" y="3350"/>
                  </a:lnTo>
                  <a:lnTo>
                    <a:pt x="9272" y="3285"/>
                  </a:lnTo>
                  <a:lnTo>
                    <a:pt x="9208" y="3285"/>
                  </a:lnTo>
                  <a:lnTo>
                    <a:pt x="9208" y="3350"/>
                  </a:lnTo>
                  <a:close/>
                  <a:moveTo>
                    <a:pt x="9208" y="3463"/>
                  </a:moveTo>
                  <a:lnTo>
                    <a:pt x="9272" y="3463"/>
                  </a:lnTo>
                  <a:lnTo>
                    <a:pt x="9272" y="3398"/>
                  </a:lnTo>
                  <a:lnTo>
                    <a:pt x="9208" y="3398"/>
                  </a:lnTo>
                  <a:lnTo>
                    <a:pt x="9208" y="3463"/>
                  </a:lnTo>
                  <a:close/>
                  <a:moveTo>
                    <a:pt x="9208" y="3576"/>
                  </a:moveTo>
                  <a:lnTo>
                    <a:pt x="9272" y="3576"/>
                  </a:lnTo>
                  <a:lnTo>
                    <a:pt x="9272" y="3512"/>
                  </a:lnTo>
                  <a:lnTo>
                    <a:pt x="9208" y="3512"/>
                  </a:lnTo>
                  <a:lnTo>
                    <a:pt x="9208" y="3576"/>
                  </a:lnTo>
                  <a:close/>
                  <a:moveTo>
                    <a:pt x="9208" y="3690"/>
                  </a:moveTo>
                  <a:lnTo>
                    <a:pt x="9272" y="3690"/>
                  </a:lnTo>
                  <a:lnTo>
                    <a:pt x="9272" y="3626"/>
                  </a:lnTo>
                  <a:lnTo>
                    <a:pt x="9208" y="3626"/>
                  </a:lnTo>
                  <a:lnTo>
                    <a:pt x="9208" y="3690"/>
                  </a:lnTo>
                  <a:close/>
                  <a:moveTo>
                    <a:pt x="9208" y="3803"/>
                  </a:moveTo>
                  <a:lnTo>
                    <a:pt x="9272" y="3803"/>
                  </a:lnTo>
                  <a:lnTo>
                    <a:pt x="9272" y="3739"/>
                  </a:lnTo>
                  <a:lnTo>
                    <a:pt x="9208" y="3739"/>
                  </a:lnTo>
                  <a:lnTo>
                    <a:pt x="9208" y="3803"/>
                  </a:lnTo>
                  <a:close/>
                  <a:moveTo>
                    <a:pt x="9208" y="3914"/>
                  </a:moveTo>
                  <a:lnTo>
                    <a:pt x="9272" y="3914"/>
                  </a:lnTo>
                  <a:lnTo>
                    <a:pt x="9272" y="3850"/>
                  </a:lnTo>
                  <a:lnTo>
                    <a:pt x="9208" y="3850"/>
                  </a:lnTo>
                  <a:lnTo>
                    <a:pt x="9208" y="3914"/>
                  </a:lnTo>
                  <a:close/>
                  <a:moveTo>
                    <a:pt x="9208" y="4028"/>
                  </a:moveTo>
                  <a:lnTo>
                    <a:pt x="9272" y="4028"/>
                  </a:lnTo>
                  <a:lnTo>
                    <a:pt x="9272" y="3963"/>
                  </a:lnTo>
                  <a:lnTo>
                    <a:pt x="9208" y="3963"/>
                  </a:lnTo>
                  <a:lnTo>
                    <a:pt x="9208" y="4028"/>
                  </a:lnTo>
                  <a:close/>
                  <a:moveTo>
                    <a:pt x="9208" y="4142"/>
                  </a:moveTo>
                  <a:lnTo>
                    <a:pt x="9272" y="4142"/>
                  </a:lnTo>
                  <a:lnTo>
                    <a:pt x="9272" y="4077"/>
                  </a:lnTo>
                  <a:lnTo>
                    <a:pt x="9208" y="4077"/>
                  </a:lnTo>
                  <a:lnTo>
                    <a:pt x="9208" y="4142"/>
                  </a:lnTo>
                  <a:close/>
                  <a:moveTo>
                    <a:pt x="9208" y="4255"/>
                  </a:moveTo>
                  <a:lnTo>
                    <a:pt x="9272" y="4255"/>
                  </a:lnTo>
                  <a:lnTo>
                    <a:pt x="9272" y="4191"/>
                  </a:lnTo>
                  <a:lnTo>
                    <a:pt x="9208" y="4191"/>
                  </a:lnTo>
                  <a:lnTo>
                    <a:pt x="9208" y="4255"/>
                  </a:lnTo>
                  <a:close/>
                  <a:moveTo>
                    <a:pt x="9208" y="4707"/>
                  </a:moveTo>
                  <a:lnTo>
                    <a:pt x="9272" y="4707"/>
                  </a:lnTo>
                  <a:lnTo>
                    <a:pt x="9272" y="4643"/>
                  </a:lnTo>
                  <a:lnTo>
                    <a:pt x="9208" y="4643"/>
                  </a:lnTo>
                  <a:lnTo>
                    <a:pt x="9208" y="4707"/>
                  </a:lnTo>
                  <a:close/>
                  <a:moveTo>
                    <a:pt x="9208" y="4819"/>
                  </a:moveTo>
                  <a:lnTo>
                    <a:pt x="9272" y="4819"/>
                  </a:lnTo>
                  <a:lnTo>
                    <a:pt x="9272" y="4754"/>
                  </a:lnTo>
                  <a:lnTo>
                    <a:pt x="9208" y="4754"/>
                  </a:lnTo>
                  <a:lnTo>
                    <a:pt x="9208" y="4819"/>
                  </a:lnTo>
                  <a:close/>
                  <a:moveTo>
                    <a:pt x="9322" y="1198"/>
                  </a:moveTo>
                  <a:lnTo>
                    <a:pt x="9387" y="1198"/>
                  </a:lnTo>
                  <a:lnTo>
                    <a:pt x="9387" y="1133"/>
                  </a:lnTo>
                  <a:lnTo>
                    <a:pt x="9322" y="1133"/>
                  </a:lnTo>
                  <a:lnTo>
                    <a:pt x="9322" y="1198"/>
                  </a:lnTo>
                  <a:close/>
                  <a:moveTo>
                    <a:pt x="9322" y="1308"/>
                  </a:moveTo>
                  <a:lnTo>
                    <a:pt x="9387" y="1308"/>
                  </a:lnTo>
                  <a:lnTo>
                    <a:pt x="9387" y="1244"/>
                  </a:lnTo>
                  <a:lnTo>
                    <a:pt x="9322" y="1244"/>
                  </a:lnTo>
                  <a:lnTo>
                    <a:pt x="9322" y="1308"/>
                  </a:lnTo>
                  <a:close/>
                  <a:moveTo>
                    <a:pt x="9322" y="1422"/>
                  </a:moveTo>
                  <a:lnTo>
                    <a:pt x="9387" y="1422"/>
                  </a:lnTo>
                  <a:lnTo>
                    <a:pt x="9387" y="1358"/>
                  </a:lnTo>
                  <a:lnTo>
                    <a:pt x="9322" y="1358"/>
                  </a:lnTo>
                  <a:lnTo>
                    <a:pt x="9322" y="1422"/>
                  </a:lnTo>
                  <a:close/>
                  <a:moveTo>
                    <a:pt x="9322" y="1536"/>
                  </a:moveTo>
                  <a:lnTo>
                    <a:pt x="9387" y="1536"/>
                  </a:lnTo>
                  <a:lnTo>
                    <a:pt x="9387" y="1471"/>
                  </a:lnTo>
                  <a:lnTo>
                    <a:pt x="9322" y="1471"/>
                  </a:lnTo>
                  <a:lnTo>
                    <a:pt x="9322" y="1536"/>
                  </a:lnTo>
                  <a:close/>
                  <a:moveTo>
                    <a:pt x="9322" y="1649"/>
                  </a:moveTo>
                  <a:lnTo>
                    <a:pt x="9387" y="1649"/>
                  </a:lnTo>
                  <a:lnTo>
                    <a:pt x="9387" y="1585"/>
                  </a:lnTo>
                  <a:lnTo>
                    <a:pt x="9322" y="1585"/>
                  </a:lnTo>
                  <a:lnTo>
                    <a:pt x="9322" y="1649"/>
                  </a:lnTo>
                  <a:close/>
                  <a:moveTo>
                    <a:pt x="9322" y="1766"/>
                  </a:moveTo>
                  <a:lnTo>
                    <a:pt x="9387" y="1766"/>
                  </a:lnTo>
                  <a:lnTo>
                    <a:pt x="9387" y="1702"/>
                  </a:lnTo>
                  <a:lnTo>
                    <a:pt x="9322" y="1702"/>
                  </a:lnTo>
                  <a:lnTo>
                    <a:pt x="9322" y="1766"/>
                  </a:lnTo>
                  <a:close/>
                  <a:moveTo>
                    <a:pt x="9322" y="1880"/>
                  </a:moveTo>
                  <a:lnTo>
                    <a:pt x="9387" y="1880"/>
                  </a:lnTo>
                  <a:lnTo>
                    <a:pt x="9387" y="1816"/>
                  </a:lnTo>
                  <a:lnTo>
                    <a:pt x="9322" y="1816"/>
                  </a:lnTo>
                  <a:lnTo>
                    <a:pt x="9322" y="1880"/>
                  </a:lnTo>
                  <a:close/>
                  <a:moveTo>
                    <a:pt x="9322" y="1994"/>
                  </a:moveTo>
                  <a:lnTo>
                    <a:pt x="9387" y="1994"/>
                  </a:lnTo>
                  <a:lnTo>
                    <a:pt x="9387" y="1929"/>
                  </a:lnTo>
                  <a:lnTo>
                    <a:pt x="9322" y="1929"/>
                  </a:lnTo>
                  <a:lnTo>
                    <a:pt x="9322" y="1994"/>
                  </a:lnTo>
                  <a:close/>
                  <a:moveTo>
                    <a:pt x="9322" y="2105"/>
                  </a:moveTo>
                  <a:lnTo>
                    <a:pt x="9387" y="2105"/>
                  </a:lnTo>
                  <a:lnTo>
                    <a:pt x="9387" y="2040"/>
                  </a:lnTo>
                  <a:lnTo>
                    <a:pt x="9322" y="2040"/>
                  </a:lnTo>
                  <a:lnTo>
                    <a:pt x="9322" y="2105"/>
                  </a:lnTo>
                  <a:close/>
                  <a:moveTo>
                    <a:pt x="9322" y="2218"/>
                  </a:moveTo>
                  <a:lnTo>
                    <a:pt x="9387" y="2218"/>
                  </a:lnTo>
                  <a:lnTo>
                    <a:pt x="9387" y="2153"/>
                  </a:lnTo>
                  <a:lnTo>
                    <a:pt x="9322" y="2153"/>
                  </a:lnTo>
                  <a:lnTo>
                    <a:pt x="9322" y="2218"/>
                  </a:lnTo>
                  <a:close/>
                  <a:moveTo>
                    <a:pt x="9322" y="2332"/>
                  </a:moveTo>
                  <a:lnTo>
                    <a:pt x="9387" y="2332"/>
                  </a:lnTo>
                  <a:lnTo>
                    <a:pt x="9387" y="2268"/>
                  </a:lnTo>
                  <a:lnTo>
                    <a:pt x="9322" y="2268"/>
                  </a:lnTo>
                  <a:lnTo>
                    <a:pt x="9322" y="2332"/>
                  </a:lnTo>
                  <a:close/>
                  <a:moveTo>
                    <a:pt x="9322" y="2445"/>
                  </a:moveTo>
                  <a:lnTo>
                    <a:pt x="9387" y="2445"/>
                  </a:lnTo>
                  <a:lnTo>
                    <a:pt x="9387" y="2381"/>
                  </a:lnTo>
                  <a:lnTo>
                    <a:pt x="9322" y="2381"/>
                  </a:lnTo>
                  <a:lnTo>
                    <a:pt x="9322" y="2445"/>
                  </a:lnTo>
                  <a:close/>
                  <a:moveTo>
                    <a:pt x="9322" y="2557"/>
                  </a:moveTo>
                  <a:lnTo>
                    <a:pt x="9387" y="2557"/>
                  </a:lnTo>
                  <a:lnTo>
                    <a:pt x="9387" y="2493"/>
                  </a:lnTo>
                  <a:lnTo>
                    <a:pt x="9322" y="2493"/>
                  </a:lnTo>
                  <a:lnTo>
                    <a:pt x="9322" y="2557"/>
                  </a:lnTo>
                  <a:close/>
                  <a:moveTo>
                    <a:pt x="9322" y="2670"/>
                  </a:moveTo>
                  <a:lnTo>
                    <a:pt x="9387" y="2670"/>
                  </a:lnTo>
                  <a:lnTo>
                    <a:pt x="9387" y="2606"/>
                  </a:lnTo>
                  <a:lnTo>
                    <a:pt x="9322" y="2606"/>
                  </a:lnTo>
                  <a:lnTo>
                    <a:pt x="9322" y="2670"/>
                  </a:lnTo>
                  <a:close/>
                  <a:moveTo>
                    <a:pt x="9322" y="2785"/>
                  </a:moveTo>
                  <a:lnTo>
                    <a:pt x="9387" y="2785"/>
                  </a:lnTo>
                  <a:lnTo>
                    <a:pt x="9387" y="2720"/>
                  </a:lnTo>
                  <a:lnTo>
                    <a:pt x="9322" y="2720"/>
                  </a:lnTo>
                  <a:lnTo>
                    <a:pt x="9322" y="2785"/>
                  </a:lnTo>
                  <a:close/>
                  <a:moveTo>
                    <a:pt x="9322" y="2898"/>
                  </a:moveTo>
                  <a:lnTo>
                    <a:pt x="9387" y="2898"/>
                  </a:lnTo>
                  <a:lnTo>
                    <a:pt x="9387" y="2834"/>
                  </a:lnTo>
                  <a:lnTo>
                    <a:pt x="9322" y="2834"/>
                  </a:lnTo>
                  <a:lnTo>
                    <a:pt x="9322" y="2898"/>
                  </a:lnTo>
                  <a:close/>
                  <a:moveTo>
                    <a:pt x="9322" y="3009"/>
                  </a:moveTo>
                  <a:lnTo>
                    <a:pt x="9387" y="3009"/>
                  </a:lnTo>
                  <a:lnTo>
                    <a:pt x="9387" y="2945"/>
                  </a:lnTo>
                  <a:lnTo>
                    <a:pt x="9322" y="2945"/>
                  </a:lnTo>
                  <a:lnTo>
                    <a:pt x="9322" y="3009"/>
                  </a:lnTo>
                  <a:close/>
                  <a:moveTo>
                    <a:pt x="9322" y="3122"/>
                  </a:moveTo>
                  <a:lnTo>
                    <a:pt x="9387" y="3122"/>
                  </a:lnTo>
                  <a:lnTo>
                    <a:pt x="9387" y="3058"/>
                  </a:lnTo>
                  <a:lnTo>
                    <a:pt x="9322" y="3058"/>
                  </a:lnTo>
                  <a:lnTo>
                    <a:pt x="9322" y="3122"/>
                  </a:lnTo>
                  <a:close/>
                  <a:moveTo>
                    <a:pt x="9322" y="3237"/>
                  </a:moveTo>
                  <a:lnTo>
                    <a:pt x="9387" y="3237"/>
                  </a:lnTo>
                  <a:lnTo>
                    <a:pt x="9387" y="3172"/>
                  </a:lnTo>
                  <a:lnTo>
                    <a:pt x="9322" y="3172"/>
                  </a:lnTo>
                  <a:lnTo>
                    <a:pt x="9322" y="3237"/>
                  </a:lnTo>
                  <a:close/>
                  <a:moveTo>
                    <a:pt x="9322" y="3350"/>
                  </a:moveTo>
                  <a:lnTo>
                    <a:pt x="9387" y="3350"/>
                  </a:lnTo>
                  <a:lnTo>
                    <a:pt x="9387" y="3285"/>
                  </a:lnTo>
                  <a:lnTo>
                    <a:pt x="9322" y="3285"/>
                  </a:lnTo>
                  <a:lnTo>
                    <a:pt x="9322" y="3350"/>
                  </a:lnTo>
                  <a:close/>
                  <a:moveTo>
                    <a:pt x="9322" y="3463"/>
                  </a:moveTo>
                  <a:lnTo>
                    <a:pt x="9387" y="3463"/>
                  </a:lnTo>
                  <a:lnTo>
                    <a:pt x="9387" y="3398"/>
                  </a:lnTo>
                  <a:lnTo>
                    <a:pt x="9322" y="3398"/>
                  </a:lnTo>
                  <a:lnTo>
                    <a:pt x="9322" y="3463"/>
                  </a:lnTo>
                  <a:close/>
                  <a:moveTo>
                    <a:pt x="9322" y="3576"/>
                  </a:moveTo>
                  <a:lnTo>
                    <a:pt x="9387" y="3576"/>
                  </a:lnTo>
                  <a:lnTo>
                    <a:pt x="9387" y="3512"/>
                  </a:lnTo>
                  <a:lnTo>
                    <a:pt x="9322" y="3512"/>
                  </a:lnTo>
                  <a:lnTo>
                    <a:pt x="9322" y="3576"/>
                  </a:lnTo>
                  <a:close/>
                  <a:moveTo>
                    <a:pt x="9322" y="3690"/>
                  </a:moveTo>
                  <a:lnTo>
                    <a:pt x="9387" y="3690"/>
                  </a:lnTo>
                  <a:lnTo>
                    <a:pt x="9387" y="3626"/>
                  </a:lnTo>
                  <a:lnTo>
                    <a:pt x="9322" y="3626"/>
                  </a:lnTo>
                  <a:lnTo>
                    <a:pt x="9322" y="3690"/>
                  </a:lnTo>
                  <a:close/>
                  <a:moveTo>
                    <a:pt x="9322" y="3803"/>
                  </a:moveTo>
                  <a:lnTo>
                    <a:pt x="9387" y="3803"/>
                  </a:lnTo>
                  <a:lnTo>
                    <a:pt x="9387" y="3739"/>
                  </a:lnTo>
                  <a:lnTo>
                    <a:pt x="9322" y="3739"/>
                  </a:lnTo>
                  <a:lnTo>
                    <a:pt x="9322" y="3803"/>
                  </a:lnTo>
                  <a:close/>
                  <a:moveTo>
                    <a:pt x="9322" y="3914"/>
                  </a:moveTo>
                  <a:lnTo>
                    <a:pt x="9387" y="3914"/>
                  </a:lnTo>
                  <a:lnTo>
                    <a:pt x="9387" y="3850"/>
                  </a:lnTo>
                  <a:lnTo>
                    <a:pt x="9322" y="3850"/>
                  </a:lnTo>
                  <a:lnTo>
                    <a:pt x="9322" y="3914"/>
                  </a:lnTo>
                  <a:close/>
                  <a:moveTo>
                    <a:pt x="9322" y="4028"/>
                  </a:moveTo>
                  <a:lnTo>
                    <a:pt x="9387" y="4028"/>
                  </a:lnTo>
                  <a:lnTo>
                    <a:pt x="9387" y="3963"/>
                  </a:lnTo>
                  <a:lnTo>
                    <a:pt x="9322" y="3963"/>
                  </a:lnTo>
                  <a:lnTo>
                    <a:pt x="9322" y="4028"/>
                  </a:lnTo>
                  <a:close/>
                  <a:moveTo>
                    <a:pt x="9322" y="4142"/>
                  </a:moveTo>
                  <a:lnTo>
                    <a:pt x="9387" y="4142"/>
                  </a:lnTo>
                  <a:lnTo>
                    <a:pt x="9387" y="4077"/>
                  </a:lnTo>
                  <a:lnTo>
                    <a:pt x="9322" y="4077"/>
                  </a:lnTo>
                  <a:lnTo>
                    <a:pt x="9322" y="4142"/>
                  </a:lnTo>
                  <a:close/>
                  <a:moveTo>
                    <a:pt x="9322" y="4480"/>
                  </a:moveTo>
                  <a:lnTo>
                    <a:pt x="9387" y="4480"/>
                  </a:lnTo>
                  <a:lnTo>
                    <a:pt x="9387" y="4416"/>
                  </a:lnTo>
                  <a:lnTo>
                    <a:pt x="9322" y="4416"/>
                  </a:lnTo>
                  <a:lnTo>
                    <a:pt x="9322" y="4480"/>
                  </a:lnTo>
                  <a:close/>
                  <a:moveTo>
                    <a:pt x="9322" y="4595"/>
                  </a:moveTo>
                  <a:lnTo>
                    <a:pt x="9387" y="4595"/>
                  </a:lnTo>
                  <a:lnTo>
                    <a:pt x="9387" y="4530"/>
                  </a:lnTo>
                  <a:lnTo>
                    <a:pt x="9322" y="4530"/>
                  </a:lnTo>
                  <a:lnTo>
                    <a:pt x="9322" y="4595"/>
                  </a:lnTo>
                  <a:close/>
                  <a:moveTo>
                    <a:pt x="9322" y="4707"/>
                  </a:moveTo>
                  <a:lnTo>
                    <a:pt x="9387" y="4707"/>
                  </a:lnTo>
                  <a:lnTo>
                    <a:pt x="9387" y="4643"/>
                  </a:lnTo>
                  <a:lnTo>
                    <a:pt x="9322" y="4643"/>
                  </a:lnTo>
                  <a:lnTo>
                    <a:pt x="9322" y="4707"/>
                  </a:lnTo>
                  <a:close/>
                  <a:moveTo>
                    <a:pt x="9322" y="4819"/>
                  </a:moveTo>
                  <a:lnTo>
                    <a:pt x="9387" y="4819"/>
                  </a:lnTo>
                  <a:lnTo>
                    <a:pt x="9387" y="4754"/>
                  </a:lnTo>
                  <a:lnTo>
                    <a:pt x="9322" y="4754"/>
                  </a:lnTo>
                  <a:lnTo>
                    <a:pt x="9322" y="4819"/>
                  </a:lnTo>
                  <a:close/>
                  <a:moveTo>
                    <a:pt x="9322" y="4932"/>
                  </a:moveTo>
                  <a:lnTo>
                    <a:pt x="9387" y="4932"/>
                  </a:lnTo>
                  <a:lnTo>
                    <a:pt x="9387" y="4868"/>
                  </a:lnTo>
                  <a:lnTo>
                    <a:pt x="9322" y="4868"/>
                  </a:lnTo>
                  <a:lnTo>
                    <a:pt x="9322" y="4932"/>
                  </a:lnTo>
                  <a:close/>
                  <a:moveTo>
                    <a:pt x="9322" y="5046"/>
                  </a:moveTo>
                  <a:lnTo>
                    <a:pt x="9387" y="5046"/>
                  </a:lnTo>
                  <a:lnTo>
                    <a:pt x="9387" y="4982"/>
                  </a:lnTo>
                  <a:lnTo>
                    <a:pt x="9322" y="4982"/>
                  </a:lnTo>
                  <a:lnTo>
                    <a:pt x="9322" y="5046"/>
                  </a:lnTo>
                  <a:close/>
                  <a:moveTo>
                    <a:pt x="9434" y="1084"/>
                  </a:moveTo>
                  <a:lnTo>
                    <a:pt x="9498" y="1084"/>
                  </a:lnTo>
                  <a:lnTo>
                    <a:pt x="9498" y="1020"/>
                  </a:lnTo>
                  <a:lnTo>
                    <a:pt x="9434" y="1020"/>
                  </a:lnTo>
                  <a:lnTo>
                    <a:pt x="9434" y="1084"/>
                  </a:lnTo>
                  <a:close/>
                  <a:moveTo>
                    <a:pt x="9434" y="1198"/>
                  </a:moveTo>
                  <a:lnTo>
                    <a:pt x="9498" y="1198"/>
                  </a:lnTo>
                  <a:lnTo>
                    <a:pt x="9498" y="1133"/>
                  </a:lnTo>
                  <a:lnTo>
                    <a:pt x="9434" y="1133"/>
                  </a:lnTo>
                  <a:lnTo>
                    <a:pt x="9434" y="1198"/>
                  </a:lnTo>
                  <a:close/>
                  <a:moveTo>
                    <a:pt x="9434" y="1308"/>
                  </a:moveTo>
                  <a:lnTo>
                    <a:pt x="9498" y="1308"/>
                  </a:lnTo>
                  <a:lnTo>
                    <a:pt x="9498" y="1244"/>
                  </a:lnTo>
                  <a:lnTo>
                    <a:pt x="9434" y="1244"/>
                  </a:lnTo>
                  <a:lnTo>
                    <a:pt x="9434" y="1308"/>
                  </a:lnTo>
                  <a:close/>
                  <a:moveTo>
                    <a:pt x="9434" y="1422"/>
                  </a:moveTo>
                  <a:lnTo>
                    <a:pt x="9498" y="1422"/>
                  </a:lnTo>
                  <a:lnTo>
                    <a:pt x="9498" y="1358"/>
                  </a:lnTo>
                  <a:lnTo>
                    <a:pt x="9434" y="1358"/>
                  </a:lnTo>
                  <a:lnTo>
                    <a:pt x="9434" y="1422"/>
                  </a:lnTo>
                  <a:close/>
                  <a:moveTo>
                    <a:pt x="9434" y="1536"/>
                  </a:moveTo>
                  <a:lnTo>
                    <a:pt x="9498" y="1536"/>
                  </a:lnTo>
                  <a:lnTo>
                    <a:pt x="9498" y="1471"/>
                  </a:lnTo>
                  <a:lnTo>
                    <a:pt x="9434" y="1471"/>
                  </a:lnTo>
                  <a:lnTo>
                    <a:pt x="9434" y="1536"/>
                  </a:lnTo>
                  <a:close/>
                  <a:moveTo>
                    <a:pt x="9434" y="1649"/>
                  </a:moveTo>
                  <a:lnTo>
                    <a:pt x="9498" y="1649"/>
                  </a:lnTo>
                  <a:lnTo>
                    <a:pt x="9498" y="1585"/>
                  </a:lnTo>
                  <a:lnTo>
                    <a:pt x="9434" y="1585"/>
                  </a:lnTo>
                  <a:lnTo>
                    <a:pt x="9434" y="1649"/>
                  </a:lnTo>
                  <a:close/>
                  <a:moveTo>
                    <a:pt x="9434" y="1766"/>
                  </a:moveTo>
                  <a:lnTo>
                    <a:pt x="9498" y="1766"/>
                  </a:lnTo>
                  <a:lnTo>
                    <a:pt x="9498" y="1702"/>
                  </a:lnTo>
                  <a:lnTo>
                    <a:pt x="9434" y="1702"/>
                  </a:lnTo>
                  <a:lnTo>
                    <a:pt x="9434" y="1766"/>
                  </a:lnTo>
                  <a:close/>
                  <a:moveTo>
                    <a:pt x="9434" y="1880"/>
                  </a:moveTo>
                  <a:lnTo>
                    <a:pt x="9498" y="1880"/>
                  </a:lnTo>
                  <a:lnTo>
                    <a:pt x="9498" y="1816"/>
                  </a:lnTo>
                  <a:lnTo>
                    <a:pt x="9434" y="1816"/>
                  </a:lnTo>
                  <a:lnTo>
                    <a:pt x="9434" y="1880"/>
                  </a:lnTo>
                  <a:close/>
                  <a:moveTo>
                    <a:pt x="9434" y="1994"/>
                  </a:moveTo>
                  <a:lnTo>
                    <a:pt x="9498" y="1994"/>
                  </a:lnTo>
                  <a:lnTo>
                    <a:pt x="9498" y="1929"/>
                  </a:lnTo>
                  <a:lnTo>
                    <a:pt x="9434" y="1929"/>
                  </a:lnTo>
                  <a:lnTo>
                    <a:pt x="9434" y="1994"/>
                  </a:lnTo>
                  <a:close/>
                  <a:moveTo>
                    <a:pt x="9434" y="2105"/>
                  </a:moveTo>
                  <a:lnTo>
                    <a:pt x="9498" y="2105"/>
                  </a:lnTo>
                  <a:lnTo>
                    <a:pt x="9498" y="2040"/>
                  </a:lnTo>
                  <a:lnTo>
                    <a:pt x="9434" y="2040"/>
                  </a:lnTo>
                  <a:lnTo>
                    <a:pt x="9434" y="2105"/>
                  </a:lnTo>
                  <a:close/>
                  <a:moveTo>
                    <a:pt x="9434" y="2218"/>
                  </a:moveTo>
                  <a:lnTo>
                    <a:pt x="9498" y="2218"/>
                  </a:lnTo>
                  <a:lnTo>
                    <a:pt x="9498" y="2153"/>
                  </a:lnTo>
                  <a:lnTo>
                    <a:pt x="9434" y="2153"/>
                  </a:lnTo>
                  <a:lnTo>
                    <a:pt x="9434" y="2218"/>
                  </a:lnTo>
                  <a:close/>
                  <a:moveTo>
                    <a:pt x="9434" y="2332"/>
                  </a:moveTo>
                  <a:lnTo>
                    <a:pt x="9498" y="2332"/>
                  </a:lnTo>
                  <a:lnTo>
                    <a:pt x="9498" y="2268"/>
                  </a:lnTo>
                  <a:lnTo>
                    <a:pt x="9434" y="2268"/>
                  </a:lnTo>
                  <a:lnTo>
                    <a:pt x="9434" y="2332"/>
                  </a:lnTo>
                  <a:close/>
                  <a:moveTo>
                    <a:pt x="9434" y="2445"/>
                  </a:moveTo>
                  <a:lnTo>
                    <a:pt x="9498" y="2445"/>
                  </a:lnTo>
                  <a:lnTo>
                    <a:pt x="9498" y="2381"/>
                  </a:lnTo>
                  <a:lnTo>
                    <a:pt x="9434" y="2381"/>
                  </a:lnTo>
                  <a:lnTo>
                    <a:pt x="9434" y="2445"/>
                  </a:lnTo>
                  <a:close/>
                  <a:moveTo>
                    <a:pt x="9434" y="2557"/>
                  </a:moveTo>
                  <a:lnTo>
                    <a:pt x="9498" y="2557"/>
                  </a:lnTo>
                  <a:lnTo>
                    <a:pt x="9498" y="2493"/>
                  </a:lnTo>
                  <a:lnTo>
                    <a:pt x="9434" y="2493"/>
                  </a:lnTo>
                  <a:lnTo>
                    <a:pt x="9434" y="2557"/>
                  </a:lnTo>
                  <a:close/>
                  <a:moveTo>
                    <a:pt x="9434" y="2670"/>
                  </a:moveTo>
                  <a:lnTo>
                    <a:pt x="9498" y="2670"/>
                  </a:lnTo>
                  <a:lnTo>
                    <a:pt x="9498" y="2606"/>
                  </a:lnTo>
                  <a:lnTo>
                    <a:pt x="9434" y="2606"/>
                  </a:lnTo>
                  <a:lnTo>
                    <a:pt x="9434" y="2670"/>
                  </a:lnTo>
                  <a:close/>
                  <a:moveTo>
                    <a:pt x="9434" y="2785"/>
                  </a:moveTo>
                  <a:lnTo>
                    <a:pt x="9498" y="2785"/>
                  </a:lnTo>
                  <a:lnTo>
                    <a:pt x="9498" y="2720"/>
                  </a:lnTo>
                  <a:lnTo>
                    <a:pt x="9434" y="2720"/>
                  </a:lnTo>
                  <a:lnTo>
                    <a:pt x="9434" y="2785"/>
                  </a:lnTo>
                  <a:close/>
                  <a:moveTo>
                    <a:pt x="9434" y="2898"/>
                  </a:moveTo>
                  <a:lnTo>
                    <a:pt x="9498" y="2898"/>
                  </a:lnTo>
                  <a:lnTo>
                    <a:pt x="9498" y="2834"/>
                  </a:lnTo>
                  <a:lnTo>
                    <a:pt x="9434" y="2834"/>
                  </a:lnTo>
                  <a:lnTo>
                    <a:pt x="9434" y="2898"/>
                  </a:lnTo>
                  <a:close/>
                  <a:moveTo>
                    <a:pt x="9434" y="3009"/>
                  </a:moveTo>
                  <a:lnTo>
                    <a:pt x="9498" y="3009"/>
                  </a:lnTo>
                  <a:lnTo>
                    <a:pt x="9498" y="2945"/>
                  </a:lnTo>
                  <a:lnTo>
                    <a:pt x="9434" y="2945"/>
                  </a:lnTo>
                  <a:lnTo>
                    <a:pt x="9434" y="3009"/>
                  </a:lnTo>
                  <a:close/>
                  <a:moveTo>
                    <a:pt x="9434" y="3122"/>
                  </a:moveTo>
                  <a:lnTo>
                    <a:pt x="9498" y="3122"/>
                  </a:lnTo>
                  <a:lnTo>
                    <a:pt x="9498" y="3058"/>
                  </a:lnTo>
                  <a:lnTo>
                    <a:pt x="9434" y="3058"/>
                  </a:lnTo>
                  <a:lnTo>
                    <a:pt x="9434" y="3122"/>
                  </a:lnTo>
                  <a:close/>
                  <a:moveTo>
                    <a:pt x="9434" y="3237"/>
                  </a:moveTo>
                  <a:lnTo>
                    <a:pt x="9498" y="3237"/>
                  </a:lnTo>
                  <a:lnTo>
                    <a:pt x="9498" y="3172"/>
                  </a:lnTo>
                  <a:lnTo>
                    <a:pt x="9434" y="3172"/>
                  </a:lnTo>
                  <a:lnTo>
                    <a:pt x="9434" y="3237"/>
                  </a:lnTo>
                  <a:close/>
                  <a:moveTo>
                    <a:pt x="9434" y="3350"/>
                  </a:moveTo>
                  <a:lnTo>
                    <a:pt x="9498" y="3350"/>
                  </a:lnTo>
                  <a:lnTo>
                    <a:pt x="9498" y="3285"/>
                  </a:lnTo>
                  <a:lnTo>
                    <a:pt x="9434" y="3285"/>
                  </a:lnTo>
                  <a:lnTo>
                    <a:pt x="9434" y="3350"/>
                  </a:lnTo>
                  <a:close/>
                  <a:moveTo>
                    <a:pt x="9434" y="3463"/>
                  </a:moveTo>
                  <a:lnTo>
                    <a:pt x="9498" y="3463"/>
                  </a:lnTo>
                  <a:lnTo>
                    <a:pt x="9498" y="3398"/>
                  </a:lnTo>
                  <a:lnTo>
                    <a:pt x="9434" y="3398"/>
                  </a:lnTo>
                  <a:lnTo>
                    <a:pt x="9434" y="3463"/>
                  </a:lnTo>
                  <a:close/>
                  <a:moveTo>
                    <a:pt x="9434" y="3576"/>
                  </a:moveTo>
                  <a:lnTo>
                    <a:pt x="9498" y="3576"/>
                  </a:lnTo>
                  <a:lnTo>
                    <a:pt x="9498" y="3512"/>
                  </a:lnTo>
                  <a:lnTo>
                    <a:pt x="9434" y="3512"/>
                  </a:lnTo>
                  <a:lnTo>
                    <a:pt x="9434" y="3576"/>
                  </a:lnTo>
                  <a:close/>
                  <a:moveTo>
                    <a:pt x="9434" y="3690"/>
                  </a:moveTo>
                  <a:lnTo>
                    <a:pt x="9498" y="3690"/>
                  </a:lnTo>
                  <a:lnTo>
                    <a:pt x="9498" y="3626"/>
                  </a:lnTo>
                  <a:lnTo>
                    <a:pt x="9434" y="3626"/>
                  </a:lnTo>
                  <a:lnTo>
                    <a:pt x="9434" y="3690"/>
                  </a:lnTo>
                  <a:close/>
                  <a:moveTo>
                    <a:pt x="9434" y="3803"/>
                  </a:moveTo>
                  <a:lnTo>
                    <a:pt x="9498" y="3803"/>
                  </a:lnTo>
                  <a:lnTo>
                    <a:pt x="9498" y="3739"/>
                  </a:lnTo>
                  <a:lnTo>
                    <a:pt x="9434" y="3739"/>
                  </a:lnTo>
                  <a:lnTo>
                    <a:pt x="9434" y="3803"/>
                  </a:lnTo>
                  <a:close/>
                  <a:moveTo>
                    <a:pt x="9434" y="3914"/>
                  </a:moveTo>
                  <a:lnTo>
                    <a:pt x="9498" y="3914"/>
                  </a:lnTo>
                  <a:lnTo>
                    <a:pt x="9498" y="3850"/>
                  </a:lnTo>
                  <a:lnTo>
                    <a:pt x="9434" y="3850"/>
                  </a:lnTo>
                  <a:lnTo>
                    <a:pt x="9434" y="3914"/>
                  </a:lnTo>
                  <a:close/>
                  <a:moveTo>
                    <a:pt x="9434" y="4028"/>
                  </a:moveTo>
                  <a:lnTo>
                    <a:pt x="9498" y="4028"/>
                  </a:lnTo>
                  <a:lnTo>
                    <a:pt x="9498" y="3963"/>
                  </a:lnTo>
                  <a:lnTo>
                    <a:pt x="9434" y="3963"/>
                  </a:lnTo>
                  <a:lnTo>
                    <a:pt x="9434" y="4028"/>
                  </a:lnTo>
                  <a:close/>
                  <a:moveTo>
                    <a:pt x="9434" y="4142"/>
                  </a:moveTo>
                  <a:lnTo>
                    <a:pt x="9498" y="4142"/>
                  </a:lnTo>
                  <a:lnTo>
                    <a:pt x="9498" y="4077"/>
                  </a:lnTo>
                  <a:lnTo>
                    <a:pt x="9434" y="4077"/>
                  </a:lnTo>
                  <a:lnTo>
                    <a:pt x="9434" y="4142"/>
                  </a:lnTo>
                  <a:close/>
                  <a:moveTo>
                    <a:pt x="9434" y="4255"/>
                  </a:moveTo>
                  <a:lnTo>
                    <a:pt x="9498" y="4255"/>
                  </a:lnTo>
                  <a:lnTo>
                    <a:pt x="9498" y="4191"/>
                  </a:lnTo>
                  <a:lnTo>
                    <a:pt x="9434" y="4191"/>
                  </a:lnTo>
                  <a:lnTo>
                    <a:pt x="9434" y="4255"/>
                  </a:lnTo>
                  <a:close/>
                  <a:moveTo>
                    <a:pt x="9434" y="4367"/>
                  </a:moveTo>
                  <a:lnTo>
                    <a:pt x="9498" y="4367"/>
                  </a:lnTo>
                  <a:lnTo>
                    <a:pt x="9498" y="4302"/>
                  </a:lnTo>
                  <a:lnTo>
                    <a:pt x="9434" y="4302"/>
                  </a:lnTo>
                  <a:lnTo>
                    <a:pt x="9434" y="4367"/>
                  </a:lnTo>
                  <a:close/>
                  <a:moveTo>
                    <a:pt x="9434" y="4480"/>
                  </a:moveTo>
                  <a:lnTo>
                    <a:pt x="9498" y="4480"/>
                  </a:lnTo>
                  <a:lnTo>
                    <a:pt x="9498" y="4416"/>
                  </a:lnTo>
                  <a:lnTo>
                    <a:pt x="9434" y="4416"/>
                  </a:lnTo>
                  <a:lnTo>
                    <a:pt x="9434" y="4480"/>
                  </a:lnTo>
                  <a:close/>
                  <a:moveTo>
                    <a:pt x="9434" y="4595"/>
                  </a:moveTo>
                  <a:lnTo>
                    <a:pt x="9498" y="4595"/>
                  </a:lnTo>
                  <a:lnTo>
                    <a:pt x="9498" y="4530"/>
                  </a:lnTo>
                  <a:lnTo>
                    <a:pt x="9434" y="4530"/>
                  </a:lnTo>
                  <a:lnTo>
                    <a:pt x="9434" y="4595"/>
                  </a:lnTo>
                  <a:close/>
                  <a:moveTo>
                    <a:pt x="9434" y="4707"/>
                  </a:moveTo>
                  <a:lnTo>
                    <a:pt x="9498" y="4707"/>
                  </a:lnTo>
                  <a:lnTo>
                    <a:pt x="9498" y="4643"/>
                  </a:lnTo>
                  <a:lnTo>
                    <a:pt x="9434" y="4643"/>
                  </a:lnTo>
                  <a:lnTo>
                    <a:pt x="9434" y="4707"/>
                  </a:lnTo>
                  <a:close/>
                  <a:moveTo>
                    <a:pt x="9434" y="4819"/>
                  </a:moveTo>
                  <a:lnTo>
                    <a:pt x="9498" y="4819"/>
                  </a:lnTo>
                  <a:lnTo>
                    <a:pt x="9498" y="4754"/>
                  </a:lnTo>
                  <a:lnTo>
                    <a:pt x="9434" y="4754"/>
                  </a:lnTo>
                  <a:lnTo>
                    <a:pt x="9434" y="4819"/>
                  </a:lnTo>
                  <a:close/>
                  <a:moveTo>
                    <a:pt x="9434" y="4932"/>
                  </a:moveTo>
                  <a:lnTo>
                    <a:pt x="9498" y="4932"/>
                  </a:lnTo>
                  <a:lnTo>
                    <a:pt x="9498" y="4868"/>
                  </a:lnTo>
                  <a:lnTo>
                    <a:pt x="9434" y="4868"/>
                  </a:lnTo>
                  <a:lnTo>
                    <a:pt x="9434" y="4932"/>
                  </a:lnTo>
                  <a:close/>
                  <a:moveTo>
                    <a:pt x="9434" y="5046"/>
                  </a:moveTo>
                  <a:lnTo>
                    <a:pt x="9498" y="5046"/>
                  </a:lnTo>
                  <a:lnTo>
                    <a:pt x="9498" y="4982"/>
                  </a:lnTo>
                  <a:lnTo>
                    <a:pt x="9434" y="4982"/>
                  </a:lnTo>
                  <a:lnTo>
                    <a:pt x="9434" y="5046"/>
                  </a:lnTo>
                  <a:close/>
                  <a:moveTo>
                    <a:pt x="9434" y="5159"/>
                  </a:moveTo>
                  <a:lnTo>
                    <a:pt x="9498" y="5159"/>
                  </a:lnTo>
                  <a:lnTo>
                    <a:pt x="9498" y="5095"/>
                  </a:lnTo>
                  <a:lnTo>
                    <a:pt x="9434" y="5095"/>
                  </a:lnTo>
                  <a:lnTo>
                    <a:pt x="9434" y="5159"/>
                  </a:lnTo>
                  <a:close/>
                  <a:moveTo>
                    <a:pt x="9548" y="970"/>
                  </a:moveTo>
                  <a:lnTo>
                    <a:pt x="9613" y="970"/>
                  </a:lnTo>
                  <a:lnTo>
                    <a:pt x="9613" y="906"/>
                  </a:lnTo>
                  <a:lnTo>
                    <a:pt x="9548" y="906"/>
                  </a:lnTo>
                  <a:lnTo>
                    <a:pt x="9548" y="970"/>
                  </a:lnTo>
                  <a:close/>
                  <a:moveTo>
                    <a:pt x="9548" y="1084"/>
                  </a:moveTo>
                  <a:lnTo>
                    <a:pt x="9613" y="1084"/>
                  </a:lnTo>
                  <a:lnTo>
                    <a:pt x="9613" y="1020"/>
                  </a:lnTo>
                  <a:lnTo>
                    <a:pt x="9548" y="1020"/>
                  </a:lnTo>
                  <a:lnTo>
                    <a:pt x="9548" y="1084"/>
                  </a:lnTo>
                  <a:close/>
                  <a:moveTo>
                    <a:pt x="9548" y="1198"/>
                  </a:moveTo>
                  <a:lnTo>
                    <a:pt x="9613" y="1198"/>
                  </a:lnTo>
                  <a:lnTo>
                    <a:pt x="9613" y="1133"/>
                  </a:lnTo>
                  <a:lnTo>
                    <a:pt x="9548" y="1133"/>
                  </a:lnTo>
                  <a:lnTo>
                    <a:pt x="9548" y="1198"/>
                  </a:lnTo>
                  <a:close/>
                  <a:moveTo>
                    <a:pt x="9548" y="1308"/>
                  </a:moveTo>
                  <a:lnTo>
                    <a:pt x="9613" y="1308"/>
                  </a:lnTo>
                  <a:lnTo>
                    <a:pt x="9613" y="1244"/>
                  </a:lnTo>
                  <a:lnTo>
                    <a:pt x="9548" y="1244"/>
                  </a:lnTo>
                  <a:lnTo>
                    <a:pt x="9548" y="1308"/>
                  </a:lnTo>
                  <a:close/>
                  <a:moveTo>
                    <a:pt x="9548" y="1422"/>
                  </a:moveTo>
                  <a:lnTo>
                    <a:pt x="9613" y="1422"/>
                  </a:lnTo>
                  <a:lnTo>
                    <a:pt x="9613" y="1358"/>
                  </a:lnTo>
                  <a:lnTo>
                    <a:pt x="9548" y="1358"/>
                  </a:lnTo>
                  <a:lnTo>
                    <a:pt x="9548" y="1422"/>
                  </a:lnTo>
                  <a:close/>
                  <a:moveTo>
                    <a:pt x="9548" y="1536"/>
                  </a:moveTo>
                  <a:lnTo>
                    <a:pt x="9613" y="1536"/>
                  </a:lnTo>
                  <a:lnTo>
                    <a:pt x="9613" y="1471"/>
                  </a:lnTo>
                  <a:lnTo>
                    <a:pt x="9548" y="1471"/>
                  </a:lnTo>
                  <a:lnTo>
                    <a:pt x="9548" y="1536"/>
                  </a:lnTo>
                  <a:close/>
                  <a:moveTo>
                    <a:pt x="9548" y="1649"/>
                  </a:moveTo>
                  <a:lnTo>
                    <a:pt x="9613" y="1649"/>
                  </a:lnTo>
                  <a:lnTo>
                    <a:pt x="9613" y="1585"/>
                  </a:lnTo>
                  <a:lnTo>
                    <a:pt x="9548" y="1585"/>
                  </a:lnTo>
                  <a:lnTo>
                    <a:pt x="9548" y="1649"/>
                  </a:lnTo>
                  <a:close/>
                  <a:moveTo>
                    <a:pt x="9548" y="1766"/>
                  </a:moveTo>
                  <a:lnTo>
                    <a:pt x="9613" y="1766"/>
                  </a:lnTo>
                  <a:lnTo>
                    <a:pt x="9613" y="1702"/>
                  </a:lnTo>
                  <a:lnTo>
                    <a:pt x="9548" y="1702"/>
                  </a:lnTo>
                  <a:lnTo>
                    <a:pt x="9548" y="1766"/>
                  </a:lnTo>
                  <a:close/>
                  <a:moveTo>
                    <a:pt x="9548" y="1880"/>
                  </a:moveTo>
                  <a:lnTo>
                    <a:pt x="9613" y="1880"/>
                  </a:lnTo>
                  <a:lnTo>
                    <a:pt x="9613" y="1816"/>
                  </a:lnTo>
                  <a:lnTo>
                    <a:pt x="9548" y="1816"/>
                  </a:lnTo>
                  <a:lnTo>
                    <a:pt x="9548" y="1880"/>
                  </a:lnTo>
                  <a:close/>
                  <a:moveTo>
                    <a:pt x="9548" y="1994"/>
                  </a:moveTo>
                  <a:lnTo>
                    <a:pt x="9613" y="1994"/>
                  </a:lnTo>
                  <a:lnTo>
                    <a:pt x="9613" y="1929"/>
                  </a:lnTo>
                  <a:lnTo>
                    <a:pt x="9548" y="1929"/>
                  </a:lnTo>
                  <a:lnTo>
                    <a:pt x="9548" y="1994"/>
                  </a:lnTo>
                  <a:close/>
                  <a:moveTo>
                    <a:pt x="9548" y="2105"/>
                  </a:moveTo>
                  <a:lnTo>
                    <a:pt x="9613" y="2105"/>
                  </a:lnTo>
                  <a:lnTo>
                    <a:pt x="9613" y="2040"/>
                  </a:lnTo>
                  <a:lnTo>
                    <a:pt x="9548" y="2040"/>
                  </a:lnTo>
                  <a:lnTo>
                    <a:pt x="9548" y="2105"/>
                  </a:lnTo>
                  <a:close/>
                  <a:moveTo>
                    <a:pt x="9548" y="2218"/>
                  </a:moveTo>
                  <a:lnTo>
                    <a:pt x="9613" y="2218"/>
                  </a:lnTo>
                  <a:lnTo>
                    <a:pt x="9613" y="2153"/>
                  </a:lnTo>
                  <a:lnTo>
                    <a:pt x="9548" y="2153"/>
                  </a:lnTo>
                  <a:lnTo>
                    <a:pt x="9548" y="2218"/>
                  </a:lnTo>
                  <a:close/>
                  <a:moveTo>
                    <a:pt x="9548" y="2332"/>
                  </a:moveTo>
                  <a:lnTo>
                    <a:pt x="9613" y="2332"/>
                  </a:lnTo>
                  <a:lnTo>
                    <a:pt x="9613" y="2268"/>
                  </a:lnTo>
                  <a:lnTo>
                    <a:pt x="9548" y="2268"/>
                  </a:lnTo>
                  <a:lnTo>
                    <a:pt x="9548" y="2332"/>
                  </a:lnTo>
                  <a:close/>
                  <a:moveTo>
                    <a:pt x="9548" y="2445"/>
                  </a:moveTo>
                  <a:lnTo>
                    <a:pt x="9613" y="2445"/>
                  </a:lnTo>
                  <a:lnTo>
                    <a:pt x="9613" y="2381"/>
                  </a:lnTo>
                  <a:lnTo>
                    <a:pt x="9548" y="2381"/>
                  </a:lnTo>
                  <a:lnTo>
                    <a:pt x="9548" y="2445"/>
                  </a:lnTo>
                  <a:close/>
                  <a:moveTo>
                    <a:pt x="9548" y="2557"/>
                  </a:moveTo>
                  <a:lnTo>
                    <a:pt x="9613" y="2557"/>
                  </a:lnTo>
                  <a:lnTo>
                    <a:pt x="9613" y="2493"/>
                  </a:lnTo>
                  <a:lnTo>
                    <a:pt x="9548" y="2493"/>
                  </a:lnTo>
                  <a:lnTo>
                    <a:pt x="9548" y="2557"/>
                  </a:lnTo>
                  <a:close/>
                  <a:moveTo>
                    <a:pt x="9548" y="2670"/>
                  </a:moveTo>
                  <a:lnTo>
                    <a:pt x="9613" y="2670"/>
                  </a:lnTo>
                  <a:lnTo>
                    <a:pt x="9613" y="2606"/>
                  </a:lnTo>
                  <a:lnTo>
                    <a:pt x="9548" y="2606"/>
                  </a:lnTo>
                  <a:lnTo>
                    <a:pt x="9548" y="2670"/>
                  </a:lnTo>
                  <a:close/>
                  <a:moveTo>
                    <a:pt x="9548" y="2785"/>
                  </a:moveTo>
                  <a:lnTo>
                    <a:pt x="9613" y="2785"/>
                  </a:lnTo>
                  <a:lnTo>
                    <a:pt x="9613" y="2720"/>
                  </a:lnTo>
                  <a:lnTo>
                    <a:pt x="9548" y="2720"/>
                  </a:lnTo>
                  <a:lnTo>
                    <a:pt x="9548" y="2785"/>
                  </a:lnTo>
                  <a:close/>
                  <a:moveTo>
                    <a:pt x="9548" y="2898"/>
                  </a:moveTo>
                  <a:lnTo>
                    <a:pt x="9613" y="2898"/>
                  </a:lnTo>
                  <a:lnTo>
                    <a:pt x="9613" y="2834"/>
                  </a:lnTo>
                  <a:lnTo>
                    <a:pt x="9548" y="2834"/>
                  </a:lnTo>
                  <a:lnTo>
                    <a:pt x="9548" y="2898"/>
                  </a:lnTo>
                  <a:close/>
                  <a:moveTo>
                    <a:pt x="9548" y="3009"/>
                  </a:moveTo>
                  <a:lnTo>
                    <a:pt x="9613" y="3009"/>
                  </a:lnTo>
                  <a:lnTo>
                    <a:pt x="9613" y="2945"/>
                  </a:lnTo>
                  <a:lnTo>
                    <a:pt x="9548" y="2945"/>
                  </a:lnTo>
                  <a:lnTo>
                    <a:pt x="9548" y="3009"/>
                  </a:lnTo>
                  <a:close/>
                  <a:moveTo>
                    <a:pt x="9548" y="3122"/>
                  </a:moveTo>
                  <a:lnTo>
                    <a:pt x="9613" y="3122"/>
                  </a:lnTo>
                  <a:lnTo>
                    <a:pt x="9613" y="3058"/>
                  </a:lnTo>
                  <a:lnTo>
                    <a:pt x="9548" y="3058"/>
                  </a:lnTo>
                  <a:lnTo>
                    <a:pt x="9548" y="3122"/>
                  </a:lnTo>
                  <a:close/>
                  <a:moveTo>
                    <a:pt x="9548" y="3237"/>
                  </a:moveTo>
                  <a:lnTo>
                    <a:pt x="9613" y="3237"/>
                  </a:lnTo>
                  <a:lnTo>
                    <a:pt x="9613" y="3172"/>
                  </a:lnTo>
                  <a:lnTo>
                    <a:pt x="9548" y="3172"/>
                  </a:lnTo>
                  <a:lnTo>
                    <a:pt x="9548" y="3237"/>
                  </a:lnTo>
                  <a:close/>
                  <a:moveTo>
                    <a:pt x="9548" y="3350"/>
                  </a:moveTo>
                  <a:lnTo>
                    <a:pt x="9613" y="3350"/>
                  </a:lnTo>
                  <a:lnTo>
                    <a:pt x="9613" y="3285"/>
                  </a:lnTo>
                  <a:lnTo>
                    <a:pt x="9548" y="3285"/>
                  </a:lnTo>
                  <a:lnTo>
                    <a:pt x="9548" y="3350"/>
                  </a:lnTo>
                  <a:close/>
                  <a:moveTo>
                    <a:pt x="9548" y="3463"/>
                  </a:moveTo>
                  <a:lnTo>
                    <a:pt x="9613" y="3463"/>
                  </a:lnTo>
                  <a:lnTo>
                    <a:pt x="9613" y="3398"/>
                  </a:lnTo>
                  <a:lnTo>
                    <a:pt x="9548" y="3398"/>
                  </a:lnTo>
                  <a:lnTo>
                    <a:pt x="9548" y="3463"/>
                  </a:lnTo>
                  <a:close/>
                  <a:moveTo>
                    <a:pt x="9548" y="3576"/>
                  </a:moveTo>
                  <a:lnTo>
                    <a:pt x="9613" y="3576"/>
                  </a:lnTo>
                  <a:lnTo>
                    <a:pt x="9613" y="3512"/>
                  </a:lnTo>
                  <a:lnTo>
                    <a:pt x="9548" y="3512"/>
                  </a:lnTo>
                  <a:lnTo>
                    <a:pt x="9548" y="3576"/>
                  </a:lnTo>
                  <a:close/>
                  <a:moveTo>
                    <a:pt x="9548" y="3690"/>
                  </a:moveTo>
                  <a:lnTo>
                    <a:pt x="9613" y="3690"/>
                  </a:lnTo>
                  <a:lnTo>
                    <a:pt x="9613" y="3626"/>
                  </a:lnTo>
                  <a:lnTo>
                    <a:pt x="9548" y="3626"/>
                  </a:lnTo>
                  <a:lnTo>
                    <a:pt x="9548" y="3690"/>
                  </a:lnTo>
                  <a:close/>
                  <a:moveTo>
                    <a:pt x="9548" y="3803"/>
                  </a:moveTo>
                  <a:lnTo>
                    <a:pt x="9613" y="3803"/>
                  </a:lnTo>
                  <a:lnTo>
                    <a:pt x="9613" y="3739"/>
                  </a:lnTo>
                  <a:lnTo>
                    <a:pt x="9548" y="3739"/>
                  </a:lnTo>
                  <a:lnTo>
                    <a:pt x="9548" y="3803"/>
                  </a:lnTo>
                  <a:close/>
                  <a:moveTo>
                    <a:pt x="9548" y="3914"/>
                  </a:moveTo>
                  <a:lnTo>
                    <a:pt x="9613" y="3914"/>
                  </a:lnTo>
                  <a:lnTo>
                    <a:pt x="9613" y="3850"/>
                  </a:lnTo>
                  <a:lnTo>
                    <a:pt x="9548" y="3850"/>
                  </a:lnTo>
                  <a:lnTo>
                    <a:pt x="9548" y="3914"/>
                  </a:lnTo>
                  <a:close/>
                  <a:moveTo>
                    <a:pt x="9548" y="4028"/>
                  </a:moveTo>
                  <a:lnTo>
                    <a:pt x="9613" y="4028"/>
                  </a:lnTo>
                  <a:lnTo>
                    <a:pt x="9613" y="3963"/>
                  </a:lnTo>
                  <a:lnTo>
                    <a:pt x="9548" y="3963"/>
                  </a:lnTo>
                  <a:lnTo>
                    <a:pt x="9548" y="4028"/>
                  </a:lnTo>
                  <a:close/>
                  <a:moveTo>
                    <a:pt x="9548" y="4142"/>
                  </a:moveTo>
                  <a:lnTo>
                    <a:pt x="9613" y="4142"/>
                  </a:lnTo>
                  <a:lnTo>
                    <a:pt x="9613" y="4077"/>
                  </a:lnTo>
                  <a:lnTo>
                    <a:pt x="9548" y="4077"/>
                  </a:lnTo>
                  <a:lnTo>
                    <a:pt x="9548" y="4142"/>
                  </a:lnTo>
                  <a:close/>
                  <a:moveTo>
                    <a:pt x="9548" y="4255"/>
                  </a:moveTo>
                  <a:lnTo>
                    <a:pt x="9613" y="4255"/>
                  </a:lnTo>
                  <a:lnTo>
                    <a:pt x="9613" y="4191"/>
                  </a:lnTo>
                  <a:lnTo>
                    <a:pt x="9548" y="4191"/>
                  </a:lnTo>
                  <a:lnTo>
                    <a:pt x="9548" y="4255"/>
                  </a:lnTo>
                  <a:close/>
                  <a:moveTo>
                    <a:pt x="9548" y="4367"/>
                  </a:moveTo>
                  <a:lnTo>
                    <a:pt x="9613" y="4367"/>
                  </a:lnTo>
                  <a:lnTo>
                    <a:pt x="9613" y="4302"/>
                  </a:lnTo>
                  <a:lnTo>
                    <a:pt x="9548" y="4302"/>
                  </a:lnTo>
                  <a:lnTo>
                    <a:pt x="9548" y="4367"/>
                  </a:lnTo>
                  <a:close/>
                  <a:moveTo>
                    <a:pt x="9548" y="4480"/>
                  </a:moveTo>
                  <a:lnTo>
                    <a:pt x="9613" y="4480"/>
                  </a:lnTo>
                  <a:lnTo>
                    <a:pt x="9613" y="4416"/>
                  </a:lnTo>
                  <a:lnTo>
                    <a:pt x="9548" y="4416"/>
                  </a:lnTo>
                  <a:lnTo>
                    <a:pt x="9548" y="4480"/>
                  </a:lnTo>
                  <a:close/>
                  <a:moveTo>
                    <a:pt x="9548" y="4595"/>
                  </a:moveTo>
                  <a:lnTo>
                    <a:pt x="9613" y="4595"/>
                  </a:lnTo>
                  <a:lnTo>
                    <a:pt x="9613" y="4530"/>
                  </a:lnTo>
                  <a:lnTo>
                    <a:pt x="9548" y="4530"/>
                  </a:lnTo>
                  <a:lnTo>
                    <a:pt x="9548" y="4595"/>
                  </a:lnTo>
                  <a:close/>
                  <a:moveTo>
                    <a:pt x="9548" y="4707"/>
                  </a:moveTo>
                  <a:lnTo>
                    <a:pt x="9613" y="4707"/>
                  </a:lnTo>
                  <a:lnTo>
                    <a:pt x="9613" y="4643"/>
                  </a:lnTo>
                  <a:lnTo>
                    <a:pt x="9548" y="4643"/>
                  </a:lnTo>
                  <a:lnTo>
                    <a:pt x="9548" y="4707"/>
                  </a:lnTo>
                  <a:close/>
                  <a:moveTo>
                    <a:pt x="9548" y="4932"/>
                  </a:moveTo>
                  <a:lnTo>
                    <a:pt x="9613" y="4932"/>
                  </a:lnTo>
                  <a:lnTo>
                    <a:pt x="9613" y="4868"/>
                  </a:lnTo>
                  <a:lnTo>
                    <a:pt x="9548" y="4868"/>
                  </a:lnTo>
                  <a:lnTo>
                    <a:pt x="9548" y="4932"/>
                  </a:lnTo>
                  <a:close/>
                  <a:moveTo>
                    <a:pt x="9548" y="5046"/>
                  </a:moveTo>
                  <a:lnTo>
                    <a:pt x="9613" y="5046"/>
                  </a:lnTo>
                  <a:lnTo>
                    <a:pt x="9613" y="4982"/>
                  </a:lnTo>
                  <a:lnTo>
                    <a:pt x="9548" y="4982"/>
                  </a:lnTo>
                  <a:lnTo>
                    <a:pt x="9548" y="5046"/>
                  </a:lnTo>
                  <a:close/>
                  <a:moveTo>
                    <a:pt x="9548" y="5159"/>
                  </a:moveTo>
                  <a:lnTo>
                    <a:pt x="9613" y="5159"/>
                  </a:lnTo>
                  <a:lnTo>
                    <a:pt x="9613" y="5095"/>
                  </a:lnTo>
                  <a:lnTo>
                    <a:pt x="9548" y="5095"/>
                  </a:lnTo>
                  <a:lnTo>
                    <a:pt x="9548" y="5159"/>
                  </a:lnTo>
                  <a:close/>
                  <a:moveTo>
                    <a:pt x="9548" y="5270"/>
                  </a:moveTo>
                  <a:lnTo>
                    <a:pt x="9613" y="5270"/>
                  </a:lnTo>
                  <a:lnTo>
                    <a:pt x="9613" y="5205"/>
                  </a:lnTo>
                  <a:lnTo>
                    <a:pt x="9548" y="5205"/>
                  </a:lnTo>
                  <a:lnTo>
                    <a:pt x="9548" y="5270"/>
                  </a:lnTo>
                  <a:close/>
                  <a:moveTo>
                    <a:pt x="9662" y="1084"/>
                  </a:moveTo>
                  <a:lnTo>
                    <a:pt x="9727" y="1084"/>
                  </a:lnTo>
                  <a:lnTo>
                    <a:pt x="9727" y="1020"/>
                  </a:lnTo>
                  <a:lnTo>
                    <a:pt x="9662" y="1020"/>
                  </a:lnTo>
                  <a:lnTo>
                    <a:pt x="9662" y="1084"/>
                  </a:lnTo>
                  <a:close/>
                  <a:moveTo>
                    <a:pt x="9662" y="1198"/>
                  </a:moveTo>
                  <a:lnTo>
                    <a:pt x="9727" y="1198"/>
                  </a:lnTo>
                  <a:lnTo>
                    <a:pt x="9727" y="1133"/>
                  </a:lnTo>
                  <a:lnTo>
                    <a:pt x="9662" y="1133"/>
                  </a:lnTo>
                  <a:lnTo>
                    <a:pt x="9662" y="1198"/>
                  </a:lnTo>
                  <a:close/>
                  <a:moveTo>
                    <a:pt x="9662" y="1308"/>
                  </a:moveTo>
                  <a:lnTo>
                    <a:pt x="9727" y="1308"/>
                  </a:lnTo>
                  <a:lnTo>
                    <a:pt x="9727" y="1244"/>
                  </a:lnTo>
                  <a:lnTo>
                    <a:pt x="9662" y="1244"/>
                  </a:lnTo>
                  <a:lnTo>
                    <a:pt x="9662" y="1308"/>
                  </a:lnTo>
                  <a:close/>
                  <a:moveTo>
                    <a:pt x="9662" y="1422"/>
                  </a:moveTo>
                  <a:lnTo>
                    <a:pt x="9727" y="1422"/>
                  </a:lnTo>
                  <a:lnTo>
                    <a:pt x="9727" y="1358"/>
                  </a:lnTo>
                  <a:lnTo>
                    <a:pt x="9662" y="1358"/>
                  </a:lnTo>
                  <a:lnTo>
                    <a:pt x="9662" y="1422"/>
                  </a:lnTo>
                  <a:close/>
                  <a:moveTo>
                    <a:pt x="9662" y="1536"/>
                  </a:moveTo>
                  <a:lnTo>
                    <a:pt x="9727" y="1536"/>
                  </a:lnTo>
                  <a:lnTo>
                    <a:pt x="9727" y="1471"/>
                  </a:lnTo>
                  <a:lnTo>
                    <a:pt x="9662" y="1471"/>
                  </a:lnTo>
                  <a:lnTo>
                    <a:pt x="9662" y="1536"/>
                  </a:lnTo>
                  <a:close/>
                  <a:moveTo>
                    <a:pt x="9662" y="1649"/>
                  </a:moveTo>
                  <a:lnTo>
                    <a:pt x="9727" y="1649"/>
                  </a:lnTo>
                  <a:lnTo>
                    <a:pt x="9727" y="1585"/>
                  </a:lnTo>
                  <a:lnTo>
                    <a:pt x="9662" y="1585"/>
                  </a:lnTo>
                  <a:lnTo>
                    <a:pt x="9662" y="1649"/>
                  </a:lnTo>
                  <a:close/>
                  <a:moveTo>
                    <a:pt x="9662" y="1766"/>
                  </a:moveTo>
                  <a:lnTo>
                    <a:pt x="9727" y="1766"/>
                  </a:lnTo>
                  <a:lnTo>
                    <a:pt x="9727" y="1702"/>
                  </a:lnTo>
                  <a:lnTo>
                    <a:pt x="9662" y="1702"/>
                  </a:lnTo>
                  <a:lnTo>
                    <a:pt x="9662" y="1766"/>
                  </a:lnTo>
                  <a:close/>
                  <a:moveTo>
                    <a:pt x="9662" y="1880"/>
                  </a:moveTo>
                  <a:lnTo>
                    <a:pt x="9727" y="1880"/>
                  </a:lnTo>
                  <a:lnTo>
                    <a:pt x="9727" y="1816"/>
                  </a:lnTo>
                  <a:lnTo>
                    <a:pt x="9662" y="1816"/>
                  </a:lnTo>
                  <a:lnTo>
                    <a:pt x="9662" y="1880"/>
                  </a:lnTo>
                  <a:close/>
                  <a:moveTo>
                    <a:pt x="9662" y="1994"/>
                  </a:moveTo>
                  <a:lnTo>
                    <a:pt x="9727" y="1994"/>
                  </a:lnTo>
                  <a:lnTo>
                    <a:pt x="9727" y="1929"/>
                  </a:lnTo>
                  <a:lnTo>
                    <a:pt x="9662" y="1929"/>
                  </a:lnTo>
                  <a:lnTo>
                    <a:pt x="9662" y="1994"/>
                  </a:lnTo>
                  <a:close/>
                  <a:moveTo>
                    <a:pt x="9662" y="2105"/>
                  </a:moveTo>
                  <a:lnTo>
                    <a:pt x="9727" y="2105"/>
                  </a:lnTo>
                  <a:lnTo>
                    <a:pt x="9727" y="2040"/>
                  </a:lnTo>
                  <a:lnTo>
                    <a:pt x="9662" y="2040"/>
                  </a:lnTo>
                  <a:lnTo>
                    <a:pt x="9662" y="2105"/>
                  </a:lnTo>
                  <a:close/>
                  <a:moveTo>
                    <a:pt x="9662" y="2218"/>
                  </a:moveTo>
                  <a:lnTo>
                    <a:pt x="9727" y="2218"/>
                  </a:lnTo>
                  <a:lnTo>
                    <a:pt x="9727" y="2153"/>
                  </a:lnTo>
                  <a:lnTo>
                    <a:pt x="9662" y="2153"/>
                  </a:lnTo>
                  <a:lnTo>
                    <a:pt x="9662" y="2218"/>
                  </a:lnTo>
                  <a:close/>
                  <a:moveTo>
                    <a:pt x="9662" y="2332"/>
                  </a:moveTo>
                  <a:lnTo>
                    <a:pt x="9727" y="2332"/>
                  </a:lnTo>
                  <a:lnTo>
                    <a:pt x="9727" y="2268"/>
                  </a:lnTo>
                  <a:lnTo>
                    <a:pt x="9662" y="2268"/>
                  </a:lnTo>
                  <a:lnTo>
                    <a:pt x="9662" y="2332"/>
                  </a:lnTo>
                  <a:close/>
                  <a:moveTo>
                    <a:pt x="9662" y="2445"/>
                  </a:moveTo>
                  <a:lnTo>
                    <a:pt x="9727" y="2445"/>
                  </a:lnTo>
                  <a:lnTo>
                    <a:pt x="9727" y="2381"/>
                  </a:lnTo>
                  <a:lnTo>
                    <a:pt x="9662" y="2381"/>
                  </a:lnTo>
                  <a:lnTo>
                    <a:pt x="9662" y="2445"/>
                  </a:lnTo>
                  <a:close/>
                  <a:moveTo>
                    <a:pt x="9662" y="2557"/>
                  </a:moveTo>
                  <a:lnTo>
                    <a:pt x="9727" y="2557"/>
                  </a:lnTo>
                  <a:lnTo>
                    <a:pt x="9727" y="2493"/>
                  </a:lnTo>
                  <a:lnTo>
                    <a:pt x="9662" y="2493"/>
                  </a:lnTo>
                  <a:lnTo>
                    <a:pt x="9662" y="2557"/>
                  </a:lnTo>
                  <a:close/>
                  <a:moveTo>
                    <a:pt x="9662" y="2670"/>
                  </a:moveTo>
                  <a:lnTo>
                    <a:pt x="9727" y="2670"/>
                  </a:lnTo>
                  <a:lnTo>
                    <a:pt x="9727" y="2606"/>
                  </a:lnTo>
                  <a:lnTo>
                    <a:pt x="9662" y="2606"/>
                  </a:lnTo>
                  <a:lnTo>
                    <a:pt x="9662" y="2670"/>
                  </a:lnTo>
                  <a:close/>
                  <a:moveTo>
                    <a:pt x="9662" y="2785"/>
                  </a:moveTo>
                  <a:lnTo>
                    <a:pt x="9727" y="2785"/>
                  </a:lnTo>
                  <a:lnTo>
                    <a:pt x="9727" y="2720"/>
                  </a:lnTo>
                  <a:lnTo>
                    <a:pt x="9662" y="2720"/>
                  </a:lnTo>
                  <a:lnTo>
                    <a:pt x="9662" y="2785"/>
                  </a:lnTo>
                  <a:close/>
                  <a:moveTo>
                    <a:pt x="9662" y="2898"/>
                  </a:moveTo>
                  <a:lnTo>
                    <a:pt x="9727" y="2898"/>
                  </a:lnTo>
                  <a:lnTo>
                    <a:pt x="9727" y="2834"/>
                  </a:lnTo>
                  <a:lnTo>
                    <a:pt x="9662" y="2834"/>
                  </a:lnTo>
                  <a:lnTo>
                    <a:pt x="9662" y="2898"/>
                  </a:lnTo>
                  <a:close/>
                  <a:moveTo>
                    <a:pt x="9662" y="3009"/>
                  </a:moveTo>
                  <a:lnTo>
                    <a:pt x="9727" y="3009"/>
                  </a:lnTo>
                  <a:lnTo>
                    <a:pt x="9727" y="2945"/>
                  </a:lnTo>
                  <a:lnTo>
                    <a:pt x="9662" y="2945"/>
                  </a:lnTo>
                  <a:lnTo>
                    <a:pt x="9662" y="3009"/>
                  </a:lnTo>
                  <a:close/>
                  <a:moveTo>
                    <a:pt x="9662" y="3122"/>
                  </a:moveTo>
                  <a:lnTo>
                    <a:pt x="9727" y="3122"/>
                  </a:lnTo>
                  <a:lnTo>
                    <a:pt x="9727" y="3058"/>
                  </a:lnTo>
                  <a:lnTo>
                    <a:pt x="9662" y="3058"/>
                  </a:lnTo>
                  <a:lnTo>
                    <a:pt x="9662" y="3122"/>
                  </a:lnTo>
                  <a:close/>
                  <a:moveTo>
                    <a:pt x="9662" y="3237"/>
                  </a:moveTo>
                  <a:lnTo>
                    <a:pt x="9727" y="3237"/>
                  </a:lnTo>
                  <a:lnTo>
                    <a:pt x="9727" y="3172"/>
                  </a:lnTo>
                  <a:lnTo>
                    <a:pt x="9662" y="3172"/>
                  </a:lnTo>
                  <a:lnTo>
                    <a:pt x="9662" y="3237"/>
                  </a:lnTo>
                  <a:close/>
                  <a:moveTo>
                    <a:pt x="9662" y="3350"/>
                  </a:moveTo>
                  <a:lnTo>
                    <a:pt x="9727" y="3350"/>
                  </a:lnTo>
                  <a:lnTo>
                    <a:pt x="9727" y="3285"/>
                  </a:lnTo>
                  <a:lnTo>
                    <a:pt x="9662" y="3285"/>
                  </a:lnTo>
                  <a:lnTo>
                    <a:pt x="9662" y="3350"/>
                  </a:lnTo>
                  <a:close/>
                  <a:moveTo>
                    <a:pt x="9662" y="3463"/>
                  </a:moveTo>
                  <a:lnTo>
                    <a:pt x="9727" y="3463"/>
                  </a:lnTo>
                  <a:lnTo>
                    <a:pt x="9727" y="3398"/>
                  </a:lnTo>
                  <a:lnTo>
                    <a:pt x="9662" y="3398"/>
                  </a:lnTo>
                  <a:lnTo>
                    <a:pt x="9662" y="3463"/>
                  </a:lnTo>
                  <a:close/>
                  <a:moveTo>
                    <a:pt x="9662" y="3576"/>
                  </a:moveTo>
                  <a:lnTo>
                    <a:pt x="9727" y="3576"/>
                  </a:lnTo>
                  <a:lnTo>
                    <a:pt x="9727" y="3512"/>
                  </a:lnTo>
                  <a:lnTo>
                    <a:pt x="9662" y="3512"/>
                  </a:lnTo>
                  <a:lnTo>
                    <a:pt x="9662" y="3576"/>
                  </a:lnTo>
                  <a:close/>
                  <a:moveTo>
                    <a:pt x="9662" y="3690"/>
                  </a:moveTo>
                  <a:lnTo>
                    <a:pt x="9727" y="3690"/>
                  </a:lnTo>
                  <a:lnTo>
                    <a:pt x="9727" y="3626"/>
                  </a:lnTo>
                  <a:lnTo>
                    <a:pt x="9662" y="3626"/>
                  </a:lnTo>
                  <a:lnTo>
                    <a:pt x="9662" y="3690"/>
                  </a:lnTo>
                  <a:close/>
                  <a:moveTo>
                    <a:pt x="9662" y="3803"/>
                  </a:moveTo>
                  <a:lnTo>
                    <a:pt x="9727" y="3803"/>
                  </a:lnTo>
                  <a:lnTo>
                    <a:pt x="9727" y="3739"/>
                  </a:lnTo>
                  <a:lnTo>
                    <a:pt x="9662" y="3739"/>
                  </a:lnTo>
                  <a:lnTo>
                    <a:pt x="9662" y="3803"/>
                  </a:lnTo>
                  <a:close/>
                  <a:moveTo>
                    <a:pt x="9662" y="3914"/>
                  </a:moveTo>
                  <a:lnTo>
                    <a:pt x="9727" y="3914"/>
                  </a:lnTo>
                  <a:lnTo>
                    <a:pt x="9727" y="3850"/>
                  </a:lnTo>
                  <a:lnTo>
                    <a:pt x="9662" y="3850"/>
                  </a:lnTo>
                  <a:lnTo>
                    <a:pt x="9662" y="3914"/>
                  </a:lnTo>
                  <a:close/>
                  <a:moveTo>
                    <a:pt x="9662" y="4028"/>
                  </a:moveTo>
                  <a:lnTo>
                    <a:pt x="9727" y="4028"/>
                  </a:lnTo>
                  <a:lnTo>
                    <a:pt x="9727" y="3963"/>
                  </a:lnTo>
                  <a:lnTo>
                    <a:pt x="9662" y="3963"/>
                  </a:lnTo>
                  <a:lnTo>
                    <a:pt x="9662" y="4028"/>
                  </a:lnTo>
                  <a:close/>
                  <a:moveTo>
                    <a:pt x="9662" y="4142"/>
                  </a:moveTo>
                  <a:lnTo>
                    <a:pt x="9727" y="4142"/>
                  </a:lnTo>
                  <a:lnTo>
                    <a:pt x="9727" y="4077"/>
                  </a:lnTo>
                  <a:lnTo>
                    <a:pt x="9662" y="4077"/>
                  </a:lnTo>
                  <a:lnTo>
                    <a:pt x="9662" y="4142"/>
                  </a:lnTo>
                  <a:close/>
                  <a:moveTo>
                    <a:pt x="9662" y="4255"/>
                  </a:moveTo>
                  <a:lnTo>
                    <a:pt x="9727" y="4255"/>
                  </a:lnTo>
                  <a:lnTo>
                    <a:pt x="9727" y="4191"/>
                  </a:lnTo>
                  <a:lnTo>
                    <a:pt x="9662" y="4191"/>
                  </a:lnTo>
                  <a:lnTo>
                    <a:pt x="9662" y="4255"/>
                  </a:lnTo>
                  <a:close/>
                  <a:moveTo>
                    <a:pt x="9662" y="4367"/>
                  </a:moveTo>
                  <a:lnTo>
                    <a:pt x="9727" y="4367"/>
                  </a:lnTo>
                  <a:lnTo>
                    <a:pt x="9727" y="4302"/>
                  </a:lnTo>
                  <a:lnTo>
                    <a:pt x="9662" y="4302"/>
                  </a:lnTo>
                  <a:lnTo>
                    <a:pt x="9662" y="4367"/>
                  </a:lnTo>
                  <a:close/>
                  <a:moveTo>
                    <a:pt x="9662" y="4480"/>
                  </a:moveTo>
                  <a:lnTo>
                    <a:pt x="9727" y="4480"/>
                  </a:lnTo>
                  <a:lnTo>
                    <a:pt x="9727" y="4416"/>
                  </a:lnTo>
                  <a:lnTo>
                    <a:pt x="9662" y="4416"/>
                  </a:lnTo>
                  <a:lnTo>
                    <a:pt x="9662" y="4480"/>
                  </a:lnTo>
                  <a:close/>
                  <a:moveTo>
                    <a:pt x="9662" y="4595"/>
                  </a:moveTo>
                  <a:lnTo>
                    <a:pt x="9727" y="4595"/>
                  </a:lnTo>
                  <a:lnTo>
                    <a:pt x="9727" y="4530"/>
                  </a:lnTo>
                  <a:lnTo>
                    <a:pt x="9662" y="4530"/>
                  </a:lnTo>
                  <a:lnTo>
                    <a:pt x="9662" y="4595"/>
                  </a:lnTo>
                  <a:close/>
                  <a:moveTo>
                    <a:pt x="9662" y="4707"/>
                  </a:moveTo>
                  <a:lnTo>
                    <a:pt x="9727" y="4707"/>
                  </a:lnTo>
                  <a:lnTo>
                    <a:pt x="9727" y="4643"/>
                  </a:lnTo>
                  <a:lnTo>
                    <a:pt x="9662" y="4643"/>
                  </a:lnTo>
                  <a:lnTo>
                    <a:pt x="9662" y="4707"/>
                  </a:lnTo>
                  <a:close/>
                  <a:moveTo>
                    <a:pt x="9662" y="5159"/>
                  </a:moveTo>
                  <a:lnTo>
                    <a:pt x="9727" y="5159"/>
                  </a:lnTo>
                  <a:lnTo>
                    <a:pt x="9727" y="5095"/>
                  </a:lnTo>
                  <a:lnTo>
                    <a:pt x="9662" y="5095"/>
                  </a:lnTo>
                  <a:lnTo>
                    <a:pt x="9662" y="5159"/>
                  </a:lnTo>
                  <a:close/>
                  <a:moveTo>
                    <a:pt x="9662" y="5270"/>
                  </a:moveTo>
                  <a:lnTo>
                    <a:pt x="9727" y="5270"/>
                  </a:lnTo>
                  <a:lnTo>
                    <a:pt x="9727" y="5205"/>
                  </a:lnTo>
                  <a:lnTo>
                    <a:pt x="9662" y="5205"/>
                  </a:lnTo>
                  <a:lnTo>
                    <a:pt x="9662" y="5270"/>
                  </a:lnTo>
                  <a:close/>
                  <a:moveTo>
                    <a:pt x="9662" y="5383"/>
                  </a:moveTo>
                  <a:lnTo>
                    <a:pt x="9727" y="5383"/>
                  </a:lnTo>
                  <a:lnTo>
                    <a:pt x="9727" y="5319"/>
                  </a:lnTo>
                  <a:lnTo>
                    <a:pt x="9662" y="5319"/>
                  </a:lnTo>
                  <a:lnTo>
                    <a:pt x="9662" y="5383"/>
                  </a:lnTo>
                  <a:close/>
                  <a:moveTo>
                    <a:pt x="9776" y="1084"/>
                  </a:moveTo>
                  <a:lnTo>
                    <a:pt x="9841" y="1084"/>
                  </a:lnTo>
                  <a:lnTo>
                    <a:pt x="9841" y="1020"/>
                  </a:lnTo>
                  <a:lnTo>
                    <a:pt x="9776" y="1020"/>
                  </a:lnTo>
                  <a:lnTo>
                    <a:pt x="9776" y="1084"/>
                  </a:lnTo>
                  <a:close/>
                  <a:moveTo>
                    <a:pt x="9776" y="1198"/>
                  </a:moveTo>
                  <a:lnTo>
                    <a:pt x="9841" y="1198"/>
                  </a:lnTo>
                  <a:lnTo>
                    <a:pt x="9841" y="1133"/>
                  </a:lnTo>
                  <a:lnTo>
                    <a:pt x="9776" y="1133"/>
                  </a:lnTo>
                  <a:lnTo>
                    <a:pt x="9776" y="1198"/>
                  </a:lnTo>
                  <a:close/>
                  <a:moveTo>
                    <a:pt x="9776" y="1308"/>
                  </a:moveTo>
                  <a:lnTo>
                    <a:pt x="9841" y="1308"/>
                  </a:lnTo>
                  <a:lnTo>
                    <a:pt x="9841" y="1244"/>
                  </a:lnTo>
                  <a:lnTo>
                    <a:pt x="9776" y="1244"/>
                  </a:lnTo>
                  <a:lnTo>
                    <a:pt x="9776" y="1308"/>
                  </a:lnTo>
                  <a:close/>
                  <a:moveTo>
                    <a:pt x="9776" y="1422"/>
                  </a:moveTo>
                  <a:lnTo>
                    <a:pt x="9841" y="1422"/>
                  </a:lnTo>
                  <a:lnTo>
                    <a:pt x="9841" y="1358"/>
                  </a:lnTo>
                  <a:lnTo>
                    <a:pt x="9776" y="1358"/>
                  </a:lnTo>
                  <a:lnTo>
                    <a:pt x="9776" y="1422"/>
                  </a:lnTo>
                  <a:close/>
                  <a:moveTo>
                    <a:pt x="9776" y="1536"/>
                  </a:moveTo>
                  <a:lnTo>
                    <a:pt x="9841" y="1536"/>
                  </a:lnTo>
                  <a:lnTo>
                    <a:pt x="9841" y="1471"/>
                  </a:lnTo>
                  <a:lnTo>
                    <a:pt x="9776" y="1471"/>
                  </a:lnTo>
                  <a:lnTo>
                    <a:pt x="9776" y="1536"/>
                  </a:lnTo>
                  <a:close/>
                  <a:moveTo>
                    <a:pt x="9776" y="1649"/>
                  </a:moveTo>
                  <a:lnTo>
                    <a:pt x="9841" y="1649"/>
                  </a:lnTo>
                  <a:lnTo>
                    <a:pt x="9841" y="1585"/>
                  </a:lnTo>
                  <a:lnTo>
                    <a:pt x="9776" y="1585"/>
                  </a:lnTo>
                  <a:lnTo>
                    <a:pt x="9776" y="1649"/>
                  </a:lnTo>
                  <a:close/>
                  <a:moveTo>
                    <a:pt x="9776" y="1766"/>
                  </a:moveTo>
                  <a:lnTo>
                    <a:pt x="9841" y="1766"/>
                  </a:lnTo>
                  <a:lnTo>
                    <a:pt x="9841" y="1702"/>
                  </a:lnTo>
                  <a:lnTo>
                    <a:pt x="9776" y="1702"/>
                  </a:lnTo>
                  <a:lnTo>
                    <a:pt x="9776" y="1766"/>
                  </a:lnTo>
                  <a:close/>
                  <a:moveTo>
                    <a:pt x="9776" y="1880"/>
                  </a:moveTo>
                  <a:lnTo>
                    <a:pt x="9841" y="1880"/>
                  </a:lnTo>
                  <a:lnTo>
                    <a:pt x="9841" y="1816"/>
                  </a:lnTo>
                  <a:lnTo>
                    <a:pt x="9776" y="1816"/>
                  </a:lnTo>
                  <a:lnTo>
                    <a:pt x="9776" y="1880"/>
                  </a:lnTo>
                  <a:close/>
                  <a:moveTo>
                    <a:pt x="9776" y="1994"/>
                  </a:moveTo>
                  <a:lnTo>
                    <a:pt x="9841" y="1994"/>
                  </a:lnTo>
                  <a:lnTo>
                    <a:pt x="9841" y="1929"/>
                  </a:lnTo>
                  <a:lnTo>
                    <a:pt x="9776" y="1929"/>
                  </a:lnTo>
                  <a:lnTo>
                    <a:pt x="9776" y="1994"/>
                  </a:lnTo>
                  <a:close/>
                  <a:moveTo>
                    <a:pt x="9776" y="2105"/>
                  </a:moveTo>
                  <a:lnTo>
                    <a:pt x="9841" y="2105"/>
                  </a:lnTo>
                  <a:lnTo>
                    <a:pt x="9841" y="2040"/>
                  </a:lnTo>
                  <a:lnTo>
                    <a:pt x="9776" y="2040"/>
                  </a:lnTo>
                  <a:lnTo>
                    <a:pt x="9776" y="2105"/>
                  </a:lnTo>
                  <a:close/>
                  <a:moveTo>
                    <a:pt x="9776" y="2218"/>
                  </a:moveTo>
                  <a:lnTo>
                    <a:pt x="9841" y="2218"/>
                  </a:lnTo>
                  <a:lnTo>
                    <a:pt x="9841" y="2153"/>
                  </a:lnTo>
                  <a:lnTo>
                    <a:pt x="9776" y="2153"/>
                  </a:lnTo>
                  <a:lnTo>
                    <a:pt x="9776" y="2218"/>
                  </a:lnTo>
                  <a:close/>
                  <a:moveTo>
                    <a:pt x="9776" y="2332"/>
                  </a:moveTo>
                  <a:lnTo>
                    <a:pt x="9841" y="2332"/>
                  </a:lnTo>
                  <a:lnTo>
                    <a:pt x="9841" y="2268"/>
                  </a:lnTo>
                  <a:lnTo>
                    <a:pt x="9776" y="2268"/>
                  </a:lnTo>
                  <a:lnTo>
                    <a:pt x="9776" y="2332"/>
                  </a:lnTo>
                  <a:close/>
                  <a:moveTo>
                    <a:pt x="9776" y="2445"/>
                  </a:moveTo>
                  <a:lnTo>
                    <a:pt x="9841" y="2445"/>
                  </a:lnTo>
                  <a:lnTo>
                    <a:pt x="9841" y="2381"/>
                  </a:lnTo>
                  <a:lnTo>
                    <a:pt x="9776" y="2381"/>
                  </a:lnTo>
                  <a:lnTo>
                    <a:pt x="9776" y="2445"/>
                  </a:lnTo>
                  <a:close/>
                  <a:moveTo>
                    <a:pt x="9776" y="2557"/>
                  </a:moveTo>
                  <a:lnTo>
                    <a:pt x="9841" y="2557"/>
                  </a:lnTo>
                  <a:lnTo>
                    <a:pt x="9841" y="2493"/>
                  </a:lnTo>
                  <a:lnTo>
                    <a:pt x="9776" y="2493"/>
                  </a:lnTo>
                  <a:lnTo>
                    <a:pt x="9776" y="2557"/>
                  </a:lnTo>
                  <a:close/>
                  <a:moveTo>
                    <a:pt x="9776" y="2670"/>
                  </a:moveTo>
                  <a:lnTo>
                    <a:pt x="9841" y="2670"/>
                  </a:lnTo>
                  <a:lnTo>
                    <a:pt x="9841" y="2606"/>
                  </a:lnTo>
                  <a:lnTo>
                    <a:pt x="9776" y="2606"/>
                  </a:lnTo>
                  <a:lnTo>
                    <a:pt x="9776" y="2670"/>
                  </a:lnTo>
                  <a:close/>
                  <a:moveTo>
                    <a:pt x="9776" y="2785"/>
                  </a:moveTo>
                  <a:lnTo>
                    <a:pt x="9841" y="2785"/>
                  </a:lnTo>
                  <a:lnTo>
                    <a:pt x="9841" y="2720"/>
                  </a:lnTo>
                  <a:lnTo>
                    <a:pt x="9776" y="2720"/>
                  </a:lnTo>
                  <a:lnTo>
                    <a:pt x="9776" y="2785"/>
                  </a:lnTo>
                  <a:close/>
                  <a:moveTo>
                    <a:pt x="9776" y="2898"/>
                  </a:moveTo>
                  <a:lnTo>
                    <a:pt x="9841" y="2898"/>
                  </a:lnTo>
                  <a:lnTo>
                    <a:pt x="9841" y="2834"/>
                  </a:lnTo>
                  <a:lnTo>
                    <a:pt x="9776" y="2834"/>
                  </a:lnTo>
                  <a:lnTo>
                    <a:pt x="9776" y="2898"/>
                  </a:lnTo>
                  <a:close/>
                  <a:moveTo>
                    <a:pt x="9776" y="3009"/>
                  </a:moveTo>
                  <a:lnTo>
                    <a:pt x="9841" y="3009"/>
                  </a:lnTo>
                  <a:lnTo>
                    <a:pt x="9841" y="2945"/>
                  </a:lnTo>
                  <a:lnTo>
                    <a:pt x="9776" y="2945"/>
                  </a:lnTo>
                  <a:lnTo>
                    <a:pt x="9776" y="3009"/>
                  </a:lnTo>
                  <a:close/>
                  <a:moveTo>
                    <a:pt x="9776" y="3122"/>
                  </a:moveTo>
                  <a:lnTo>
                    <a:pt x="9841" y="3122"/>
                  </a:lnTo>
                  <a:lnTo>
                    <a:pt x="9841" y="3058"/>
                  </a:lnTo>
                  <a:lnTo>
                    <a:pt x="9776" y="3058"/>
                  </a:lnTo>
                  <a:lnTo>
                    <a:pt x="9776" y="3122"/>
                  </a:lnTo>
                  <a:close/>
                  <a:moveTo>
                    <a:pt x="9776" y="3237"/>
                  </a:moveTo>
                  <a:lnTo>
                    <a:pt x="9841" y="3237"/>
                  </a:lnTo>
                  <a:lnTo>
                    <a:pt x="9841" y="3172"/>
                  </a:lnTo>
                  <a:lnTo>
                    <a:pt x="9776" y="3172"/>
                  </a:lnTo>
                  <a:lnTo>
                    <a:pt x="9776" y="3237"/>
                  </a:lnTo>
                  <a:close/>
                  <a:moveTo>
                    <a:pt x="9776" y="3350"/>
                  </a:moveTo>
                  <a:lnTo>
                    <a:pt x="9841" y="3350"/>
                  </a:lnTo>
                  <a:lnTo>
                    <a:pt x="9841" y="3285"/>
                  </a:lnTo>
                  <a:lnTo>
                    <a:pt x="9776" y="3285"/>
                  </a:lnTo>
                  <a:lnTo>
                    <a:pt x="9776" y="3350"/>
                  </a:lnTo>
                  <a:close/>
                  <a:moveTo>
                    <a:pt x="9776" y="3463"/>
                  </a:moveTo>
                  <a:lnTo>
                    <a:pt x="9841" y="3463"/>
                  </a:lnTo>
                  <a:lnTo>
                    <a:pt x="9841" y="3398"/>
                  </a:lnTo>
                  <a:lnTo>
                    <a:pt x="9776" y="3398"/>
                  </a:lnTo>
                  <a:lnTo>
                    <a:pt x="9776" y="3463"/>
                  </a:lnTo>
                  <a:close/>
                  <a:moveTo>
                    <a:pt x="9776" y="3576"/>
                  </a:moveTo>
                  <a:lnTo>
                    <a:pt x="9841" y="3576"/>
                  </a:lnTo>
                  <a:lnTo>
                    <a:pt x="9841" y="3512"/>
                  </a:lnTo>
                  <a:lnTo>
                    <a:pt x="9776" y="3512"/>
                  </a:lnTo>
                  <a:lnTo>
                    <a:pt x="9776" y="3576"/>
                  </a:lnTo>
                  <a:close/>
                  <a:moveTo>
                    <a:pt x="9776" y="3690"/>
                  </a:moveTo>
                  <a:lnTo>
                    <a:pt x="9841" y="3690"/>
                  </a:lnTo>
                  <a:lnTo>
                    <a:pt x="9841" y="3626"/>
                  </a:lnTo>
                  <a:lnTo>
                    <a:pt x="9776" y="3626"/>
                  </a:lnTo>
                  <a:lnTo>
                    <a:pt x="9776" y="3690"/>
                  </a:lnTo>
                  <a:close/>
                  <a:moveTo>
                    <a:pt x="9776" y="3803"/>
                  </a:moveTo>
                  <a:lnTo>
                    <a:pt x="9841" y="3803"/>
                  </a:lnTo>
                  <a:lnTo>
                    <a:pt x="9841" y="3739"/>
                  </a:lnTo>
                  <a:lnTo>
                    <a:pt x="9776" y="3739"/>
                  </a:lnTo>
                  <a:lnTo>
                    <a:pt x="9776" y="3803"/>
                  </a:lnTo>
                  <a:close/>
                  <a:moveTo>
                    <a:pt x="9776" y="3914"/>
                  </a:moveTo>
                  <a:lnTo>
                    <a:pt x="9841" y="3914"/>
                  </a:lnTo>
                  <a:lnTo>
                    <a:pt x="9841" y="3850"/>
                  </a:lnTo>
                  <a:lnTo>
                    <a:pt x="9776" y="3850"/>
                  </a:lnTo>
                  <a:lnTo>
                    <a:pt x="9776" y="3914"/>
                  </a:lnTo>
                  <a:close/>
                  <a:moveTo>
                    <a:pt x="9776" y="4028"/>
                  </a:moveTo>
                  <a:lnTo>
                    <a:pt x="9841" y="4028"/>
                  </a:lnTo>
                  <a:lnTo>
                    <a:pt x="9841" y="3963"/>
                  </a:lnTo>
                  <a:lnTo>
                    <a:pt x="9776" y="3963"/>
                  </a:lnTo>
                  <a:lnTo>
                    <a:pt x="9776" y="4028"/>
                  </a:lnTo>
                  <a:close/>
                  <a:moveTo>
                    <a:pt x="9776" y="4142"/>
                  </a:moveTo>
                  <a:lnTo>
                    <a:pt x="9841" y="4142"/>
                  </a:lnTo>
                  <a:lnTo>
                    <a:pt x="9841" y="4077"/>
                  </a:lnTo>
                  <a:lnTo>
                    <a:pt x="9776" y="4077"/>
                  </a:lnTo>
                  <a:lnTo>
                    <a:pt x="9776" y="4142"/>
                  </a:lnTo>
                  <a:close/>
                  <a:moveTo>
                    <a:pt x="9776" y="4255"/>
                  </a:moveTo>
                  <a:lnTo>
                    <a:pt x="9841" y="4255"/>
                  </a:lnTo>
                  <a:lnTo>
                    <a:pt x="9841" y="4191"/>
                  </a:lnTo>
                  <a:lnTo>
                    <a:pt x="9776" y="4191"/>
                  </a:lnTo>
                  <a:lnTo>
                    <a:pt x="9776" y="4255"/>
                  </a:lnTo>
                  <a:close/>
                  <a:moveTo>
                    <a:pt x="9776" y="4367"/>
                  </a:moveTo>
                  <a:lnTo>
                    <a:pt x="9841" y="4367"/>
                  </a:lnTo>
                  <a:lnTo>
                    <a:pt x="9841" y="4302"/>
                  </a:lnTo>
                  <a:lnTo>
                    <a:pt x="9776" y="4302"/>
                  </a:lnTo>
                  <a:lnTo>
                    <a:pt x="9776" y="4367"/>
                  </a:lnTo>
                  <a:close/>
                  <a:moveTo>
                    <a:pt x="9776" y="4932"/>
                  </a:moveTo>
                  <a:lnTo>
                    <a:pt x="9841" y="4932"/>
                  </a:lnTo>
                  <a:lnTo>
                    <a:pt x="9841" y="4868"/>
                  </a:lnTo>
                  <a:lnTo>
                    <a:pt x="9776" y="4868"/>
                  </a:lnTo>
                  <a:lnTo>
                    <a:pt x="9776" y="4932"/>
                  </a:lnTo>
                  <a:close/>
                  <a:moveTo>
                    <a:pt x="9776" y="5046"/>
                  </a:moveTo>
                  <a:lnTo>
                    <a:pt x="9841" y="5046"/>
                  </a:lnTo>
                  <a:lnTo>
                    <a:pt x="9841" y="4982"/>
                  </a:lnTo>
                  <a:lnTo>
                    <a:pt x="9776" y="4982"/>
                  </a:lnTo>
                  <a:lnTo>
                    <a:pt x="9776" y="5046"/>
                  </a:lnTo>
                  <a:close/>
                  <a:moveTo>
                    <a:pt x="9776" y="5159"/>
                  </a:moveTo>
                  <a:lnTo>
                    <a:pt x="9841" y="5159"/>
                  </a:lnTo>
                  <a:lnTo>
                    <a:pt x="9841" y="5095"/>
                  </a:lnTo>
                  <a:lnTo>
                    <a:pt x="9776" y="5095"/>
                  </a:lnTo>
                  <a:lnTo>
                    <a:pt x="9776" y="5159"/>
                  </a:lnTo>
                  <a:close/>
                  <a:moveTo>
                    <a:pt x="9776" y="5383"/>
                  </a:moveTo>
                  <a:lnTo>
                    <a:pt x="9841" y="5383"/>
                  </a:lnTo>
                  <a:lnTo>
                    <a:pt x="9841" y="5319"/>
                  </a:lnTo>
                  <a:lnTo>
                    <a:pt x="9776" y="5319"/>
                  </a:lnTo>
                  <a:lnTo>
                    <a:pt x="9776" y="5383"/>
                  </a:lnTo>
                  <a:close/>
                  <a:moveTo>
                    <a:pt x="9888" y="1198"/>
                  </a:moveTo>
                  <a:lnTo>
                    <a:pt x="9953" y="1198"/>
                  </a:lnTo>
                  <a:lnTo>
                    <a:pt x="9953" y="1133"/>
                  </a:lnTo>
                  <a:lnTo>
                    <a:pt x="9888" y="1133"/>
                  </a:lnTo>
                  <a:lnTo>
                    <a:pt x="9888" y="1198"/>
                  </a:lnTo>
                  <a:close/>
                  <a:moveTo>
                    <a:pt x="9888" y="1422"/>
                  </a:moveTo>
                  <a:lnTo>
                    <a:pt x="9953" y="1422"/>
                  </a:lnTo>
                  <a:lnTo>
                    <a:pt x="9953" y="1358"/>
                  </a:lnTo>
                  <a:lnTo>
                    <a:pt x="9888" y="1358"/>
                  </a:lnTo>
                  <a:lnTo>
                    <a:pt x="9888" y="1422"/>
                  </a:lnTo>
                  <a:close/>
                  <a:moveTo>
                    <a:pt x="9888" y="1536"/>
                  </a:moveTo>
                  <a:lnTo>
                    <a:pt x="9953" y="1536"/>
                  </a:lnTo>
                  <a:lnTo>
                    <a:pt x="9953" y="1471"/>
                  </a:lnTo>
                  <a:lnTo>
                    <a:pt x="9888" y="1471"/>
                  </a:lnTo>
                  <a:lnTo>
                    <a:pt x="9888" y="1536"/>
                  </a:lnTo>
                  <a:close/>
                  <a:moveTo>
                    <a:pt x="9888" y="1649"/>
                  </a:moveTo>
                  <a:lnTo>
                    <a:pt x="9953" y="1649"/>
                  </a:lnTo>
                  <a:lnTo>
                    <a:pt x="9953" y="1585"/>
                  </a:lnTo>
                  <a:lnTo>
                    <a:pt x="9888" y="1585"/>
                  </a:lnTo>
                  <a:lnTo>
                    <a:pt x="9888" y="1649"/>
                  </a:lnTo>
                  <a:close/>
                  <a:moveTo>
                    <a:pt x="9888" y="1766"/>
                  </a:moveTo>
                  <a:lnTo>
                    <a:pt x="9953" y="1766"/>
                  </a:lnTo>
                  <a:lnTo>
                    <a:pt x="9953" y="1702"/>
                  </a:lnTo>
                  <a:lnTo>
                    <a:pt x="9888" y="1702"/>
                  </a:lnTo>
                  <a:lnTo>
                    <a:pt x="9888" y="1766"/>
                  </a:lnTo>
                  <a:close/>
                  <a:moveTo>
                    <a:pt x="9888" y="1880"/>
                  </a:moveTo>
                  <a:lnTo>
                    <a:pt x="9953" y="1880"/>
                  </a:lnTo>
                  <a:lnTo>
                    <a:pt x="9953" y="1816"/>
                  </a:lnTo>
                  <a:lnTo>
                    <a:pt x="9888" y="1816"/>
                  </a:lnTo>
                  <a:lnTo>
                    <a:pt x="9888" y="1880"/>
                  </a:lnTo>
                  <a:close/>
                  <a:moveTo>
                    <a:pt x="9888" y="1994"/>
                  </a:moveTo>
                  <a:lnTo>
                    <a:pt x="9953" y="1994"/>
                  </a:lnTo>
                  <a:lnTo>
                    <a:pt x="9953" y="1929"/>
                  </a:lnTo>
                  <a:lnTo>
                    <a:pt x="9888" y="1929"/>
                  </a:lnTo>
                  <a:lnTo>
                    <a:pt x="9888" y="1994"/>
                  </a:lnTo>
                  <a:close/>
                  <a:moveTo>
                    <a:pt x="9888" y="2105"/>
                  </a:moveTo>
                  <a:lnTo>
                    <a:pt x="9953" y="2105"/>
                  </a:lnTo>
                  <a:lnTo>
                    <a:pt x="9953" y="2040"/>
                  </a:lnTo>
                  <a:lnTo>
                    <a:pt x="9888" y="2040"/>
                  </a:lnTo>
                  <a:lnTo>
                    <a:pt x="9888" y="2105"/>
                  </a:lnTo>
                  <a:close/>
                  <a:moveTo>
                    <a:pt x="9888" y="2218"/>
                  </a:moveTo>
                  <a:lnTo>
                    <a:pt x="9953" y="2218"/>
                  </a:lnTo>
                  <a:lnTo>
                    <a:pt x="9953" y="2153"/>
                  </a:lnTo>
                  <a:lnTo>
                    <a:pt x="9888" y="2153"/>
                  </a:lnTo>
                  <a:lnTo>
                    <a:pt x="9888" y="2218"/>
                  </a:lnTo>
                  <a:close/>
                  <a:moveTo>
                    <a:pt x="9888" y="2332"/>
                  </a:moveTo>
                  <a:lnTo>
                    <a:pt x="9953" y="2332"/>
                  </a:lnTo>
                  <a:lnTo>
                    <a:pt x="9953" y="2268"/>
                  </a:lnTo>
                  <a:lnTo>
                    <a:pt x="9888" y="2268"/>
                  </a:lnTo>
                  <a:lnTo>
                    <a:pt x="9888" y="2332"/>
                  </a:lnTo>
                  <a:close/>
                  <a:moveTo>
                    <a:pt x="9888" y="2445"/>
                  </a:moveTo>
                  <a:lnTo>
                    <a:pt x="9953" y="2445"/>
                  </a:lnTo>
                  <a:lnTo>
                    <a:pt x="9953" y="2381"/>
                  </a:lnTo>
                  <a:lnTo>
                    <a:pt x="9888" y="2381"/>
                  </a:lnTo>
                  <a:lnTo>
                    <a:pt x="9888" y="2445"/>
                  </a:lnTo>
                  <a:close/>
                  <a:moveTo>
                    <a:pt x="9888" y="2557"/>
                  </a:moveTo>
                  <a:lnTo>
                    <a:pt x="9953" y="2557"/>
                  </a:lnTo>
                  <a:lnTo>
                    <a:pt x="9953" y="2493"/>
                  </a:lnTo>
                  <a:lnTo>
                    <a:pt x="9888" y="2493"/>
                  </a:lnTo>
                  <a:lnTo>
                    <a:pt x="9888" y="2557"/>
                  </a:lnTo>
                  <a:close/>
                  <a:moveTo>
                    <a:pt x="9888" y="2670"/>
                  </a:moveTo>
                  <a:lnTo>
                    <a:pt x="9953" y="2670"/>
                  </a:lnTo>
                  <a:lnTo>
                    <a:pt x="9953" y="2606"/>
                  </a:lnTo>
                  <a:lnTo>
                    <a:pt x="9888" y="2606"/>
                  </a:lnTo>
                  <a:lnTo>
                    <a:pt x="9888" y="2670"/>
                  </a:lnTo>
                  <a:close/>
                  <a:moveTo>
                    <a:pt x="9888" y="2785"/>
                  </a:moveTo>
                  <a:lnTo>
                    <a:pt x="9953" y="2785"/>
                  </a:lnTo>
                  <a:lnTo>
                    <a:pt x="9953" y="2720"/>
                  </a:lnTo>
                  <a:lnTo>
                    <a:pt x="9888" y="2720"/>
                  </a:lnTo>
                  <a:lnTo>
                    <a:pt x="9888" y="2785"/>
                  </a:lnTo>
                  <a:close/>
                  <a:moveTo>
                    <a:pt x="9888" y="2898"/>
                  </a:moveTo>
                  <a:lnTo>
                    <a:pt x="9953" y="2898"/>
                  </a:lnTo>
                  <a:lnTo>
                    <a:pt x="9953" y="2834"/>
                  </a:lnTo>
                  <a:lnTo>
                    <a:pt x="9888" y="2834"/>
                  </a:lnTo>
                  <a:lnTo>
                    <a:pt x="9888" y="2898"/>
                  </a:lnTo>
                  <a:close/>
                  <a:moveTo>
                    <a:pt x="9888" y="3009"/>
                  </a:moveTo>
                  <a:lnTo>
                    <a:pt x="9953" y="3009"/>
                  </a:lnTo>
                  <a:lnTo>
                    <a:pt x="9953" y="2945"/>
                  </a:lnTo>
                  <a:lnTo>
                    <a:pt x="9888" y="2945"/>
                  </a:lnTo>
                  <a:lnTo>
                    <a:pt x="9888" y="3009"/>
                  </a:lnTo>
                  <a:close/>
                  <a:moveTo>
                    <a:pt x="9888" y="3122"/>
                  </a:moveTo>
                  <a:lnTo>
                    <a:pt x="9953" y="3122"/>
                  </a:lnTo>
                  <a:lnTo>
                    <a:pt x="9953" y="3058"/>
                  </a:lnTo>
                  <a:lnTo>
                    <a:pt x="9888" y="3058"/>
                  </a:lnTo>
                  <a:lnTo>
                    <a:pt x="9888" y="3122"/>
                  </a:lnTo>
                  <a:close/>
                  <a:moveTo>
                    <a:pt x="9888" y="3237"/>
                  </a:moveTo>
                  <a:lnTo>
                    <a:pt x="9953" y="3237"/>
                  </a:lnTo>
                  <a:lnTo>
                    <a:pt x="9953" y="3172"/>
                  </a:lnTo>
                  <a:lnTo>
                    <a:pt x="9888" y="3172"/>
                  </a:lnTo>
                  <a:lnTo>
                    <a:pt x="9888" y="3237"/>
                  </a:lnTo>
                  <a:close/>
                  <a:moveTo>
                    <a:pt x="9888" y="3350"/>
                  </a:moveTo>
                  <a:lnTo>
                    <a:pt x="9953" y="3350"/>
                  </a:lnTo>
                  <a:lnTo>
                    <a:pt x="9953" y="3285"/>
                  </a:lnTo>
                  <a:lnTo>
                    <a:pt x="9888" y="3285"/>
                  </a:lnTo>
                  <a:lnTo>
                    <a:pt x="9888" y="3350"/>
                  </a:lnTo>
                  <a:close/>
                  <a:moveTo>
                    <a:pt x="9888" y="3463"/>
                  </a:moveTo>
                  <a:lnTo>
                    <a:pt x="9953" y="3463"/>
                  </a:lnTo>
                  <a:lnTo>
                    <a:pt x="9953" y="3398"/>
                  </a:lnTo>
                  <a:lnTo>
                    <a:pt x="9888" y="3398"/>
                  </a:lnTo>
                  <a:lnTo>
                    <a:pt x="9888" y="3463"/>
                  </a:lnTo>
                  <a:close/>
                  <a:moveTo>
                    <a:pt x="9888" y="3576"/>
                  </a:moveTo>
                  <a:lnTo>
                    <a:pt x="9953" y="3576"/>
                  </a:lnTo>
                  <a:lnTo>
                    <a:pt x="9953" y="3512"/>
                  </a:lnTo>
                  <a:lnTo>
                    <a:pt x="9888" y="3512"/>
                  </a:lnTo>
                  <a:lnTo>
                    <a:pt x="9888" y="3576"/>
                  </a:lnTo>
                  <a:close/>
                  <a:moveTo>
                    <a:pt x="9888" y="3690"/>
                  </a:moveTo>
                  <a:lnTo>
                    <a:pt x="9953" y="3690"/>
                  </a:lnTo>
                  <a:lnTo>
                    <a:pt x="9953" y="3626"/>
                  </a:lnTo>
                  <a:lnTo>
                    <a:pt x="9888" y="3626"/>
                  </a:lnTo>
                  <a:lnTo>
                    <a:pt x="9888" y="3690"/>
                  </a:lnTo>
                  <a:close/>
                  <a:moveTo>
                    <a:pt x="9888" y="3803"/>
                  </a:moveTo>
                  <a:lnTo>
                    <a:pt x="9953" y="3803"/>
                  </a:lnTo>
                  <a:lnTo>
                    <a:pt x="9953" y="3739"/>
                  </a:lnTo>
                  <a:lnTo>
                    <a:pt x="9888" y="3739"/>
                  </a:lnTo>
                  <a:lnTo>
                    <a:pt x="9888" y="3803"/>
                  </a:lnTo>
                  <a:close/>
                  <a:moveTo>
                    <a:pt x="9888" y="3914"/>
                  </a:moveTo>
                  <a:lnTo>
                    <a:pt x="9953" y="3914"/>
                  </a:lnTo>
                  <a:lnTo>
                    <a:pt x="9953" y="3850"/>
                  </a:lnTo>
                  <a:lnTo>
                    <a:pt x="9888" y="3850"/>
                  </a:lnTo>
                  <a:lnTo>
                    <a:pt x="9888" y="3914"/>
                  </a:lnTo>
                  <a:close/>
                  <a:moveTo>
                    <a:pt x="9888" y="4028"/>
                  </a:moveTo>
                  <a:lnTo>
                    <a:pt x="9953" y="4028"/>
                  </a:lnTo>
                  <a:lnTo>
                    <a:pt x="9953" y="3963"/>
                  </a:lnTo>
                  <a:lnTo>
                    <a:pt x="9888" y="3963"/>
                  </a:lnTo>
                  <a:lnTo>
                    <a:pt x="9888" y="4028"/>
                  </a:lnTo>
                  <a:close/>
                  <a:moveTo>
                    <a:pt x="9888" y="4142"/>
                  </a:moveTo>
                  <a:lnTo>
                    <a:pt x="9953" y="4142"/>
                  </a:lnTo>
                  <a:lnTo>
                    <a:pt x="9953" y="4077"/>
                  </a:lnTo>
                  <a:lnTo>
                    <a:pt x="9888" y="4077"/>
                  </a:lnTo>
                  <a:lnTo>
                    <a:pt x="9888" y="4142"/>
                  </a:lnTo>
                  <a:close/>
                  <a:moveTo>
                    <a:pt x="9888" y="4255"/>
                  </a:moveTo>
                  <a:lnTo>
                    <a:pt x="9953" y="4255"/>
                  </a:lnTo>
                  <a:lnTo>
                    <a:pt x="9953" y="4191"/>
                  </a:lnTo>
                  <a:lnTo>
                    <a:pt x="9888" y="4191"/>
                  </a:lnTo>
                  <a:lnTo>
                    <a:pt x="9888" y="4255"/>
                  </a:lnTo>
                  <a:close/>
                  <a:moveTo>
                    <a:pt x="9888" y="4367"/>
                  </a:moveTo>
                  <a:lnTo>
                    <a:pt x="9953" y="4367"/>
                  </a:lnTo>
                  <a:lnTo>
                    <a:pt x="9953" y="4302"/>
                  </a:lnTo>
                  <a:lnTo>
                    <a:pt x="9888" y="4302"/>
                  </a:lnTo>
                  <a:lnTo>
                    <a:pt x="9888" y="4367"/>
                  </a:lnTo>
                  <a:close/>
                  <a:moveTo>
                    <a:pt x="9888" y="4932"/>
                  </a:moveTo>
                  <a:lnTo>
                    <a:pt x="9953" y="4932"/>
                  </a:lnTo>
                  <a:lnTo>
                    <a:pt x="9953" y="4868"/>
                  </a:lnTo>
                  <a:lnTo>
                    <a:pt x="9888" y="4868"/>
                  </a:lnTo>
                  <a:lnTo>
                    <a:pt x="9888" y="4932"/>
                  </a:lnTo>
                  <a:close/>
                  <a:moveTo>
                    <a:pt x="9888" y="5046"/>
                  </a:moveTo>
                  <a:lnTo>
                    <a:pt x="9953" y="5046"/>
                  </a:lnTo>
                  <a:lnTo>
                    <a:pt x="9953" y="4982"/>
                  </a:lnTo>
                  <a:lnTo>
                    <a:pt x="9888" y="4982"/>
                  </a:lnTo>
                  <a:lnTo>
                    <a:pt x="9888" y="5046"/>
                  </a:lnTo>
                  <a:close/>
                  <a:moveTo>
                    <a:pt x="9888" y="5159"/>
                  </a:moveTo>
                  <a:lnTo>
                    <a:pt x="9953" y="5159"/>
                  </a:lnTo>
                  <a:lnTo>
                    <a:pt x="9953" y="5095"/>
                  </a:lnTo>
                  <a:lnTo>
                    <a:pt x="9888" y="5095"/>
                  </a:lnTo>
                  <a:lnTo>
                    <a:pt x="9888" y="5159"/>
                  </a:lnTo>
                  <a:close/>
                  <a:moveTo>
                    <a:pt x="9888" y="5383"/>
                  </a:moveTo>
                  <a:lnTo>
                    <a:pt x="9953" y="5383"/>
                  </a:lnTo>
                  <a:lnTo>
                    <a:pt x="9953" y="5319"/>
                  </a:lnTo>
                  <a:lnTo>
                    <a:pt x="9888" y="5319"/>
                  </a:lnTo>
                  <a:lnTo>
                    <a:pt x="9888" y="5383"/>
                  </a:lnTo>
                  <a:close/>
                  <a:moveTo>
                    <a:pt x="9888" y="5949"/>
                  </a:moveTo>
                  <a:lnTo>
                    <a:pt x="9953" y="5949"/>
                  </a:lnTo>
                  <a:lnTo>
                    <a:pt x="9953" y="5884"/>
                  </a:lnTo>
                  <a:lnTo>
                    <a:pt x="9888" y="5884"/>
                  </a:lnTo>
                  <a:lnTo>
                    <a:pt x="9888" y="5949"/>
                  </a:lnTo>
                  <a:close/>
                  <a:moveTo>
                    <a:pt x="9888" y="6062"/>
                  </a:moveTo>
                  <a:lnTo>
                    <a:pt x="9953" y="6062"/>
                  </a:lnTo>
                  <a:lnTo>
                    <a:pt x="9953" y="5997"/>
                  </a:lnTo>
                  <a:lnTo>
                    <a:pt x="9888" y="5997"/>
                  </a:lnTo>
                  <a:lnTo>
                    <a:pt x="9888" y="6062"/>
                  </a:lnTo>
                  <a:close/>
                  <a:moveTo>
                    <a:pt x="10002" y="1536"/>
                  </a:moveTo>
                  <a:lnTo>
                    <a:pt x="10067" y="1536"/>
                  </a:lnTo>
                  <a:lnTo>
                    <a:pt x="10067" y="1471"/>
                  </a:lnTo>
                  <a:lnTo>
                    <a:pt x="10002" y="1471"/>
                  </a:lnTo>
                  <a:lnTo>
                    <a:pt x="10002" y="1536"/>
                  </a:lnTo>
                  <a:close/>
                  <a:moveTo>
                    <a:pt x="10002" y="1649"/>
                  </a:moveTo>
                  <a:lnTo>
                    <a:pt x="10067" y="1649"/>
                  </a:lnTo>
                  <a:lnTo>
                    <a:pt x="10067" y="1585"/>
                  </a:lnTo>
                  <a:lnTo>
                    <a:pt x="10002" y="1585"/>
                  </a:lnTo>
                  <a:lnTo>
                    <a:pt x="10002" y="1649"/>
                  </a:lnTo>
                  <a:close/>
                  <a:moveTo>
                    <a:pt x="10002" y="1766"/>
                  </a:moveTo>
                  <a:lnTo>
                    <a:pt x="10067" y="1766"/>
                  </a:lnTo>
                  <a:lnTo>
                    <a:pt x="10067" y="1702"/>
                  </a:lnTo>
                  <a:lnTo>
                    <a:pt x="10002" y="1702"/>
                  </a:lnTo>
                  <a:lnTo>
                    <a:pt x="10002" y="1766"/>
                  </a:lnTo>
                  <a:close/>
                  <a:moveTo>
                    <a:pt x="10002" y="1880"/>
                  </a:moveTo>
                  <a:lnTo>
                    <a:pt x="10067" y="1880"/>
                  </a:lnTo>
                  <a:lnTo>
                    <a:pt x="10067" y="1816"/>
                  </a:lnTo>
                  <a:lnTo>
                    <a:pt x="10002" y="1816"/>
                  </a:lnTo>
                  <a:lnTo>
                    <a:pt x="10002" y="1880"/>
                  </a:lnTo>
                  <a:close/>
                  <a:moveTo>
                    <a:pt x="10002" y="1994"/>
                  </a:moveTo>
                  <a:lnTo>
                    <a:pt x="10067" y="1994"/>
                  </a:lnTo>
                  <a:lnTo>
                    <a:pt x="10067" y="1929"/>
                  </a:lnTo>
                  <a:lnTo>
                    <a:pt x="10002" y="1929"/>
                  </a:lnTo>
                  <a:lnTo>
                    <a:pt x="10002" y="1994"/>
                  </a:lnTo>
                  <a:close/>
                  <a:moveTo>
                    <a:pt x="10002" y="2105"/>
                  </a:moveTo>
                  <a:lnTo>
                    <a:pt x="10067" y="2105"/>
                  </a:lnTo>
                  <a:lnTo>
                    <a:pt x="10067" y="2040"/>
                  </a:lnTo>
                  <a:lnTo>
                    <a:pt x="10002" y="2040"/>
                  </a:lnTo>
                  <a:lnTo>
                    <a:pt x="10002" y="2105"/>
                  </a:lnTo>
                  <a:close/>
                  <a:moveTo>
                    <a:pt x="10002" y="2218"/>
                  </a:moveTo>
                  <a:lnTo>
                    <a:pt x="10067" y="2218"/>
                  </a:lnTo>
                  <a:lnTo>
                    <a:pt x="10067" y="2153"/>
                  </a:lnTo>
                  <a:lnTo>
                    <a:pt x="10002" y="2153"/>
                  </a:lnTo>
                  <a:lnTo>
                    <a:pt x="10002" y="2218"/>
                  </a:lnTo>
                  <a:close/>
                  <a:moveTo>
                    <a:pt x="10002" y="2332"/>
                  </a:moveTo>
                  <a:lnTo>
                    <a:pt x="10067" y="2332"/>
                  </a:lnTo>
                  <a:lnTo>
                    <a:pt x="10067" y="2268"/>
                  </a:lnTo>
                  <a:lnTo>
                    <a:pt x="10002" y="2268"/>
                  </a:lnTo>
                  <a:lnTo>
                    <a:pt x="10002" y="2332"/>
                  </a:lnTo>
                  <a:close/>
                  <a:moveTo>
                    <a:pt x="10002" y="2445"/>
                  </a:moveTo>
                  <a:lnTo>
                    <a:pt x="10067" y="2445"/>
                  </a:lnTo>
                  <a:lnTo>
                    <a:pt x="10067" y="2381"/>
                  </a:lnTo>
                  <a:lnTo>
                    <a:pt x="10002" y="2381"/>
                  </a:lnTo>
                  <a:lnTo>
                    <a:pt x="10002" y="2445"/>
                  </a:lnTo>
                  <a:close/>
                  <a:moveTo>
                    <a:pt x="10002" y="2557"/>
                  </a:moveTo>
                  <a:lnTo>
                    <a:pt x="10067" y="2557"/>
                  </a:lnTo>
                  <a:lnTo>
                    <a:pt x="10067" y="2493"/>
                  </a:lnTo>
                  <a:lnTo>
                    <a:pt x="10002" y="2493"/>
                  </a:lnTo>
                  <a:lnTo>
                    <a:pt x="10002" y="2557"/>
                  </a:lnTo>
                  <a:close/>
                  <a:moveTo>
                    <a:pt x="10002" y="2670"/>
                  </a:moveTo>
                  <a:lnTo>
                    <a:pt x="10067" y="2670"/>
                  </a:lnTo>
                  <a:lnTo>
                    <a:pt x="10067" y="2606"/>
                  </a:lnTo>
                  <a:lnTo>
                    <a:pt x="10002" y="2606"/>
                  </a:lnTo>
                  <a:lnTo>
                    <a:pt x="10002" y="2670"/>
                  </a:lnTo>
                  <a:close/>
                  <a:moveTo>
                    <a:pt x="10002" y="2785"/>
                  </a:moveTo>
                  <a:lnTo>
                    <a:pt x="10067" y="2785"/>
                  </a:lnTo>
                  <a:lnTo>
                    <a:pt x="10067" y="2720"/>
                  </a:lnTo>
                  <a:lnTo>
                    <a:pt x="10002" y="2720"/>
                  </a:lnTo>
                  <a:lnTo>
                    <a:pt x="10002" y="2785"/>
                  </a:lnTo>
                  <a:close/>
                  <a:moveTo>
                    <a:pt x="10002" y="2898"/>
                  </a:moveTo>
                  <a:lnTo>
                    <a:pt x="10067" y="2898"/>
                  </a:lnTo>
                  <a:lnTo>
                    <a:pt x="10067" y="2834"/>
                  </a:lnTo>
                  <a:lnTo>
                    <a:pt x="10002" y="2834"/>
                  </a:lnTo>
                  <a:lnTo>
                    <a:pt x="10002" y="2898"/>
                  </a:lnTo>
                  <a:close/>
                  <a:moveTo>
                    <a:pt x="10002" y="3009"/>
                  </a:moveTo>
                  <a:lnTo>
                    <a:pt x="10067" y="3009"/>
                  </a:lnTo>
                  <a:lnTo>
                    <a:pt x="10067" y="2945"/>
                  </a:lnTo>
                  <a:lnTo>
                    <a:pt x="10002" y="2945"/>
                  </a:lnTo>
                  <a:lnTo>
                    <a:pt x="10002" y="3009"/>
                  </a:lnTo>
                  <a:close/>
                  <a:moveTo>
                    <a:pt x="10002" y="3122"/>
                  </a:moveTo>
                  <a:lnTo>
                    <a:pt x="10067" y="3122"/>
                  </a:lnTo>
                  <a:lnTo>
                    <a:pt x="10067" y="3058"/>
                  </a:lnTo>
                  <a:lnTo>
                    <a:pt x="10002" y="3058"/>
                  </a:lnTo>
                  <a:lnTo>
                    <a:pt x="10002" y="3122"/>
                  </a:lnTo>
                  <a:close/>
                  <a:moveTo>
                    <a:pt x="10002" y="3237"/>
                  </a:moveTo>
                  <a:lnTo>
                    <a:pt x="10067" y="3237"/>
                  </a:lnTo>
                  <a:lnTo>
                    <a:pt x="10067" y="3172"/>
                  </a:lnTo>
                  <a:lnTo>
                    <a:pt x="10002" y="3172"/>
                  </a:lnTo>
                  <a:lnTo>
                    <a:pt x="10002" y="3237"/>
                  </a:lnTo>
                  <a:close/>
                  <a:moveTo>
                    <a:pt x="10002" y="3350"/>
                  </a:moveTo>
                  <a:lnTo>
                    <a:pt x="10067" y="3350"/>
                  </a:lnTo>
                  <a:lnTo>
                    <a:pt x="10067" y="3285"/>
                  </a:lnTo>
                  <a:lnTo>
                    <a:pt x="10002" y="3285"/>
                  </a:lnTo>
                  <a:lnTo>
                    <a:pt x="10002" y="3350"/>
                  </a:lnTo>
                  <a:close/>
                  <a:moveTo>
                    <a:pt x="10002" y="3463"/>
                  </a:moveTo>
                  <a:lnTo>
                    <a:pt x="10067" y="3463"/>
                  </a:lnTo>
                  <a:lnTo>
                    <a:pt x="10067" y="3398"/>
                  </a:lnTo>
                  <a:lnTo>
                    <a:pt x="10002" y="3398"/>
                  </a:lnTo>
                  <a:lnTo>
                    <a:pt x="10002" y="3463"/>
                  </a:lnTo>
                  <a:close/>
                  <a:moveTo>
                    <a:pt x="10002" y="3576"/>
                  </a:moveTo>
                  <a:lnTo>
                    <a:pt x="10067" y="3576"/>
                  </a:lnTo>
                  <a:lnTo>
                    <a:pt x="10067" y="3512"/>
                  </a:lnTo>
                  <a:lnTo>
                    <a:pt x="10002" y="3512"/>
                  </a:lnTo>
                  <a:lnTo>
                    <a:pt x="10002" y="3576"/>
                  </a:lnTo>
                  <a:close/>
                  <a:moveTo>
                    <a:pt x="10002" y="3690"/>
                  </a:moveTo>
                  <a:lnTo>
                    <a:pt x="10067" y="3690"/>
                  </a:lnTo>
                  <a:lnTo>
                    <a:pt x="10067" y="3626"/>
                  </a:lnTo>
                  <a:lnTo>
                    <a:pt x="10002" y="3626"/>
                  </a:lnTo>
                  <a:lnTo>
                    <a:pt x="10002" y="3690"/>
                  </a:lnTo>
                  <a:close/>
                  <a:moveTo>
                    <a:pt x="10002" y="3803"/>
                  </a:moveTo>
                  <a:lnTo>
                    <a:pt x="10067" y="3803"/>
                  </a:lnTo>
                  <a:lnTo>
                    <a:pt x="10067" y="3739"/>
                  </a:lnTo>
                  <a:lnTo>
                    <a:pt x="10002" y="3739"/>
                  </a:lnTo>
                  <a:lnTo>
                    <a:pt x="10002" y="3803"/>
                  </a:lnTo>
                  <a:close/>
                  <a:moveTo>
                    <a:pt x="10002" y="3914"/>
                  </a:moveTo>
                  <a:lnTo>
                    <a:pt x="10067" y="3914"/>
                  </a:lnTo>
                  <a:lnTo>
                    <a:pt x="10067" y="3850"/>
                  </a:lnTo>
                  <a:lnTo>
                    <a:pt x="10002" y="3850"/>
                  </a:lnTo>
                  <a:lnTo>
                    <a:pt x="10002" y="3914"/>
                  </a:lnTo>
                  <a:close/>
                  <a:moveTo>
                    <a:pt x="10002" y="4028"/>
                  </a:moveTo>
                  <a:lnTo>
                    <a:pt x="10067" y="4028"/>
                  </a:lnTo>
                  <a:lnTo>
                    <a:pt x="10067" y="3963"/>
                  </a:lnTo>
                  <a:lnTo>
                    <a:pt x="10002" y="3963"/>
                  </a:lnTo>
                  <a:lnTo>
                    <a:pt x="10002" y="4028"/>
                  </a:lnTo>
                  <a:close/>
                  <a:moveTo>
                    <a:pt x="10002" y="4142"/>
                  </a:moveTo>
                  <a:lnTo>
                    <a:pt x="10067" y="4142"/>
                  </a:lnTo>
                  <a:lnTo>
                    <a:pt x="10067" y="4077"/>
                  </a:lnTo>
                  <a:lnTo>
                    <a:pt x="10002" y="4077"/>
                  </a:lnTo>
                  <a:lnTo>
                    <a:pt x="10002" y="4142"/>
                  </a:lnTo>
                  <a:close/>
                  <a:moveTo>
                    <a:pt x="10002" y="4255"/>
                  </a:moveTo>
                  <a:lnTo>
                    <a:pt x="10067" y="4255"/>
                  </a:lnTo>
                  <a:lnTo>
                    <a:pt x="10067" y="4191"/>
                  </a:lnTo>
                  <a:lnTo>
                    <a:pt x="10002" y="4191"/>
                  </a:lnTo>
                  <a:lnTo>
                    <a:pt x="10002" y="4255"/>
                  </a:lnTo>
                  <a:close/>
                  <a:moveTo>
                    <a:pt x="10002" y="4819"/>
                  </a:moveTo>
                  <a:lnTo>
                    <a:pt x="10067" y="4819"/>
                  </a:lnTo>
                  <a:lnTo>
                    <a:pt x="10067" y="4754"/>
                  </a:lnTo>
                  <a:lnTo>
                    <a:pt x="10002" y="4754"/>
                  </a:lnTo>
                  <a:lnTo>
                    <a:pt x="10002" y="4819"/>
                  </a:lnTo>
                  <a:close/>
                  <a:moveTo>
                    <a:pt x="10002" y="4932"/>
                  </a:moveTo>
                  <a:lnTo>
                    <a:pt x="10067" y="4932"/>
                  </a:lnTo>
                  <a:lnTo>
                    <a:pt x="10067" y="4868"/>
                  </a:lnTo>
                  <a:lnTo>
                    <a:pt x="10002" y="4868"/>
                  </a:lnTo>
                  <a:lnTo>
                    <a:pt x="10002" y="4932"/>
                  </a:lnTo>
                  <a:close/>
                  <a:moveTo>
                    <a:pt x="10002" y="5046"/>
                  </a:moveTo>
                  <a:lnTo>
                    <a:pt x="10067" y="5046"/>
                  </a:lnTo>
                  <a:lnTo>
                    <a:pt x="10067" y="4982"/>
                  </a:lnTo>
                  <a:lnTo>
                    <a:pt x="10002" y="4982"/>
                  </a:lnTo>
                  <a:lnTo>
                    <a:pt x="10002" y="5046"/>
                  </a:lnTo>
                  <a:close/>
                  <a:moveTo>
                    <a:pt x="10002" y="5383"/>
                  </a:moveTo>
                  <a:lnTo>
                    <a:pt x="10067" y="5383"/>
                  </a:lnTo>
                  <a:lnTo>
                    <a:pt x="10067" y="5319"/>
                  </a:lnTo>
                  <a:lnTo>
                    <a:pt x="10002" y="5319"/>
                  </a:lnTo>
                  <a:lnTo>
                    <a:pt x="10002" y="5383"/>
                  </a:lnTo>
                  <a:close/>
                  <a:moveTo>
                    <a:pt x="10002" y="5835"/>
                  </a:moveTo>
                  <a:lnTo>
                    <a:pt x="10067" y="5835"/>
                  </a:lnTo>
                  <a:lnTo>
                    <a:pt x="10067" y="5770"/>
                  </a:lnTo>
                  <a:lnTo>
                    <a:pt x="10002" y="5770"/>
                  </a:lnTo>
                  <a:lnTo>
                    <a:pt x="10002" y="5835"/>
                  </a:lnTo>
                  <a:close/>
                  <a:moveTo>
                    <a:pt x="10002" y="5949"/>
                  </a:moveTo>
                  <a:lnTo>
                    <a:pt x="10067" y="5949"/>
                  </a:lnTo>
                  <a:lnTo>
                    <a:pt x="10067" y="5884"/>
                  </a:lnTo>
                  <a:lnTo>
                    <a:pt x="10002" y="5884"/>
                  </a:lnTo>
                  <a:lnTo>
                    <a:pt x="10002" y="5949"/>
                  </a:lnTo>
                  <a:close/>
                  <a:moveTo>
                    <a:pt x="10002" y="6062"/>
                  </a:moveTo>
                  <a:lnTo>
                    <a:pt x="10067" y="6062"/>
                  </a:lnTo>
                  <a:lnTo>
                    <a:pt x="10067" y="5997"/>
                  </a:lnTo>
                  <a:lnTo>
                    <a:pt x="10002" y="5997"/>
                  </a:lnTo>
                  <a:lnTo>
                    <a:pt x="10002" y="6062"/>
                  </a:lnTo>
                  <a:close/>
                  <a:moveTo>
                    <a:pt x="10002" y="6174"/>
                  </a:moveTo>
                  <a:lnTo>
                    <a:pt x="10067" y="6174"/>
                  </a:lnTo>
                  <a:lnTo>
                    <a:pt x="10067" y="6109"/>
                  </a:lnTo>
                  <a:lnTo>
                    <a:pt x="10002" y="6109"/>
                  </a:lnTo>
                  <a:lnTo>
                    <a:pt x="10002" y="6174"/>
                  </a:lnTo>
                  <a:close/>
                  <a:moveTo>
                    <a:pt x="10002" y="6287"/>
                  </a:moveTo>
                  <a:lnTo>
                    <a:pt x="10067" y="6287"/>
                  </a:lnTo>
                  <a:lnTo>
                    <a:pt x="10067" y="6223"/>
                  </a:lnTo>
                  <a:lnTo>
                    <a:pt x="10002" y="6223"/>
                  </a:lnTo>
                  <a:lnTo>
                    <a:pt x="10002" y="6287"/>
                  </a:lnTo>
                  <a:close/>
                  <a:moveTo>
                    <a:pt x="10116" y="1536"/>
                  </a:moveTo>
                  <a:lnTo>
                    <a:pt x="10181" y="1536"/>
                  </a:lnTo>
                  <a:lnTo>
                    <a:pt x="10181" y="1471"/>
                  </a:lnTo>
                  <a:lnTo>
                    <a:pt x="10116" y="1471"/>
                  </a:lnTo>
                  <a:lnTo>
                    <a:pt x="10116" y="1536"/>
                  </a:lnTo>
                  <a:close/>
                  <a:moveTo>
                    <a:pt x="10116" y="1649"/>
                  </a:moveTo>
                  <a:lnTo>
                    <a:pt x="10181" y="1649"/>
                  </a:lnTo>
                  <a:lnTo>
                    <a:pt x="10181" y="1585"/>
                  </a:lnTo>
                  <a:lnTo>
                    <a:pt x="10116" y="1585"/>
                  </a:lnTo>
                  <a:lnTo>
                    <a:pt x="10116" y="1649"/>
                  </a:lnTo>
                  <a:close/>
                  <a:moveTo>
                    <a:pt x="10116" y="1766"/>
                  </a:moveTo>
                  <a:lnTo>
                    <a:pt x="10181" y="1766"/>
                  </a:lnTo>
                  <a:lnTo>
                    <a:pt x="10181" y="1702"/>
                  </a:lnTo>
                  <a:lnTo>
                    <a:pt x="10116" y="1702"/>
                  </a:lnTo>
                  <a:lnTo>
                    <a:pt x="10116" y="1766"/>
                  </a:lnTo>
                  <a:close/>
                  <a:moveTo>
                    <a:pt x="10116" y="1880"/>
                  </a:moveTo>
                  <a:lnTo>
                    <a:pt x="10181" y="1880"/>
                  </a:lnTo>
                  <a:lnTo>
                    <a:pt x="10181" y="1816"/>
                  </a:lnTo>
                  <a:lnTo>
                    <a:pt x="10116" y="1816"/>
                  </a:lnTo>
                  <a:lnTo>
                    <a:pt x="10116" y="1880"/>
                  </a:lnTo>
                  <a:close/>
                  <a:moveTo>
                    <a:pt x="10116" y="1994"/>
                  </a:moveTo>
                  <a:lnTo>
                    <a:pt x="10181" y="1994"/>
                  </a:lnTo>
                  <a:lnTo>
                    <a:pt x="10181" y="1929"/>
                  </a:lnTo>
                  <a:lnTo>
                    <a:pt x="10116" y="1929"/>
                  </a:lnTo>
                  <a:lnTo>
                    <a:pt x="10116" y="1994"/>
                  </a:lnTo>
                  <a:close/>
                  <a:moveTo>
                    <a:pt x="10116" y="2105"/>
                  </a:moveTo>
                  <a:lnTo>
                    <a:pt x="10181" y="2105"/>
                  </a:lnTo>
                  <a:lnTo>
                    <a:pt x="10181" y="2040"/>
                  </a:lnTo>
                  <a:lnTo>
                    <a:pt x="10116" y="2040"/>
                  </a:lnTo>
                  <a:lnTo>
                    <a:pt x="10116" y="2105"/>
                  </a:lnTo>
                  <a:close/>
                  <a:moveTo>
                    <a:pt x="10116" y="2218"/>
                  </a:moveTo>
                  <a:lnTo>
                    <a:pt x="10181" y="2218"/>
                  </a:lnTo>
                  <a:lnTo>
                    <a:pt x="10181" y="2153"/>
                  </a:lnTo>
                  <a:lnTo>
                    <a:pt x="10116" y="2153"/>
                  </a:lnTo>
                  <a:lnTo>
                    <a:pt x="10116" y="2218"/>
                  </a:lnTo>
                  <a:close/>
                  <a:moveTo>
                    <a:pt x="10116" y="2332"/>
                  </a:moveTo>
                  <a:lnTo>
                    <a:pt x="10181" y="2332"/>
                  </a:lnTo>
                  <a:lnTo>
                    <a:pt x="10181" y="2268"/>
                  </a:lnTo>
                  <a:lnTo>
                    <a:pt x="10116" y="2268"/>
                  </a:lnTo>
                  <a:lnTo>
                    <a:pt x="10116" y="2332"/>
                  </a:lnTo>
                  <a:close/>
                  <a:moveTo>
                    <a:pt x="10116" y="2445"/>
                  </a:moveTo>
                  <a:lnTo>
                    <a:pt x="10181" y="2445"/>
                  </a:lnTo>
                  <a:lnTo>
                    <a:pt x="10181" y="2381"/>
                  </a:lnTo>
                  <a:lnTo>
                    <a:pt x="10116" y="2381"/>
                  </a:lnTo>
                  <a:lnTo>
                    <a:pt x="10116" y="2445"/>
                  </a:lnTo>
                  <a:close/>
                  <a:moveTo>
                    <a:pt x="10116" y="2557"/>
                  </a:moveTo>
                  <a:lnTo>
                    <a:pt x="10181" y="2557"/>
                  </a:lnTo>
                  <a:lnTo>
                    <a:pt x="10181" y="2493"/>
                  </a:lnTo>
                  <a:lnTo>
                    <a:pt x="10116" y="2493"/>
                  </a:lnTo>
                  <a:lnTo>
                    <a:pt x="10116" y="2557"/>
                  </a:lnTo>
                  <a:close/>
                  <a:moveTo>
                    <a:pt x="10116" y="2670"/>
                  </a:moveTo>
                  <a:lnTo>
                    <a:pt x="10181" y="2670"/>
                  </a:lnTo>
                  <a:lnTo>
                    <a:pt x="10181" y="2606"/>
                  </a:lnTo>
                  <a:lnTo>
                    <a:pt x="10116" y="2606"/>
                  </a:lnTo>
                  <a:lnTo>
                    <a:pt x="10116" y="2670"/>
                  </a:lnTo>
                  <a:close/>
                  <a:moveTo>
                    <a:pt x="10116" y="2785"/>
                  </a:moveTo>
                  <a:lnTo>
                    <a:pt x="10181" y="2785"/>
                  </a:lnTo>
                  <a:lnTo>
                    <a:pt x="10181" y="2720"/>
                  </a:lnTo>
                  <a:lnTo>
                    <a:pt x="10116" y="2720"/>
                  </a:lnTo>
                  <a:lnTo>
                    <a:pt x="10116" y="2785"/>
                  </a:lnTo>
                  <a:close/>
                  <a:moveTo>
                    <a:pt x="10116" y="2898"/>
                  </a:moveTo>
                  <a:lnTo>
                    <a:pt x="10181" y="2898"/>
                  </a:lnTo>
                  <a:lnTo>
                    <a:pt x="10181" y="2834"/>
                  </a:lnTo>
                  <a:lnTo>
                    <a:pt x="10116" y="2834"/>
                  </a:lnTo>
                  <a:lnTo>
                    <a:pt x="10116" y="2898"/>
                  </a:lnTo>
                  <a:close/>
                  <a:moveTo>
                    <a:pt x="10116" y="3009"/>
                  </a:moveTo>
                  <a:lnTo>
                    <a:pt x="10181" y="3009"/>
                  </a:lnTo>
                  <a:lnTo>
                    <a:pt x="10181" y="2945"/>
                  </a:lnTo>
                  <a:lnTo>
                    <a:pt x="10116" y="2945"/>
                  </a:lnTo>
                  <a:lnTo>
                    <a:pt x="10116" y="3009"/>
                  </a:lnTo>
                  <a:close/>
                  <a:moveTo>
                    <a:pt x="10116" y="3122"/>
                  </a:moveTo>
                  <a:lnTo>
                    <a:pt x="10181" y="3122"/>
                  </a:lnTo>
                  <a:lnTo>
                    <a:pt x="10181" y="3058"/>
                  </a:lnTo>
                  <a:lnTo>
                    <a:pt x="10116" y="3058"/>
                  </a:lnTo>
                  <a:lnTo>
                    <a:pt x="10116" y="3122"/>
                  </a:lnTo>
                  <a:close/>
                  <a:moveTo>
                    <a:pt x="10116" y="3237"/>
                  </a:moveTo>
                  <a:lnTo>
                    <a:pt x="10181" y="3237"/>
                  </a:lnTo>
                  <a:lnTo>
                    <a:pt x="10181" y="3172"/>
                  </a:lnTo>
                  <a:lnTo>
                    <a:pt x="10116" y="3172"/>
                  </a:lnTo>
                  <a:lnTo>
                    <a:pt x="10116" y="3237"/>
                  </a:lnTo>
                  <a:close/>
                  <a:moveTo>
                    <a:pt x="10116" y="3350"/>
                  </a:moveTo>
                  <a:lnTo>
                    <a:pt x="10181" y="3350"/>
                  </a:lnTo>
                  <a:lnTo>
                    <a:pt x="10181" y="3285"/>
                  </a:lnTo>
                  <a:lnTo>
                    <a:pt x="10116" y="3285"/>
                  </a:lnTo>
                  <a:lnTo>
                    <a:pt x="10116" y="3350"/>
                  </a:lnTo>
                  <a:close/>
                  <a:moveTo>
                    <a:pt x="10116" y="3463"/>
                  </a:moveTo>
                  <a:lnTo>
                    <a:pt x="10181" y="3463"/>
                  </a:lnTo>
                  <a:lnTo>
                    <a:pt x="10181" y="3398"/>
                  </a:lnTo>
                  <a:lnTo>
                    <a:pt x="10116" y="3398"/>
                  </a:lnTo>
                  <a:lnTo>
                    <a:pt x="10116" y="3463"/>
                  </a:lnTo>
                  <a:close/>
                  <a:moveTo>
                    <a:pt x="10116" y="3576"/>
                  </a:moveTo>
                  <a:lnTo>
                    <a:pt x="10181" y="3576"/>
                  </a:lnTo>
                  <a:lnTo>
                    <a:pt x="10181" y="3512"/>
                  </a:lnTo>
                  <a:lnTo>
                    <a:pt x="10116" y="3512"/>
                  </a:lnTo>
                  <a:lnTo>
                    <a:pt x="10116" y="3576"/>
                  </a:lnTo>
                  <a:close/>
                  <a:moveTo>
                    <a:pt x="10116" y="3690"/>
                  </a:moveTo>
                  <a:lnTo>
                    <a:pt x="10181" y="3690"/>
                  </a:lnTo>
                  <a:lnTo>
                    <a:pt x="10181" y="3626"/>
                  </a:lnTo>
                  <a:lnTo>
                    <a:pt x="10116" y="3626"/>
                  </a:lnTo>
                  <a:lnTo>
                    <a:pt x="10116" y="3690"/>
                  </a:lnTo>
                  <a:close/>
                  <a:moveTo>
                    <a:pt x="10116" y="3803"/>
                  </a:moveTo>
                  <a:lnTo>
                    <a:pt x="10181" y="3803"/>
                  </a:lnTo>
                  <a:lnTo>
                    <a:pt x="10181" y="3739"/>
                  </a:lnTo>
                  <a:lnTo>
                    <a:pt x="10116" y="3739"/>
                  </a:lnTo>
                  <a:lnTo>
                    <a:pt x="10116" y="3803"/>
                  </a:lnTo>
                  <a:close/>
                  <a:moveTo>
                    <a:pt x="10116" y="3914"/>
                  </a:moveTo>
                  <a:lnTo>
                    <a:pt x="10181" y="3914"/>
                  </a:lnTo>
                  <a:lnTo>
                    <a:pt x="10181" y="3850"/>
                  </a:lnTo>
                  <a:lnTo>
                    <a:pt x="10116" y="3850"/>
                  </a:lnTo>
                  <a:lnTo>
                    <a:pt x="10116" y="3914"/>
                  </a:lnTo>
                  <a:close/>
                  <a:moveTo>
                    <a:pt x="10116" y="4028"/>
                  </a:moveTo>
                  <a:lnTo>
                    <a:pt x="10181" y="4028"/>
                  </a:lnTo>
                  <a:lnTo>
                    <a:pt x="10181" y="3963"/>
                  </a:lnTo>
                  <a:lnTo>
                    <a:pt x="10116" y="3963"/>
                  </a:lnTo>
                  <a:lnTo>
                    <a:pt x="10116" y="4028"/>
                  </a:lnTo>
                  <a:close/>
                  <a:moveTo>
                    <a:pt x="10116" y="4142"/>
                  </a:moveTo>
                  <a:lnTo>
                    <a:pt x="10181" y="4142"/>
                  </a:lnTo>
                  <a:lnTo>
                    <a:pt x="10181" y="4077"/>
                  </a:lnTo>
                  <a:lnTo>
                    <a:pt x="10116" y="4077"/>
                  </a:lnTo>
                  <a:lnTo>
                    <a:pt x="10116" y="4142"/>
                  </a:lnTo>
                  <a:close/>
                  <a:moveTo>
                    <a:pt x="10116" y="4255"/>
                  </a:moveTo>
                  <a:lnTo>
                    <a:pt x="10181" y="4255"/>
                  </a:lnTo>
                  <a:lnTo>
                    <a:pt x="10181" y="4191"/>
                  </a:lnTo>
                  <a:lnTo>
                    <a:pt x="10116" y="4191"/>
                  </a:lnTo>
                  <a:lnTo>
                    <a:pt x="10116" y="4255"/>
                  </a:lnTo>
                  <a:close/>
                  <a:moveTo>
                    <a:pt x="10116" y="4480"/>
                  </a:moveTo>
                  <a:lnTo>
                    <a:pt x="10181" y="4480"/>
                  </a:lnTo>
                  <a:lnTo>
                    <a:pt x="10181" y="4416"/>
                  </a:lnTo>
                  <a:lnTo>
                    <a:pt x="10116" y="4416"/>
                  </a:lnTo>
                  <a:lnTo>
                    <a:pt x="10116" y="4480"/>
                  </a:lnTo>
                  <a:close/>
                  <a:moveTo>
                    <a:pt x="10116" y="4595"/>
                  </a:moveTo>
                  <a:lnTo>
                    <a:pt x="10181" y="4595"/>
                  </a:lnTo>
                  <a:lnTo>
                    <a:pt x="10181" y="4530"/>
                  </a:lnTo>
                  <a:lnTo>
                    <a:pt x="10116" y="4530"/>
                  </a:lnTo>
                  <a:lnTo>
                    <a:pt x="10116" y="4595"/>
                  </a:lnTo>
                  <a:close/>
                  <a:moveTo>
                    <a:pt x="10116" y="4707"/>
                  </a:moveTo>
                  <a:lnTo>
                    <a:pt x="10181" y="4707"/>
                  </a:lnTo>
                  <a:lnTo>
                    <a:pt x="10181" y="4643"/>
                  </a:lnTo>
                  <a:lnTo>
                    <a:pt x="10116" y="4643"/>
                  </a:lnTo>
                  <a:lnTo>
                    <a:pt x="10116" y="4707"/>
                  </a:lnTo>
                  <a:close/>
                  <a:moveTo>
                    <a:pt x="10116" y="4819"/>
                  </a:moveTo>
                  <a:lnTo>
                    <a:pt x="10181" y="4819"/>
                  </a:lnTo>
                  <a:lnTo>
                    <a:pt x="10181" y="4754"/>
                  </a:lnTo>
                  <a:lnTo>
                    <a:pt x="10116" y="4754"/>
                  </a:lnTo>
                  <a:lnTo>
                    <a:pt x="10116" y="4819"/>
                  </a:lnTo>
                  <a:close/>
                  <a:moveTo>
                    <a:pt x="10116" y="4932"/>
                  </a:moveTo>
                  <a:lnTo>
                    <a:pt x="10181" y="4932"/>
                  </a:lnTo>
                  <a:lnTo>
                    <a:pt x="10181" y="4868"/>
                  </a:lnTo>
                  <a:lnTo>
                    <a:pt x="10116" y="4868"/>
                  </a:lnTo>
                  <a:lnTo>
                    <a:pt x="10116" y="4932"/>
                  </a:lnTo>
                  <a:close/>
                  <a:moveTo>
                    <a:pt x="10116" y="5046"/>
                  </a:moveTo>
                  <a:lnTo>
                    <a:pt x="10181" y="5046"/>
                  </a:lnTo>
                  <a:lnTo>
                    <a:pt x="10181" y="4982"/>
                  </a:lnTo>
                  <a:lnTo>
                    <a:pt x="10116" y="4982"/>
                  </a:lnTo>
                  <a:lnTo>
                    <a:pt x="10116" y="5046"/>
                  </a:lnTo>
                  <a:close/>
                  <a:moveTo>
                    <a:pt x="10116" y="5159"/>
                  </a:moveTo>
                  <a:lnTo>
                    <a:pt x="10181" y="5159"/>
                  </a:lnTo>
                  <a:lnTo>
                    <a:pt x="10181" y="5095"/>
                  </a:lnTo>
                  <a:lnTo>
                    <a:pt x="10116" y="5095"/>
                  </a:lnTo>
                  <a:lnTo>
                    <a:pt x="10116" y="5159"/>
                  </a:lnTo>
                  <a:close/>
                  <a:moveTo>
                    <a:pt x="10116" y="5270"/>
                  </a:moveTo>
                  <a:lnTo>
                    <a:pt x="10181" y="5270"/>
                  </a:lnTo>
                  <a:lnTo>
                    <a:pt x="10181" y="5205"/>
                  </a:lnTo>
                  <a:lnTo>
                    <a:pt x="10116" y="5205"/>
                  </a:lnTo>
                  <a:lnTo>
                    <a:pt x="10116" y="5270"/>
                  </a:lnTo>
                  <a:close/>
                  <a:moveTo>
                    <a:pt x="10116" y="5383"/>
                  </a:moveTo>
                  <a:lnTo>
                    <a:pt x="10181" y="5383"/>
                  </a:lnTo>
                  <a:lnTo>
                    <a:pt x="10181" y="5319"/>
                  </a:lnTo>
                  <a:lnTo>
                    <a:pt x="10116" y="5319"/>
                  </a:lnTo>
                  <a:lnTo>
                    <a:pt x="10116" y="5383"/>
                  </a:lnTo>
                  <a:close/>
                  <a:moveTo>
                    <a:pt x="10116" y="5721"/>
                  </a:moveTo>
                  <a:lnTo>
                    <a:pt x="10181" y="5721"/>
                  </a:lnTo>
                  <a:lnTo>
                    <a:pt x="10181" y="5657"/>
                  </a:lnTo>
                  <a:lnTo>
                    <a:pt x="10116" y="5657"/>
                  </a:lnTo>
                  <a:lnTo>
                    <a:pt x="10116" y="5721"/>
                  </a:lnTo>
                  <a:close/>
                  <a:moveTo>
                    <a:pt x="10116" y="5835"/>
                  </a:moveTo>
                  <a:lnTo>
                    <a:pt x="10181" y="5835"/>
                  </a:lnTo>
                  <a:lnTo>
                    <a:pt x="10181" y="5770"/>
                  </a:lnTo>
                  <a:lnTo>
                    <a:pt x="10116" y="5770"/>
                  </a:lnTo>
                  <a:lnTo>
                    <a:pt x="10116" y="5835"/>
                  </a:lnTo>
                  <a:close/>
                  <a:moveTo>
                    <a:pt x="10116" y="5949"/>
                  </a:moveTo>
                  <a:lnTo>
                    <a:pt x="10181" y="5949"/>
                  </a:lnTo>
                  <a:lnTo>
                    <a:pt x="10181" y="5884"/>
                  </a:lnTo>
                  <a:lnTo>
                    <a:pt x="10116" y="5884"/>
                  </a:lnTo>
                  <a:lnTo>
                    <a:pt x="10116" y="5949"/>
                  </a:lnTo>
                  <a:close/>
                  <a:moveTo>
                    <a:pt x="10116" y="6062"/>
                  </a:moveTo>
                  <a:lnTo>
                    <a:pt x="10181" y="6062"/>
                  </a:lnTo>
                  <a:lnTo>
                    <a:pt x="10181" y="5997"/>
                  </a:lnTo>
                  <a:lnTo>
                    <a:pt x="10116" y="5997"/>
                  </a:lnTo>
                  <a:lnTo>
                    <a:pt x="10116" y="6062"/>
                  </a:lnTo>
                  <a:close/>
                  <a:moveTo>
                    <a:pt x="10116" y="6174"/>
                  </a:moveTo>
                  <a:lnTo>
                    <a:pt x="10181" y="6174"/>
                  </a:lnTo>
                  <a:lnTo>
                    <a:pt x="10181" y="6109"/>
                  </a:lnTo>
                  <a:lnTo>
                    <a:pt x="10116" y="6109"/>
                  </a:lnTo>
                  <a:lnTo>
                    <a:pt x="10116" y="6174"/>
                  </a:lnTo>
                  <a:close/>
                  <a:moveTo>
                    <a:pt x="10116" y="6287"/>
                  </a:moveTo>
                  <a:lnTo>
                    <a:pt x="10181" y="6287"/>
                  </a:lnTo>
                  <a:lnTo>
                    <a:pt x="10181" y="6223"/>
                  </a:lnTo>
                  <a:lnTo>
                    <a:pt x="10116" y="6223"/>
                  </a:lnTo>
                  <a:lnTo>
                    <a:pt x="10116" y="6287"/>
                  </a:lnTo>
                  <a:close/>
                  <a:moveTo>
                    <a:pt x="10230" y="1536"/>
                  </a:moveTo>
                  <a:lnTo>
                    <a:pt x="10295" y="1536"/>
                  </a:lnTo>
                  <a:lnTo>
                    <a:pt x="10295" y="1471"/>
                  </a:lnTo>
                  <a:lnTo>
                    <a:pt x="10230" y="1471"/>
                  </a:lnTo>
                  <a:lnTo>
                    <a:pt x="10230" y="1536"/>
                  </a:lnTo>
                  <a:close/>
                  <a:moveTo>
                    <a:pt x="10230" y="1649"/>
                  </a:moveTo>
                  <a:lnTo>
                    <a:pt x="10295" y="1649"/>
                  </a:lnTo>
                  <a:lnTo>
                    <a:pt x="10295" y="1585"/>
                  </a:lnTo>
                  <a:lnTo>
                    <a:pt x="10230" y="1585"/>
                  </a:lnTo>
                  <a:lnTo>
                    <a:pt x="10230" y="1649"/>
                  </a:lnTo>
                  <a:close/>
                  <a:moveTo>
                    <a:pt x="10230" y="1766"/>
                  </a:moveTo>
                  <a:lnTo>
                    <a:pt x="10295" y="1766"/>
                  </a:lnTo>
                  <a:lnTo>
                    <a:pt x="10295" y="1702"/>
                  </a:lnTo>
                  <a:lnTo>
                    <a:pt x="10230" y="1702"/>
                  </a:lnTo>
                  <a:lnTo>
                    <a:pt x="10230" y="1766"/>
                  </a:lnTo>
                  <a:close/>
                  <a:moveTo>
                    <a:pt x="10230" y="1880"/>
                  </a:moveTo>
                  <a:lnTo>
                    <a:pt x="10295" y="1880"/>
                  </a:lnTo>
                  <a:lnTo>
                    <a:pt x="10295" y="1816"/>
                  </a:lnTo>
                  <a:lnTo>
                    <a:pt x="10230" y="1816"/>
                  </a:lnTo>
                  <a:lnTo>
                    <a:pt x="10230" y="1880"/>
                  </a:lnTo>
                  <a:close/>
                  <a:moveTo>
                    <a:pt x="10230" y="1994"/>
                  </a:moveTo>
                  <a:lnTo>
                    <a:pt x="10295" y="1994"/>
                  </a:lnTo>
                  <a:lnTo>
                    <a:pt x="10295" y="1929"/>
                  </a:lnTo>
                  <a:lnTo>
                    <a:pt x="10230" y="1929"/>
                  </a:lnTo>
                  <a:lnTo>
                    <a:pt x="10230" y="1994"/>
                  </a:lnTo>
                  <a:close/>
                  <a:moveTo>
                    <a:pt x="10230" y="2105"/>
                  </a:moveTo>
                  <a:lnTo>
                    <a:pt x="10295" y="2105"/>
                  </a:lnTo>
                  <a:lnTo>
                    <a:pt x="10295" y="2040"/>
                  </a:lnTo>
                  <a:lnTo>
                    <a:pt x="10230" y="2040"/>
                  </a:lnTo>
                  <a:lnTo>
                    <a:pt x="10230" y="2105"/>
                  </a:lnTo>
                  <a:close/>
                  <a:moveTo>
                    <a:pt x="10230" y="2218"/>
                  </a:moveTo>
                  <a:lnTo>
                    <a:pt x="10295" y="2218"/>
                  </a:lnTo>
                  <a:lnTo>
                    <a:pt x="10295" y="2153"/>
                  </a:lnTo>
                  <a:lnTo>
                    <a:pt x="10230" y="2153"/>
                  </a:lnTo>
                  <a:lnTo>
                    <a:pt x="10230" y="2218"/>
                  </a:lnTo>
                  <a:close/>
                  <a:moveTo>
                    <a:pt x="10230" y="2332"/>
                  </a:moveTo>
                  <a:lnTo>
                    <a:pt x="10295" y="2332"/>
                  </a:lnTo>
                  <a:lnTo>
                    <a:pt x="10295" y="2268"/>
                  </a:lnTo>
                  <a:lnTo>
                    <a:pt x="10230" y="2268"/>
                  </a:lnTo>
                  <a:lnTo>
                    <a:pt x="10230" y="2332"/>
                  </a:lnTo>
                  <a:close/>
                  <a:moveTo>
                    <a:pt x="10230" y="2445"/>
                  </a:moveTo>
                  <a:lnTo>
                    <a:pt x="10295" y="2445"/>
                  </a:lnTo>
                  <a:lnTo>
                    <a:pt x="10295" y="2381"/>
                  </a:lnTo>
                  <a:lnTo>
                    <a:pt x="10230" y="2381"/>
                  </a:lnTo>
                  <a:lnTo>
                    <a:pt x="10230" y="2445"/>
                  </a:lnTo>
                  <a:close/>
                  <a:moveTo>
                    <a:pt x="10230" y="2557"/>
                  </a:moveTo>
                  <a:lnTo>
                    <a:pt x="10295" y="2557"/>
                  </a:lnTo>
                  <a:lnTo>
                    <a:pt x="10295" y="2493"/>
                  </a:lnTo>
                  <a:lnTo>
                    <a:pt x="10230" y="2493"/>
                  </a:lnTo>
                  <a:lnTo>
                    <a:pt x="10230" y="2557"/>
                  </a:lnTo>
                  <a:close/>
                  <a:moveTo>
                    <a:pt x="10230" y="2670"/>
                  </a:moveTo>
                  <a:lnTo>
                    <a:pt x="10295" y="2670"/>
                  </a:lnTo>
                  <a:lnTo>
                    <a:pt x="10295" y="2606"/>
                  </a:lnTo>
                  <a:lnTo>
                    <a:pt x="10230" y="2606"/>
                  </a:lnTo>
                  <a:lnTo>
                    <a:pt x="10230" y="2670"/>
                  </a:lnTo>
                  <a:close/>
                  <a:moveTo>
                    <a:pt x="10230" y="2785"/>
                  </a:moveTo>
                  <a:lnTo>
                    <a:pt x="10295" y="2785"/>
                  </a:lnTo>
                  <a:lnTo>
                    <a:pt x="10295" y="2720"/>
                  </a:lnTo>
                  <a:lnTo>
                    <a:pt x="10230" y="2720"/>
                  </a:lnTo>
                  <a:lnTo>
                    <a:pt x="10230" y="2785"/>
                  </a:lnTo>
                  <a:close/>
                  <a:moveTo>
                    <a:pt x="10230" y="2898"/>
                  </a:moveTo>
                  <a:lnTo>
                    <a:pt x="10295" y="2898"/>
                  </a:lnTo>
                  <a:lnTo>
                    <a:pt x="10295" y="2834"/>
                  </a:lnTo>
                  <a:lnTo>
                    <a:pt x="10230" y="2834"/>
                  </a:lnTo>
                  <a:lnTo>
                    <a:pt x="10230" y="2898"/>
                  </a:lnTo>
                  <a:close/>
                  <a:moveTo>
                    <a:pt x="10230" y="3009"/>
                  </a:moveTo>
                  <a:lnTo>
                    <a:pt x="10295" y="3009"/>
                  </a:lnTo>
                  <a:lnTo>
                    <a:pt x="10295" y="2945"/>
                  </a:lnTo>
                  <a:lnTo>
                    <a:pt x="10230" y="2945"/>
                  </a:lnTo>
                  <a:lnTo>
                    <a:pt x="10230" y="3009"/>
                  </a:lnTo>
                  <a:close/>
                  <a:moveTo>
                    <a:pt x="10230" y="3122"/>
                  </a:moveTo>
                  <a:lnTo>
                    <a:pt x="10295" y="3122"/>
                  </a:lnTo>
                  <a:lnTo>
                    <a:pt x="10295" y="3058"/>
                  </a:lnTo>
                  <a:lnTo>
                    <a:pt x="10230" y="3058"/>
                  </a:lnTo>
                  <a:lnTo>
                    <a:pt x="10230" y="3122"/>
                  </a:lnTo>
                  <a:close/>
                  <a:moveTo>
                    <a:pt x="10230" y="3237"/>
                  </a:moveTo>
                  <a:lnTo>
                    <a:pt x="10295" y="3237"/>
                  </a:lnTo>
                  <a:lnTo>
                    <a:pt x="10295" y="3172"/>
                  </a:lnTo>
                  <a:lnTo>
                    <a:pt x="10230" y="3172"/>
                  </a:lnTo>
                  <a:lnTo>
                    <a:pt x="10230" y="3237"/>
                  </a:lnTo>
                  <a:close/>
                  <a:moveTo>
                    <a:pt x="10230" y="3350"/>
                  </a:moveTo>
                  <a:lnTo>
                    <a:pt x="10295" y="3350"/>
                  </a:lnTo>
                  <a:lnTo>
                    <a:pt x="10295" y="3285"/>
                  </a:lnTo>
                  <a:lnTo>
                    <a:pt x="10230" y="3285"/>
                  </a:lnTo>
                  <a:lnTo>
                    <a:pt x="10230" y="3350"/>
                  </a:lnTo>
                  <a:close/>
                  <a:moveTo>
                    <a:pt x="10230" y="3463"/>
                  </a:moveTo>
                  <a:lnTo>
                    <a:pt x="10295" y="3463"/>
                  </a:lnTo>
                  <a:lnTo>
                    <a:pt x="10295" y="3398"/>
                  </a:lnTo>
                  <a:lnTo>
                    <a:pt x="10230" y="3398"/>
                  </a:lnTo>
                  <a:lnTo>
                    <a:pt x="10230" y="3463"/>
                  </a:lnTo>
                  <a:close/>
                  <a:moveTo>
                    <a:pt x="10230" y="3576"/>
                  </a:moveTo>
                  <a:lnTo>
                    <a:pt x="10295" y="3576"/>
                  </a:lnTo>
                  <a:lnTo>
                    <a:pt x="10295" y="3512"/>
                  </a:lnTo>
                  <a:lnTo>
                    <a:pt x="10230" y="3512"/>
                  </a:lnTo>
                  <a:lnTo>
                    <a:pt x="10230" y="3576"/>
                  </a:lnTo>
                  <a:close/>
                  <a:moveTo>
                    <a:pt x="10230" y="3690"/>
                  </a:moveTo>
                  <a:lnTo>
                    <a:pt x="10295" y="3690"/>
                  </a:lnTo>
                  <a:lnTo>
                    <a:pt x="10295" y="3626"/>
                  </a:lnTo>
                  <a:lnTo>
                    <a:pt x="10230" y="3626"/>
                  </a:lnTo>
                  <a:lnTo>
                    <a:pt x="10230" y="3690"/>
                  </a:lnTo>
                  <a:close/>
                  <a:moveTo>
                    <a:pt x="10230" y="4707"/>
                  </a:moveTo>
                  <a:lnTo>
                    <a:pt x="10295" y="4707"/>
                  </a:lnTo>
                  <a:lnTo>
                    <a:pt x="10295" y="4643"/>
                  </a:lnTo>
                  <a:lnTo>
                    <a:pt x="10230" y="4643"/>
                  </a:lnTo>
                  <a:lnTo>
                    <a:pt x="10230" y="4707"/>
                  </a:lnTo>
                  <a:close/>
                  <a:moveTo>
                    <a:pt x="10230" y="4819"/>
                  </a:moveTo>
                  <a:lnTo>
                    <a:pt x="10295" y="4819"/>
                  </a:lnTo>
                  <a:lnTo>
                    <a:pt x="10295" y="4754"/>
                  </a:lnTo>
                  <a:lnTo>
                    <a:pt x="10230" y="4754"/>
                  </a:lnTo>
                  <a:lnTo>
                    <a:pt x="10230" y="4819"/>
                  </a:lnTo>
                  <a:close/>
                  <a:moveTo>
                    <a:pt x="10230" y="4932"/>
                  </a:moveTo>
                  <a:lnTo>
                    <a:pt x="10295" y="4932"/>
                  </a:lnTo>
                  <a:lnTo>
                    <a:pt x="10295" y="4868"/>
                  </a:lnTo>
                  <a:lnTo>
                    <a:pt x="10230" y="4868"/>
                  </a:lnTo>
                  <a:lnTo>
                    <a:pt x="10230" y="4932"/>
                  </a:lnTo>
                  <a:close/>
                  <a:moveTo>
                    <a:pt x="10230" y="5046"/>
                  </a:moveTo>
                  <a:lnTo>
                    <a:pt x="10295" y="5046"/>
                  </a:lnTo>
                  <a:lnTo>
                    <a:pt x="10295" y="4982"/>
                  </a:lnTo>
                  <a:lnTo>
                    <a:pt x="10230" y="4982"/>
                  </a:lnTo>
                  <a:lnTo>
                    <a:pt x="10230" y="5046"/>
                  </a:lnTo>
                  <a:close/>
                  <a:moveTo>
                    <a:pt x="10230" y="5159"/>
                  </a:moveTo>
                  <a:lnTo>
                    <a:pt x="10295" y="5159"/>
                  </a:lnTo>
                  <a:lnTo>
                    <a:pt x="10295" y="5095"/>
                  </a:lnTo>
                  <a:lnTo>
                    <a:pt x="10230" y="5095"/>
                  </a:lnTo>
                  <a:lnTo>
                    <a:pt x="10230" y="5159"/>
                  </a:lnTo>
                  <a:close/>
                  <a:moveTo>
                    <a:pt x="10230" y="5270"/>
                  </a:moveTo>
                  <a:lnTo>
                    <a:pt x="10295" y="5270"/>
                  </a:lnTo>
                  <a:lnTo>
                    <a:pt x="10295" y="5205"/>
                  </a:lnTo>
                  <a:lnTo>
                    <a:pt x="10230" y="5205"/>
                  </a:lnTo>
                  <a:lnTo>
                    <a:pt x="10230" y="5270"/>
                  </a:lnTo>
                  <a:close/>
                  <a:moveTo>
                    <a:pt x="10230" y="5383"/>
                  </a:moveTo>
                  <a:lnTo>
                    <a:pt x="10295" y="5383"/>
                  </a:lnTo>
                  <a:lnTo>
                    <a:pt x="10295" y="5319"/>
                  </a:lnTo>
                  <a:lnTo>
                    <a:pt x="10230" y="5319"/>
                  </a:lnTo>
                  <a:lnTo>
                    <a:pt x="10230" y="5383"/>
                  </a:lnTo>
                  <a:close/>
                  <a:moveTo>
                    <a:pt x="10230" y="5610"/>
                  </a:moveTo>
                  <a:lnTo>
                    <a:pt x="10295" y="5610"/>
                  </a:lnTo>
                  <a:lnTo>
                    <a:pt x="10295" y="5546"/>
                  </a:lnTo>
                  <a:lnTo>
                    <a:pt x="10230" y="5546"/>
                  </a:lnTo>
                  <a:lnTo>
                    <a:pt x="10230" y="5610"/>
                  </a:lnTo>
                  <a:close/>
                  <a:moveTo>
                    <a:pt x="10230" y="5721"/>
                  </a:moveTo>
                  <a:lnTo>
                    <a:pt x="10295" y="5721"/>
                  </a:lnTo>
                  <a:lnTo>
                    <a:pt x="10295" y="5657"/>
                  </a:lnTo>
                  <a:lnTo>
                    <a:pt x="10230" y="5657"/>
                  </a:lnTo>
                  <a:lnTo>
                    <a:pt x="10230" y="5721"/>
                  </a:lnTo>
                  <a:close/>
                  <a:moveTo>
                    <a:pt x="10230" y="5835"/>
                  </a:moveTo>
                  <a:lnTo>
                    <a:pt x="10295" y="5835"/>
                  </a:lnTo>
                  <a:lnTo>
                    <a:pt x="10295" y="5770"/>
                  </a:lnTo>
                  <a:lnTo>
                    <a:pt x="10230" y="5770"/>
                  </a:lnTo>
                  <a:lnTo>
                    <a:pt x="10230" y="5835"/>
                  </a:lnTo>
                  <a:close/>
                  <a:moveTo>
                    <a:pt x="10230" y="5949"/>
                  </a:moveTo>
                  <a:lnTo>
                    <a:pt x="10295" y="5949"/>
                  </a:lnTo>
                  <a:lnTo>
                    <a:pt x="10295" y="5884"/>
                  </a:lnTo>
                  <a:lnTo>
                    <a:pt x="10230" y="5884"/>
                  </a:lnTo>
                  <a:lnTo>
                    <a:pt x="10230" y="5949"/>
                  </a:lnTo>
                  <a:close/>
                  <a:moveTo>
                    <a:pt x="10230" y="6062"/>
                  </a:moveTo>
                  <a:lnTo>
                    <a:pt x="10295" y="6062"/>
                  </a:lnTo>
                  <a:lnTo>
                    <a:pt x="10295" y="5997"/>
                  </a:lnTo>
                  <a:lnTo>
                    <a:pt x="10230" y="5997"/>
                  </a:lnTo>
                  <a:lnTo>
                    <a:pt x="10230" y="6062"/>
                  </a:lnTo>
                  <a:close/>
                  <a:moveTo>
                    <a:pt x="10230" y="6174"/>
                  </a:moveTo>
                  <a:lnTo>
                    <a:pt x="10295" y="6174"/>
                  </a:lnTo>
                  <a:lnTo>
                    <a:pt x="10295" y="6109"/>
                  </a:lnTo>
                  <a:lnTo>
                    <a:pt x="10230" y="6109"/>
                  </a:lnTo>
                  <a:lnTo>
                    <a:pt x="10230" y="6174"/>
                  </a:lnTo>
                  <a:close/>
                  <a:moveTo>
                    <a:pt x="10230" y="6287"/>
                  </a:moveTo>
                  <a:lnTo>
                    <a:pt x="10295" y="6287"/>
                  </a:lnTo>
                  <a:lnTo>
                    <a:pt x="10295" y="6223"/>
                  </a:lnTo>
                  <a:lnTo>
                    <a:pt x="10230" y="6223"/>
                  </a:lnTo>
                  <a:lnTo>
                    <a:pt x="10230" y="6287"/>
                  </a:lnTo>
                  <a:close/>
                  <a:moveTo>
                    <a:pt x="10346" y="1536"/>
                  </a:moveTo>
                  <a:lnTo>
                    <a:pt x="10410" y="1536"/>
                  </a:lnTo>
                  <a:lnTo>
                    <a:pt x="10410" y="1471"/>
                  </a:lnTo>
                  <a:lnTo>
                    <a:pt x="10346" y="1471"/>
                  </a:lnTo>
                  <a:lnTo>
                    <a:pt x="10346" y="1536"/>
                  </a:lnTo>
                  <a:close/>
                  <a:moveTo>
                    <a:pt x="10346" y="1649"/>
                  </a:moveTo>
                  <a:lnTo>
                    <a:pt x="10410" y="1649"/>
                  </a:lnTo>
                  <a:lnTo>
                    <a:pt x="10410" y="1585"/>
                  </a:lnTo>
                  <a:lnTo>
                    <a:pt x="10346" y="1585"/>
                  </a:lnTo>
                  <a:lnTo>
                    <a:pt x="10346" y="1649"/>
                  </a:lnTo>
                  <a:close/>
                  <a:moveTo>
                    <a:pt x="10346" y="1766"/>
                  </a:moveTo>
                  <a:lnTo>
                    <a:pt x="10410" y="1766"/>
                  </a:lnTo>
                  <a:lnTo>
                    <a:pt x="10410" y="1702"/>
                  </a:lnTo>
                  <a:lnTo>
                    <a:pt x="10346" y="1702"/>
                  </a:lnTo>
                  <a:lnTo>
                    <a:pt x="10346" y="1766"/>
                  </a:lnTo>
                  <a:close/>
                  <a:moveTo>
                    <a:pt x="10346" y="1880"/>
                  </a:moveTo>
                  <a:lnTo>
                    <a:pt x="10410" y="1880"/>
                  </a:lnTo>
                  <a:lnTo>
                    <a:pt x="10410" y="1816"/>
                  </a:lnTo>
                  <a:lnTo>
                    <a:pt x="10346" y="1816"/>
                  </a:lnTo>
                  <a:lnTo>
                    <a:pt x="10346" y="1880"/>
                  </a:lnTo>
                  <a:close/>
                  <a:moveTo>
                    <a:pt x="10346" y="1994"/>
                  </a:moveTo>
                  <a:lnTo>
                    <a:pt x="10410" y="1994"/>
                  </a:lnTo>
                  <a:lnTo>
                    <a:pt x="10410" y="1929"/>
                  </a:lnTo>
                  <a:lnTo>
                    <a:pt x="10346" y="1929"/>
                  </a:lnTo>
                  <a:lnTo>
                    <a:pt x="10346" y="1994"/>
                  </a:lnTo>
                  <a:close/>
                  <a:moveTo>
                    <a:pt x="10346" y="2105"/>
                  </a:moveTo>
                  <a:lnTo>
                    <a:pt x="10410" y="2105"/>
                  </a:lnTo>
                  <a:lnTo>
                    <a:pt x="10410" y="2040"/>
                  </a:lnTo>
                  <a:lnTo>
                    <a:pt x="10346" y="2040"/>
                  </a:lnTo>
                  <a:lnTo>
                    <a:pt x="10346" y="2105"/>
                  </a:lnTo>
                  <a:close/>
                  <a:moveTo>
                    <a:pt x="10346" y="2218"/>
                  </a:moveTo>
                  <a:lnTo>
                    <a:pt x="10410" y="2218"/>
                  </a:lnTo>
                  <a:lnTo>
                    <a:pt x="10410" y="2153"/>
                  </a:lnTo>
                  <a:lnTo>
                    <a:pt x="10346" y="2153"/>
                  </a:lnTo>
                  <a:lnTo>
                    <a:pt x="10346" y="2218"/>
                  </a:lnTo>
                  <a:close/>
                  <a:moveTo>
                    <a:pt x="10346" y="2332"/>
                  </a:moveTo>
                  <a:lnTo>
                    <a:pt x="10410" y="2332"/>
                  </a:lnTo>
                  <a:lnTo>
                    <a:pt x="10410" y="2268"/>
                  </a:lnTo>
                  <a:lnTo>
                    <a:pt x="10346" y="2268"/>
                  </a:lnTo>
                  <a:lnTo>
                    <a:pt x="10346" y="2332"/>
                  </a:lnTo>
                  <a:close/>
                  <a:moveTo>
                    <a:pt x="10346" y="2445"/>
                  </a:moveTo>
                  <a:lnTo>
                    <a:pt x="10410" y="2445"/>
                  </a:lnTo>
                  <a:lnTo>
                    <a:pt x="10410" y="2381"/>
                  </a:lnTo>
                  <a:lnTo>
                    <a:pt x="10346" y="2381"/>
                  </a:lnTo>
                  <a:lnTo>
                    <a:pt x="10346" y="2445"/>
                  </a:lnTo>
                  <a:close/>
                  <a:moveTo>
                    <a:pt x="10346" y="2557"/>
                  </a:moveTo>
                  <a:lnTo>
                    <a:pt x="10410" y="2557"/>
                  </a:lnTo>
                  <a:lnTo>
                    <a:pt x="10410" y="2493"/>
                  </a:lnTo>
                  <a:lnTo>
                    <a:pt x="10346" y="2493"/>
                  </a:lnTo>
                  <a:lnTo>
                    <a:pt x="10346" y="2557"/>
                  </a:lnTo>
                  <a:close/>
                  <a:moveTo>
                    <a:pt x="10346" y="2670"/>
                  </a:moveTo>
                  <a:lnTo>
                    <a:pt x="10410" y="2670"/>
                  </a:lnTo>
                  <a:lnTo>
                    <a:pt x="10410" y="2606"/>
                  </a:lnTo>
                  <a:lnTo>
                    <a:pt x="10346" y="2606"/>
                  </a:lnTo>
                  <a:lnTo>
                    <a:pt x="10346" y="2670"/>
                  </a:lnTo>
                  <a:close/>
                  <a:moveTo>
                    <a:pt x="10346" y="2785"/>
                  </a:moveTo>
                  <a:lnTo>
                    <a:pt x="10410" y="2785"/>
                  </a:lnTo>
                  <a:lnTo>
                    <a:pt x="10410" y="2720"/>
                  </a:lnTo>
                  <a:lnTo>
                    <a:pt x="10346" y="2720"/>
                  </a:lnTo>
                  <a:lnTo>
                    <a:pt x="10346" y="2785"/>
                  </a:lnTo>
                  <a:close/>
                  <a:moveTo>
                    <a:pt x="10346" y="2898"/>
                  </a:moveTo>
                  <a:lnTo>
                    <a:pt x="10410" y="2898"/>
                  </a:lnTo>
                  <a:lnTo>
                    <a:pt x="10410" y="2834"/>
                  </a:lnTo>
                  <a:lnTo>
                    <a:pt x="10346" y="2834"/>
                  </a:lnTo>
                  <a:lnTo>
                    <a:pt x="10346" y="2898"/>
                  </a:lnTo>
                  <a:close/>
                  <a:moveTo>
                    <a:pt x="10346" y="3009"/>
                  </a:moveTo>
                  <a:lnTo>
                    <a:pt x="10410" y="3009"/>
                  </a:lnTo>
                  <a:lnTo>
                    <a:pt x="10410" y="2945"/>
                  </a:lnTo>
                  <a:lnTo>
                    <a:pt x="10346" y="2945"/>
                  </a:lnTo>
                  <a:lnTo>
                    <a:pt x="10346" y="3009"/>
                  </a:lnTo>
                  <a:close/>
                  <a:moveTo>
                    <a:pt x="10346" y="3122"/>
                  </a:moveTo>
                  <a:lnTo>
                    <a:pt x="10410" y="3122"/>
                  </a:lnTo>
                  <a:lnTo>
                    <a:pt x="10410" y="3058"/>
                  </a:lnTo>
                  <a:lnTo>
                    <a:pt x="10346" y="3058"/>
                  </a:lnTo>
                  <a:lnTo>
                    <a:pt x="10346" y="3122"/>
                  </a:lnTo>
                  <a:close/>
                  <a:moveTo>
                    <a:pt x="10346" y="3237"/>
                  </a:moveTo>
                  <a:lnTo>
                    <a:pt x="10410" y="3237"/>
                  </a:lnTo>
                  <a:lnTo>
                    <a:pt x="10410" y="3172"/>
                  </a:lnTo>
                  <a:lnTo>
                    <a:pt x="10346" y="3172"/>
                  </a:lnTo>
                  <a:lnTo>
                    <a:pt x="10346" y="3237"/>
                  </a:lnTo>
                  <a:close/>
                  <a:moveTo>
                    <a:pt x="10346" y="3350"/>
                  </a:moveTo>
                  <a:lnTo>
                    <a:pt x="10410" y="3350"/>
                  </a:lnTo>
                  <a:lnTo>
                    <a:pt x="10410" y="3285"/>
                  </a:lnTo>
                  <a:lnTo>
                    <a:pt x="10346" y="3285"/>
                  </a:lnTo>
                  <a:lnTo>
                    <a:pt x="10346" y="3350"/>
                  </a:lnTo>
                  <a:close/>
                  <a:moveTo>
                    <a:pt x="10346" y="3463"/>
                  </a:moveTo>
                  <a:lnTo>
                    <a:pt x="10410" y="3463"/>
                  </a:lnTo>
                  <a:lnTo>
                    <a:pt x="10410" y="3398"/>
                  </a:lnTo>
                  <a:lnTo>
                    <a:pt x="10346" y="3398"/>
                  </a:lnTo>
                  <a:lnTo>
                    <a:pt x="10346" y="3463"/>
                  </a:lnTo>
                  <a:close/>
                  <a:moveTo>
                    <a:pt x="10346" y="3576"/>
                  </a:moveTo>
                  <a:lnTo>
                    <a:pt x="10410" y="3576"/>
                  </a:lnTo>
                  <a:lnTo>
                    <a:pt x="10410" y="3512"/>
                  </a:lnTo>
                  <a:lnTo>
                    <a:pt x="10346" y="3512"/>
                  </a:lnTo>
                  <a:lnTo>
                    <a:pt x="10346" y="3576"/>
                  </a:lnTo>
                  <a:close/>
                  <a:moveTo>
                    <a:pt x="10346" y="3690"/>
                  </a:moveTo>
                  <a:lnTo>
                    <a:pt x="10410" y="3690"/>
                  </a:lnTo>
                  <a:lnTo>
                    <a:pt x="10410" y="3626"/>
                  </a:lnTo>
                  <a:lnTo>
                    <a:pt x="10346" y="3626"/>
                  </a:lnTo>
                  <a:lnTo>
                    <a:pt x="10346" y="3690"/>
                  </a:lnTo>
                  <a:close/>
                  <a:moveTo>
                    <a:pt x="10346" y="3803"/>
                  </a:moveTo>
                  <a:lnTo>
                    <a:pt x="10410" y="3803"/>
                  </a:lnTo>
                  <a:lnTo>
                    <a:pt x="10410" y="3739"/>
                  </a:lnTo>
                  <a:lnTo>
                    <a:pt x="10346" y="3739"/>
                  </a:lnTo>
                  <a:lnTo>
                    <a:pt x="10346" y="3803"/>
                  </a:lnTo>
                  <a:close/>
                  <a:moveTo>
                    <a:pt x="10346" y="3914"/>
                  </a:moveTo>
                  <a:lnTo>
                    <a:pt x="10410" y="3914"/>
                  </a:lnTo>
                  <a:lnTo>
                    <a:pt x="10410" y="3850"/>
                  </a:lnTo>
                  <a:lnTo>
                    <a:pt x="10346" y="3850"/>
                  </a:lnTo>
                  <a:lnTo>
                    <a:pt x="10346" y="3914"/>
                  </a:lnTo>
                  <a:close/>
                  <a:moveTo>
                    <a:pt x="10346" y="4255"/>
                  </a:moveTo>
                  <a:lnTo>
                    <a:pt x="10410" y="4255"/>
                  </a:lnTo>
                  <a:lnTo>
                    <a:pt x="10410" y="4191"/>
                  </a:lnTo>
                  <a:lnTo>
                    <a:pt x="10346" y="4191"/>
                  </a:lnTo>
                  <a:lnTo>
                    <a:pt x="10346" y="4255"/>
                  </a:lnTo>
                  <a:close/>
                  <a:moveTo>
                    <a:pt x="10346" y="5046"/>
                  </a:moveTo>
                  <a:lnTo>
                    <a:pt x="10410" y="5046"/>
                  </a:lnTo>
                  <a:lnTo>
                    <a:pt x="10410" y="4982"/>
                  </a:lnTo>
                  <a:lnTo>
                    <a:pt x="10346" y="4982"/>
                  </a:lnTo>
                  <a:lnTo>
                    <a:pt x="10346" y="5046"/>
                  </a:lnTo>
                  <a:close/>
                  <a:moveTo>
                    <a:pt x="10346" y="5159"/>
                  </a:moveTo>
                  <a:lnTo>
                    <a:pt x="10410" y="5159"/>
                  </a:lnTo>
                  <a:lnTo>
                    <a:pt x="10410" y="5095"/>
                  </a:lnTo>
                  <a:lnTo>
                    <a:pt x="10346" y="5095"/>
                  </a:lnTo>
                  <a:lnTo>
                    <a:pt x="10346" y="5159"/>
                  </a:lnTo>
                  <a:close/>
                  <a:moveTo>
                    <a:pt x="10346" y="5383"/>
                  </a:moveTo>
                  <a:lnTo>
                    <a:pt x="10410" y="5383"/>
                  </a:lnTo>
                  <a:lnTo>
                    <a:pt x="10410" y="5319"/>
                  </a:lnTo>
                  <a:lnTo>
                    <a:pt x="10346" y="5319"/>
                  </a:lnTo>
                  <a:lnTo>
                    <a:pt x="10346" y="5383"/>
                  </a:lnTo>
                  <a:close/>
                  <a:moveTo>
                    <a:pt x="10346" y="5497"/>
                  </a:moveTo>
                  <a:lnTo>
                    <a:pt x="10410" y="5497"/>
                  </a:lnTo>
                  <a:lnTo>
                    <a:pt x="10410" y="5433"/>
                  </a:lnTo>
                  <a:lnTo>
                    <a:pt x="10346" y="5433"/>
                  </a:lnTo>
                  <a:lnTo>
                    <a:pt x="10346" y="5497"/>
                  </a:lnTo>
                  <a:close/>
                  <a:moveTo>
                    <a:pt x="10346" y="5610"/>
                  </a:moveTo>
                  <a:lnTo>
                    <a:pt x="10410" y="5610"/>
                  </a:lnTo>
                  <a:lnTo>
                    <a:pt x="10410" y="5546"/>
                  </a:lnTo>
                  <a:lnTo>
                    <a:pt x="10346" y="5546"/>
                  </a:lnTo>
                  <a:lnTo>
                    <a:pt x="10346" y="5610"/>
                  </a:lnTo>
                  <a:close/>
                  <a:moveTo>
                    <a:pt x="10346" y="5721"/>
                  </a:moveTo>
                  <a:lnTo>
                    <a:pt x="10410" y="5721"/>
                  </a:lnTo>
                  <a:lnTo>
                    <a:pt x="10410" y="5657"/>
                  </a:lnTo>
                  <a:lnTo>
                    <a:pt x="10346" y="5657"/>
                  </a:lnTo>
                  <a:lnTo>
                    <a:pt x="10346" y="5721"/>
                  </a:lnTo>
                  <a:close/>
                  <a:moveTo>
                    <a:pt x="10346" y="5835"/>
                  </a:moveTo>
                  <a:lnTo>
                    <a:pt x="10410" y="5835"/>
                  </a:lnTo>
                  <a:lnTo>
                    <a:pt x="10410" y="5770"/>
                  </a:lnTo>
                  <a:lnTo>
                    <a:pt x="10346" y="5770"/>
                  </a:lnTo>
                  <a:lnTo>
                    <a:pt x="10346" y="5835"/>
                  </a:lnTo>
                  <a:close/>
                  <a:moveTo>
                    <a:pt x="10346" y="5949"/>
                  </a:moveTo>
                  <a:lnTo>
                    <a:pt x="10410" y="5949"/>
                  </a:lnTo>
                  <a:lnTo>
                    <a:pt x="10410" y="5884"/>
                  </a:lnTo>
                  <a:lnTo>
                    <a:pt x="10346" y="5884"/>
                  </a:lnTo>
                  <a:lnTo>
                    <a:pt x="10346" y="5949"/>
                  </a:lnTo>
                  <a:close/>
                  <a:moveTo>
                    <a:pt x="10346" y="6062"/>
                  </a:moveTo>
                  <a:lnTo>
                    <a:pt x="10410" y="6062"/>
                  </a:lnTo>
                  <a:lnTo>
                    <a:pt x="10410" y="5997"/>
                  </a:lnTo>
                  <a:lnTo>
                    <a:pt x="10346" y="5997"/>
                  </a:lnTo>
                  <a:lnTo>
                    <a:pt x="10346" y="6062"/>
                  </a:lnTo>
                  <a:close/>
                  <a:moveTo>
                    <a:pt x="10346" y="6174"/>
                  </a:moveTo>
                  <a:lnTo>
                    <a:pt x="10410" y="6174"/>
                  </a:lnTo>
                  <a:lnTo>
                    <a:pt x="10410" y="6109"/>
                  </a:lnTo>
                  <a:lnTo>
                    <a:pt x="10346" y="6109"/>
                  </a:lnTo>
                  <a:lnTo>
                    <a:pt x="10346" y="6174"/>
                  </a:lnTo>
                  <a:close/>
                  <a:moveTo>
                    <a:pt x="10460" y="1536"/>
                  </a:moveTo>
                  <a:lnTo>
                    <a:pt x="10524" y="1536"/>
                  </a:lnTo>
                  <a:lnTo>
                    <a:pt x="10524" y="1471"/>
                  </a:lnTo>
                  <a:lnTo>
                    <a:pt x="10460" y="1471"/>
                  </a:lnTo>
                  <a:lnTo>
                    <a:pt x="10460" y="1536"/>
                  </a:lnTo>
                  <a:close/>
                  <a:moveTo>
                    <a:pt x="10460" y="1649"/>
                  </a:moveTo>
                  <a:lnTo>
                    <a:pt x="10524" y="1649"/>
                  </a:lnTo>
                  <a:lnTo>
                    <a:pt x="10524" y="1585"/>
                  </a:lnTo>
                  <a:lnTo>
                    <a:pt x="10460" y="1585"/>
                  </a:lnTo>
                  <a:lnTo>
                    <a:pt x="10460" y="1649"/>
                  </a:lnTo>
                  <a:close/>
                  <a:moveTo>
                    <a:pt x="10460" y="1766"/>
                  </a:moveTo>
                  <a:lnTo>
                    <a:pt x="10524" y="1766"/>
                  </a:lnTo>
                  <a:lnTo>
                    <a:pt x="10524" y="1702"/>
                  </a:lnTo>
                  <a:lnTo>
                    <a:pt x="10460" y="1702"/>
                  </a:lnTo>
                  <a:lnTo>
                    <a:pt x="10460" y="1766"/>
                  </a:lnTo>
                  <a:close/>
                  <a:moveTo>
                    <a:pt x="10460" y="1880"/>
                  </a:moveTo>
                  <a:lnTo>
                    <a:pt x="10524" y="1880"/>
                  </a:lnTo>
                  <a:lnTo>
                    <a:pt x="10524" y="1816"/>
                  </a:lnTo>
                  <a:lnTo>
                    <a:pt x="10460" y="1816"/>
                  </a:lnTo>
                  <a:lnTo>
                    <a:pt x="10460" y="1880"/>
                  </a:lnTo>
                  <a:close/>
                  <a:moveTo>
                    <a:pt x="10460" y="1994"/>
                  </a:moveTo>
                  <a:lnTo>
                    <a:pt x="10524" y="1994"/>
                  </a:lnTo>
                  <a:lnTo>
                    <a:pt x="10524" y="1929"/>
                  </a:lnTo>
                  <a:lnTo>
                    <a:pt x="10460" y="1929"/>
                  </a:lnTo>
                  <a:lnTo>
                    <a:pt x="10460" y="1994"/>
                  </a:lnTo>
                  <a:close/>
                  <a:moveTo>
                    <a:pt x="10460" y="2105"/>
                  </a:moveTo>
                  <a:lnTo>
                    <a:pt x="10524" y="2105"/>
                  </a:lnTo>
                  <a:lnTo>
                    <a:pt x="10524" y="2040"/>
                  </a:lnTo>
                  <a:lnTo>
                    <a:pt x="10460" y="2040"/>
                  </a:lnTo>
                  <a:lnTo>
                    <a:pt x="10460" y="2105"/>
                  </a:lnTo>
                  <a:close/>
                  <a:moveTo>
                    <a:pt x="10460" y="2218"/>
                  </a:moveTo>
                  <a:lnTo>
                    <a:pt x="10524" y="2218"/>
                  </a:lnTo>
                  <a:lnTo>
                    <a:pt x="10524" y="2153"/>
                  </a:lnTo>
                  <a:lnTo>
                    <a:pt x="10460" y="2153"/>
                  </a:lnTo>
                  <a:lnTo>
                    <a:pt x="10460" y="2218"/>
                  </a:lnTo>
                  <a:close/>
                  <a:moveTo>
                    <a:pt x="10460" y="2332"/>
                  </a:moveTo>
                  <a:lnTo>
                    <a:pt x="10524" y="2332"/>
                  </a:lnTo>
                  <a:lnTo>
                    <a:pt x="10524" y="2268"/>
                  </a:lnTo>
                  <a:lnTo>
                    <a:pt x="10460" y="2268"/>
                  </a:lnTo>
                  <a:lnTo>
                    <a:pt x="10460" y="2332"/>
                  </a:lnTo>
                  <a:close/>
                  <a:moveTo>
                    <a:pt x="10460" y="2445"/>
                  </a:moveTo>
                  <a:lnTo>
                    <a:pt x="10524" y="2445"/>
                  </a:lnTo>
                  <a:lnTo>
                    <a:pt x="10524" y="2381"/>
                  </a:lnTo>
                  <a:lnTo>
                    <a:pt x="10460" y="2381"/>
                  </a:lnTo>
                  <a:lnTo>
                    <a:pt x="10460" y="2445"/>
                  </a:lnTo>
                  <a:close/>
                  <a:moveTo>
                    <a:pt x="10460" y="2557"/>
                  </a:moveTo>
                  <a:lnTo>
                    <a:pt x="10524" y="2557"/>
                  </a:lnTo>
                  <a:lnTo>
                    <a:pt x="10524" y="2493"/>
                  </a:lnTo>
                  <a:lnTo>
                    <a:pt x="10460" y="2493"/>
                  </a:lnTo>
                  <a:lnTo>
                    <a:pt x="10460" y="2557"/>
                  </a:lnTo>
                  <a:close/>
                  <a:moveTo>
                    <a:pt x="10460" y="2670"/>
                  </a:moveTo>
                  <a:lnTo>
                    <a:pt x="10524" y="2670"/>
                  </a:lnTo>
                  <a:lnTo>
                    <a:pt x="10524" y="2606"/>
                  </a:lnTo>
                  <a:lnTo>
                    <a:pt x="10460" y="2606"/>
                  </a:lnTo>
                  <a:lnTo>
                    <a:pt x="10460" y="2670"/>
                  </a:lnTo>
                  <a:close/>
                  <a:moveTo>
                    <a:pt x="10460" y="2785"/>
                  </a:moveTo>
                  <a:lnTo>
                    <a:pt x="10524" y="2785"/>
                  </a:lnTo>
                  <a:lnTo>
                    <a:pt x="10524" y="2720"/>
                  </a:lnTo>
                  <a:lnTo>
                    <a:pt x="10460" y="2720"/>
                  </a:lnTo>
                  <a:lnTo>
                    <a:pt x="10460" y="2785"/>
                  </a:lnTo>
                  <a:close/>
                  <a:moveTo>
                    <a:pt x="10460" y="2898"/>
                  </a:moveTo>
                  <a:lnTo>
                    <a:pt x="10524" y="2898"/>
                  </a:lnTo>
                  <a:lnTo>
                    <a:pt x="10524" y="2834"/>
                  </a:lnTo>
                  <a:lnTo>
                    <a:pt x="10460" y="2834"/>
                  </a:lnTo>
                  <a:lnTo>
                    <a:pt x="10460" y="2898"/>
                  </a:lnTo>
                  <a:close/>
                  <a:moveTo>
                    <a:pt x="10460" y="3009"/>
                  </a:moveTo>
                  <a:lnTo>
                    <a:pt x="10524" y="3009"/>
                  </a:lnTo>
                  <a:lnTo>
                    <a:pt x="10524" y="2945"/>
                  </a:lnTo>
                  <a:lnTo>
                    <a:pt x="10460" y="2945"/>
                  </a:lnTo>
                  <a:lnTo>
                    <a:pt x="10460" y="3009"/>
                  </a:lnTo>
                  <a:close/>
                  <a:moveTo>
                    <a:pt x="10460" y="3122"/>
                  </a:moveTo>
                  <a:lnTo>
                    <a:pt x="10524" y="3122"/>
                  </a:lnTo>
                  <a:lnTo>
                    <a:pt x="10524" y="3058"/>
                  </a:lnTo>
                  <a:lnTo>
                    <a:pt x="10460" y="3058"/>
                  </a:lnTo>
                  <a:lnTo>
                    <a:pt x="10460" y="3122"/>
                  </a:lnTo>
                  <a:close/>
                  <a:moveTo>
                    <a:pt x="10460" y="3237"/>
                  </a:moveTo>
                  <a:lnTo>
                    <a:pt x="10524" y="3237"/>
                  </a:lnTo>
                  <a:lnTo>
                    <a:pt x="10524" y="3172"/>
                  </a:lnTo>
                  <a:lnTo>
                    <a:pt x="10460" y="3172"/>
                  </a:lnTo>
                  <a:lnTo>
                    <a:pt x="10460" y="3237"/>
                  </a:lnTo>
                  <a:close/>
                  <a:moveTo>
                    <a:pt x="10460" y="3350"/>
                  </a:moveTo>
                  <a:lnTo>
                    <a:pt x="10524" y="3350"/>
                  </a:lnTo>
                  <a:lnTo>
                    <a:pt x="10524" y="3285"/>
                  </a:lnTo>
                  <a:lnTo>
                    <a:pt x="10460" y="3285"/>
                  </a:lnTo>
                  <a:lnTo>
                    <a:pt x="10460" y="3350"/>
                  </a:lnTo>
                  <a:close/>
                  <a:moveTo>
                    <a:pt x="10460" y="3463"/>
                  </a:moveTo>
                  <a:lnTo>
                    <a:pt x="10524" y="3463"/>
                  </a:lnTo>
                  <a:lnTo>
                    <a:pt x="10524" y="3398"/>
                  </a:lnTo>
                  <a:lnTo>
                    <a:pt x="10460" y="3398"/>
                  </a:lnTo>
                  <a:lnTo>
                    <a:pt x="10460" y="3463"/>
                  </a:lnTo>
                  <a:close/>
                  <a:moveTo>
                    <a:pt x="10460" y="3576"/>
                  </a:moveTo>
                  <a:lnTo>
                    <a:pt x="10524" y="3576"/>
                  </a:lnTo>
                  <a:lnTo>
                    <a:pt x="10524" y="3512"/>
                  </a:lnTo>
                  <a:lnTo>
                    <a:pt x="10460" y="3512"/>
                  </a:lnTo>
                  <a:lnTo>
                    <a:pt x="10460" y="3576"/>
                  </a:lnTo>
                  <a:close/>
                  <a:moveTo>
                    <a:pt x="10460" y="3914"/>
                  </a:moveTo>
                  <a:lnTo>
                    <a:pt x="10524" y="3914"/>
                  </a:lnTo>
                  <a:lnTo>
                    <a:pt x="10524" y="3850"/>
                  </a:lnTo>
                  <a:lnTo>
                    <a:pt x="10460" y="3850"/>
                  </a:lnTo>
                  <a:lnTo>
                    <a:pt x="10460" y="3914"/>
                  </a:lnTo>
                  <a:close/>
                  <a:moveTo>
                    <a:pt x="10460" y="4028"/>
                  </a:moveTo>
                  <a:lnTo>
                    <a:pt x="10524" y="4028"/>
                  </a:lnTo>
                  <a:lnTo>
                    <a:pt x="10524" y="3963"/>
                  </a:lnTo>
                  <a:lnTo>
                    <a:pt x="10460" y="3963"/>
                  </a:lnTo>
                  <a:lnTo>
                    <a:pt x="10460" y="4028"/>
                  </a:lnTo>
                  <a:close/>
                  <a:moveTo>
                    <a:pt x="10460" y="5159"/>
                  </a:moveTo>
                  <a:lnTo>
                    <a:pt x="10524" y="5159"/>
                  </a:lnTo>
                  <a:lnTo>
                    <a:pt x="10524" y="5095"/>
                  </a:lnTo>
                  <a:lnTo>
                    <a:pt x="10460" y="5095"/>
                  </a:lnTo>
                  <a:lnTo>
                    <a:pt x="10460" y="5159"/>
                  </a:lnTo>
                  <a:close/>
                  <a:moveTo>
                    <a:pt x="10460" y="5383"/>
                  </a:moveTo>
                  <a:lnTo>
                    <a:pt x="10524" y="5383"/>
                  </a:lnTo>
                  <a:lnTo>
                    <a:pt x="10524" y="5319"/>
                  </a:lnTo>
                  <a:lnTo>
                    <a:pt x="10460" y="5319"/>
                  </a:lnTo>
                  <a:lnTo>
                    <a:pt x="10460" y="5383"/>
                  </a:lnTo>
                  <a:close/>
                  <a:moveTo>
                    <a:pt x="10460" y="5497"/>
                  </a:moveTo>
                  <a:lnTo>
                    <a:pt x="10524" y="5497"/>
                  </a:lnTo>
                  <a:lnTo>
                    <a:pt x="10524" y="5433"/>
                  </a:lnTo>
                  <a:lnTo>
                    <a:pt x="10460" y="5433"/>
                  </a:lnTo>
                  <a:lnTo>
                    <a:pt x="10460" y="5497"/>
                  </a:lnTo>
                  <a:close/>
                  <a:moveTo>
                    <a:pt x="10460" y="5610"/>
                  </a:moveTo>
                  <a:lnTo>
                    <a:pt x="10524" y="5610"/>
                  </a:lnTo>
                  <a:lnTo>
                    <a:pt x="10524" y="5546"/>
                  </a:lnTo>
                  <a:lnTo>
                    <a:pt x="10460" y="5546"/>
                  </a:lnTo>
                  <a:lnTo>
                    <a:pt x="10460" y="5610"/>
                  </a:lnTo>
                  <a:close/>
                  <a:moveTo>
                    <a:pt x="10460" y="5721"/>
                  </a:moveTo>
                  <a:lnTo>
                    <a:pt x="10524" y="5721"/>
                  </a:lnTo>
                  <a:lnTo>
                    <a:pt x="10524" y="5657"/>
                  </a:lnTo>
                  <a:lnTo>
                    <a:pt x="10460" y="5657"/>
                  </a:lnTo>
                  <a:lnTo>
                    <a:pt x="10460" y="5721"/>
                  </a:lnTo>
                  <a:close/>
                  <a:moveTo>
                    <a:pt x="10460" y="5835"/>
                  </a:moveTo>
                  <a:lnTo>
                    <a:pt x="10524" y="5835"/>
                  </a:lnTo>
                  <a:lnTo>
                    <a:pt x="10524" y="5770"/>
                  </a:lnTo>
                  <a:lnTo>
                    <a:pt x="10460" y="5770"/>
                  </a:lnTo>
                  <a:lnTo>
                    <a:pt x="10460" y="5835"/>
                  </a:lnTo>
                  <a:close/>
                  <a:moveTo>
                    <a:pt x="10460" y="5949"/>
                  </a:moveTo>
                  <a:lnTo>
                    <a:pt x="10524" y="5949"/>
                  </a:lnTo>
                  <a:lnTo>
                    <a:pt x="10524" y="5884"/>
                  </a:lnTo>
                  <a:lnTo>
                    <a:pt x="10460" y="5884"/>
                  </a:lnTo>
                  <a:lnTo>
                    <a:pt x="10460" y="5949"/>
                  </a:lnTo>
                  <a:close/>
                  <a:moveTo>
                    <a:pt x="10460" y="6062"/>
                  </a:moveTo>
                  <a:lnTo>
                    <a:pt x="10524" y="6062"/>
                  </a:lnTo>
                  <a:lnTo>
                    <a:pt x="10524" y="5997"/>
                  </a:lnTo>
                  <a:lnTo>
                    <a:pt x="10460" y="5997"/>
                  </a:lnTo>
                  <a:lnTo>
                    <a:pt x="10460" y="6062"/>
                  </a:lnTo>
                  <a:close/>
                  <a:moveTo>
                    <a:pt x="10460" y="6174"/>
                  </a:moveTo>
                  <a:lnTo>
                    <a:pt x="10524" y="6174"/>
                  </a:lnTo>
                  <a:lnTo>
                    <a:pt x="10524" y="6109"/>
                  </a:lnTo>
                  <a:lnTo>
                    <a:pt x="10460" y="6109"/>
                  </a:lnTo>
                  <a:lnTo>
                    <a:pt x="10460" y="6174"/>
                  </a:lnTo>
                  <a:close/>
                  <a:moveTo>
                    <a:pt x="10574" y="1422"/>
                  </a:moveTo>
                  <a:lnTo>
                    <a:pt x="10638" y="1422"/>
                  </a:lnTo>
                  <a:lnTo>
                    <a:pt x="10638" y="1358"/>
                  </a:lnTo>
                  <a:lnTo>
                    <a:pt x="10574" y="1358"/>
                  </a:lnTo>
                  <a:lnTo>
                    <a:pt x="10574" y="1422"/>
                  </a:lnTo>
                  <a:close/>
                  <a:moveTo>
                    <a:pt x="10574" y="1649"/>
                  </a:moveTo>
                  <a:lnTo>
                    <a:pt x="10638" y="1649"/>
                  </a:lnTo>
                  <a:lnTo>
                    <a:pt x="10638" y="1585"/>
                  </a:lnTo>
                  <a:lnTo>
                    <a:pt x="10574" y="1585"/>
                  </a:lnTo>
                  <a:lnTo>
                    <a:pt x="10574" y="1649"/>
                  </a:lnTo>
                  <a:close/>
                  <a:moveTo>
                    <a:pt x="10574" y="1766"/>
                  </a:moveTo>
                  <a:lnTo>
                    <a:pt x="10638" y="1766"/>
                  </a:lnTo>
                  <a:lnTo>
                    <a:pt x="10638" y="1702"/>
                  </a:lnTo>
                  <a:lnTo>
                    <a:pt x="10574" y="1702"/>
                  </a:lnTo>
                  <a:lnTo>
                    <a:pt x="10574" y="1766"/>
                  </a:lnTo>
                  <a:close/>
                  <a:moveTo>
                    <a:pt x="10574" y="1880"/>
                  </a:moveTo>
                  <a:lnTo>
                    <a:pt x="10638" y="1880"/>
                  </a:lnTo>
                  <a:lnTo>
                    <a:pt x="10638" y="1816"/>
                  </a:lnTo>
                  <a:lnTo>
                    <a:pt x="10574" y="1816"/>
                  </a:lnTo>
                  <a:lnTo>
                    <a:pt x="10574" y="1880"/>
                  </a:lnTo>
                  <a:close/>
                  <a:moveTo>
                    <a:pt x="10574" y="1994"/>
                  </a:moveTo>
                  <a:lnTo>
                    <a:pt x="10638" y="1994"/>
                  </a:lnTo>
                  <a:lnTo>
                    <a:pt x="10638" y="1929"/>
                  </a:lnTo>
                  <a:lnTo>
                    <a:pt x="10574" y="1929"/>
                  </a:lnTo>
                  <a:lnTo>
                    <a:pt x="10574" y="1994"/>
                  </a:lnTo>
                  <a:close/>
                  <a:moveTo>
                    <a:pt x="10574" y="2105"/>
                  </a:moveTo>
                  <a:lnTo>
                    <a:pt x="10638" y="2105"/>
                  </a:lnTo>
                  <a:lnTo>
                    <a:pt x="10638" y="2040"/>
                  </a:lnTo>
                  <a:lnTo>
                    <a:pt x="10574" y="2040"/>
                  </a:lnTo>
                  <a:lnTo>
                    <a:pt x="10574" y="2105"/>
                  </a:lnTo>
                  <a:close/>
                  <a:moveTo>
                    <a:pt x="10574" y="2218"/>
                  </a:moveTo>
                  <a:lnTo>
                    <a:pt x="10638" y="2218"/>
                  </a:lnTo>
                  <a:lnTo>
                    <a:pt x="10638" y="2153"/>
                  </a:lnTo>
                  <a:lnTo>
                    <a:pt x="10574" y="2153"/>
                  </a:lnTo>
                  <a:lnTo>
                    <a:pt x="10574" y="2218"/>
                  </a:lnTo>
                  <a:close/>
                  <a:moveTo>
                    <a:pt x="10574" y="2332"/>
                  </a:moveTo>
                  <a:lnTo>
                    <a:pt x="10638" y="2332"/>
                  </a:lnTo>
                  <a:lnTo>
                    <a:pt x="10638" y="2268"/>
                  </a:lnTo>
                  <a:lnTo>
                    <a:pt x="10574" y="2268"/>
                  </a:lnTo>
                  <a:lnTo>
                    <a:pt x="10574" y="2332"/>
                  </a:lnTo>
                  <a:close/>
                  <a:moveTo>
                    <a:pt x="10574" y="2445"/>
                  </a:moveTo>
                  <a:lnTo>
                    <a:pt x="10638" y="2445"/>
                  </a:lnTo>
                  <a:lnTo>
                    <a:pt x="10638" y="2381"/>
                  </a:lnTo>
                  <a:lnTo>
                    <a:pt x="10574" y="2381"/>
                  </a:lnTo>
                  <a:lnTo>
                    <a:pt x="10574" y="2445"/>
                  </a:lnTo>
                  <a:close/>
                  <a:moveTo>
                    <a:pt x="10574" y="2557"/>
                  </a:moveTo>
                  <a:lnTo>
                    <a:pt x="10638" y="2557"/>
                  </a:lnTo>
                  <a:lnTo>
                    <a:pt x="10638" y="2493"/>
                  </a:lnTo>
                  <a:lnTo>
                    <a:pt x="10574" y="2493"/>
                  </a:lnTo>
                  <a:lnTo>
                    <a:pt x="10574" y="2557"/>
                  </a:lnTo>
                  <a:close/>
                  <a:moveTo>
                    <a:pt x="10574" y="2670"/>
                  </a:moveTo>
                  <a:lnTo>
                    <a:pt x="10638" y="2670"/>
                  </a:lnTo>
                  <a:lnTo>
                    <a:pt x="10638" y="2606"/>
                  </a:lnTo>
                  <a:lnTo>
                    <a:pt x="10574" y="2606"/>
                  </a:lnTo>
                  <a:lnTo>
                    <a:pt x="10574" y="2670"/>
                  </a:lnTo>
                  <a:close/>
                  <a:moveTo>
                    <a:pt x="10574" y="2785"/>
                  </a:moveTo>
                  <a:lnTo>
                    <a:pt x="10638" y="2785"/>
                  </a:lnTo>
                  <a:lnTo>
                    <a:pt x="10638" y="2720"/>
                  </a:lnTo>
                  <a:lnTo>
                    <a:pt x="10574" y="2720"/>
                  </a:lnTo>
                  <a:lnTo>
                    <a:pt x="10574" y="2785"/>
                  </a:lnTo>
                  <a:close/>
                  <a:moveTo>
                    <a:pt x="10574" y="2898"/>
                  </a:moveTo>
                  <a:lnTo>
                    <a:pt x="10638" y="2898"/>
                  </a:lnTo>
                  <a:lnTo>
                    <a:pt x="10638" y="2834"/>
                  </a:lnTo>
                  <a:lnTo>
                    <a:pt x="10574" y="2834"/>
                  </a:lnTo>
                  <a:lnTo>
                    <a:pt x="10574" y="2898"/>
                  </a:lnTo>
                  <a:close/>
                  <a:moveTo>
                    <a:pt x="10574" y="3009"/>
                  </a:moveTo>
                  <a:lnTo>
                    <a:pt x="10638" y="3009"/>
                  </a:lnTo>
                  <a:lnTo>
                    <a:pt x="10638" y="2945"/>
                  </a:lnTo>
                  <a:lnTo>
                    <a:pt x="10574" y="2945"/>
                  </a:lnTo>
                  <a:lnTo>
                    <a:pt x="10574" y="3009"/>
                  </a:lnTo>
                  <a:close/>
                  <a:moveTo>
                    <a:pt x="10574" y="3122"/>
                  </a:moveTo>
                  <a:lnTo>
                    <a:pt x="10638" y="3122"/>
                  </a:lnTo>
                  <a:lnTo>
                    <a:pt x="10638" y="3058"/>
                  </a:lnTo>
                  <a:lnTo>
                    <a:pt x="10574" y="3058"/>
                  </a:lnTo>
                  <a:lnTo>
                    <a:pt x="10574" y="3122"/>
                  </a:lnTo>
                  <a:close/>
                  <a:moveTo>
                    <a:pt x="10574" y="3237"/>
                  </a:moveTo>
                  <a:lnTo>
                    <a:pt x="10638" y="3237"/>
                  </a:lnTo>
                  <a:lnTo>
                    <a:pt x="10638" y="3172"/>
                  </a:lnTo>
                  <a:lnTo>
                    <a:pt x="10574" y="3172"/>
                  </a:lnTo>
                  <a:lnTo>
                    <a:pt x="10574" y="3237"/>
                  </a:lnTo>
                  <a:close/>
                  <a:moveTo>
                    <a:pt x="10574" y="3350"/>
                  </a:moveTo>
                  <a:lnTo>
                    <a:pt x="10638" y="3350"/>
                  </a:lnTo>
                  <a:lnTo>
                    <a:pt x="10638" y="3285"/>
                  </a:lnTo>
                  <a:lnTo>
                    <a:pt x="10574" y="3285"/>
                  </a:lnTo>
                  <a:lnTo>
                    <a:pt x="10574" y="3350"/>
                  </a:lnTo>
                  <a:close/>
                  <a:moveTo>
                    <a:pt x="10574" y="3463"/>
                  </a:moveTo>
                  <a:lnTo>
                    <a:pt x="10638" y="3463"/>
                  </a:lnTo>
                  <a:lnTo>
                    <a:pt x="10638" y="3398"/>
                  </a:lnTo>
                  <a:lnTo>
                    <a:pt x="10574" y="3398"/>
                  </a:lnTo>
                  <a:lnTo>
                    <a:pt x="10574" y="3463"/>
                  </a:lnTo>
                  <a:close/>
                  <a:moveTo>
                    <a:pt x="10574" y="3914"/>
                  </a:moveTo>
                  <a:lnTo>
                    <a:pt x="10638" y="3914"/>
                  </a:lnTo>
                  <a:lnTo>
                    <a:pt x="10638" y="3850"/>
                  </a:lnTo>
                  <a:lnTo>
                    <a:pt x="10574" y="3850"/>
                  </a:lnTo>
                  <a:lnTo>
                    <a:pt x="10574" y="3914"/>
                  </a:lnTo>
                  <a:close/>
                  <a:moveTo>
                    <a:pt x="10574" y="5159"/>
                  </a:moveTo>
                  <a:lnTo>
                    <a:pt x="10638" y="5159"/>
                  </a:lnTo>
                  <a:lnTo>
                    <a:pt x="10638" y="5095"/>
                  </a:lnTo>
                  <a:lnTo>
                    <a:pt x="10574" y="5095"/>
                  </a:lnTo>
                  <a:lnTo>
                    <a:pt x="10574" y="5159"/>
                  </a:lnTo>
                  <a:close/>
                  <a:moveTo>
                    <a:pt x="10574" y="5270"/>
                  </a:moveTo>
                  <a:lnTo>
                    <a:pt x="10638" y="5270"/>
                  </a:lnTo>
                  <a:lnTo>
                    <a:pt x="10638" y="5205"/>
                  </a:lnTo>
                  <a:lnTo>
                    <a:pt x="10574" y="5205"/>
                  </a:lnTo>
                  <a:lnTo>
                    <a:pt x="10574" y="5270"/>
                  </a:lnTo>
                  <a:close/>
                  <a:moveTo>
                    <a:pt x="10574" y="5497"/>
                  </a:moveTo>
                  <a:lnTo>
                    <a:pt x="10638" y="5497"/>
                  </a:lnTo>
                  <a:lnTo>
                    <a:pt x="10638" y="5433"/>
                  </a:lnTo>
                  <a:lnTo>
                    <a:pt x="10574" y="5433"/>
                  </a:lnTo>
                  <a:lnTo>
                    <a:pt x="10574" y="5497"/>
                  </a:lnTo>
                  <a:close/>
                  <a:moveTo>
                    <a:pt x="10574" y="5610"/>
                  </a:moveTo>
                  <a:lnTo>
                    <a:pt x="10638" y="5610"/>
                  </a:lnTo>
                  <a:lnTo>
                    <a:pt x="10638" y="5546"/>
                  </a:lnTo>
                  <a:lnTo>
                    <a:pt x="10574" y="5546"/>
                  </a:lnTo>
                  <a:lnTo>
                    <a:pt x="10574" y="5610"/>
                  </a:lnTo>
                  <a:close/>
                  <a:moveTo>
                    <a:pt x="10574" y="5721"/>
                  </a:moveTo>
                  <a:lnTo>
                    <a:pt x="10638" y="5721"/>
                  </a:lnTo>
                  <a:lnTo>
                    <a:pt x="10638" y="5657"/>
                  </a:lnTo>
                  <a:lnTo>
                    <a:pt x="10574" y="5657"/>
                  </a:lnTo>
                  <a:lnTo>
                    <a:pt x="10574" y="5721"/>
                  </a:lnTo>
                  <a:close/>
                  <a:moveTo>
                    <a:pt x="10574" y="5835"/>
                  </a:moveTo>
                  <a:lnTo>
                    <a:pt x="10638" y="5835"/>
                  </a:lnTo>
                  <a:lnTo>
                    <a:pt x="10638" y="5770"/>
                  </a:lnTo>
                  <a:lnTo>
                    <a:pt x="10574" y="5770"/>
                  </a:lnTo>
                  <a:lnTo>
                    <a:pt x="10574" y="5835"/>
                  </a:lnTo>
                  <a:close/>
                  <a:moveTo>
                    <a:pt x="10574" y="5949"/>
                  </a:moveTo>
                  <a:lnTo>
                    <a:pt x="10638" y="5949"/>
                  </a:lnTo>
                  <a:lnTo>
                    <a:pt x="10638" y="5884"/>
                  </a:lnTo>
                  <a:lnTo>
                    <a:pt x="10574" y="5884"/>
                  </a:lnTo>
                  <a:lnTo>
                    <a:pt x="10574" y="5949"/>
                  </a:lnTo>
                  <a:close/>
                  <a:moveTo>
                    <a:pt x="10574" y="6062"/>
                  </a:moveTo>
                  <a:lnTo>
                    <a:pt x="10638" y="6062"/>
                  </a:lnTo>
                  <a:lnTo>
                    <a:pt x="10638" y="5997"/>
                  </a:lnTo>
                  <a:lnTo>
                    <a:pt x="10574" y="5997"/>
                  </a:lnTo>
                  <a:lnTo>
                    <a:pt x="10574" y="6062"/>
                  </a:lnTo>
                  <a:close/>
                  <a:moveTo>
                    <a:pt x="10574" y="6174"/>
                  </a:moveTo>
                  <a:lnTo>
                    <a:pt x="10638" y="6174"/>
                  </a:lnTo>
                  <a:lnTo>
                    <a:pt x="10638" y="6109"/>
                  </a:lnTo>
                  <a:lnTo>
                    <a:pt x="10574" y="6109"/>
                  </a:lnTo>
                  <a:lnTo>
                    <a:pt x="10574" y="6174"/>
                  </a:lnTo>
                  <a:close/>
                  <a:moveTo>
                    <a:pt x="10574" y="6287"/>
                  </a:moveTo>
                  <a:lnTo>
                    <a:pt x="10638" y="6287"/>
                  </a:lnTo>
                  <a:lnTo>
                    <a:pt x="10638" y="6223"/>
                  </a:lnTo>
                  <a:lnTo>
                    <a:pt x="10574" y="6223"/>
                  </a:lnTo>
                  <a:lnTo>
                    <a:pt x="10574" y="6287"/>
                  </a:lnTo>
                  <a:close/>
                  <a:moveTo>
                    <a:pt x="10688" y="1198"/>
                  </a:moveTo>
                  <a:lnTo>
                    <a:pt x="10753" y="1198"/>
                  </a:lnTo>
                  <a:lnTo>
                    <a:pt x="10753" y="1133"/>
                  </a:lnTo>
                  <a:lnTo>
                    <a:pt x="10688" y="1133"/>
                  </a:lnTo>
                  <a:lnTo>
                    <a:pt x="10688" y="1198"/>
                  </a:lnTo>
                  <a:close/>
                  <a:moveTo>
                    <a:pt x="10688" y="1308"/>
                  </a:moveTo>
                  <a:lnTo>
                    <a:pt x="10753" y="1308"/>
                  </a:lnTo>
                  <a:lnTo>
                    <a:pt x="10753" y="1244"/>
                  </a:lnTo>
                  <a:lnTo>
                    <a:pt x="10688" y="1244"/>
                  </a:lnTo>
                  <a:lnTo>
                    <a:pt x="10688" y="1308"/>
                  </a:lnTo>
                  <a:close/>
                  <a:moveTo>
                    <a:pt x="10688" y="1649"/>
                  </a:moveTo>
                  <a:lnTo>
                    <a:pt x="10753" y="1649"/>
                  </a:lnTo>
                  <a:lnTo>
                    <a:pt x="10753" y="1585"/>
                  </a:lnTo>
                  <a:lnTo>
                    <a:pt x="10688" y="1585"/>
                  </a:lnTo>
                  <a:lnTo>
                    <a:pt x="10688" y="1649"/>
                  </a:lnTo>
                  <a:close/>
                  <a:moveTo>
                    <a:pt x="10688" y="1766"/>
                  </a:moveTo>
                  <a:lnTo>
                    <a:pt x="10753" y="1766"/>
                  </a:lnTo>
                  <a:lnTo>
                    <a:pt x="10753" y="1702"/>
                  </a:lnTo>
                  <a:lnTo>
                    <a:pt x="10688" y="1702"/>
                  </a:lnTo>
                  <a:lnTo>
                    <a:pt x="10688" y="1766"/>
                  </a:lnTo>
                  <a:close/>
                  <a:moveTo>
                    <a:pt x="10688" y="1880"/>
                  </a:moveTo>
                  <a:lnTo>
                    <a:pt x="10753" y="1880"/>
                  </a:lnTo>
                  <a:lnTo>
                    <a:pt x="10753" y="1816"/>
                  </a:lnTo>
                  <a:lnTo>
                    <a:pt x="10688" y="1816"/>
                  </a:lnTo>
                  <a:lnTo>
                    <a:pt x="10688" y="1880"/>
                  </a:lnTo>
                  <a:close/>
                  <a:moveTo>
                    <a:pt x="10688" y="1994"/>
                  </a:moveTo>
                  <a:lnTo>
                    <a:pt x="10753" y="1994"/>
                  </a:lnTo>
                  <a:lnTo>
                    <a:pt x="10753" y="1929"/>
                  </a:lnTo>
                  <a:lnTo>
                    <a:pt x="10688" y="1929"/>
                  </a:lnTo>
                  <a:lnTo>
                    <a:pt x="10688" y="1994"/>
                  </a:lnTo>
                  <a:close/>
                  <a:moveTo>
                    <a:pt x="10688" y="2105"/>
                  </a:moveTo>
                  <a:lnTo>
                    <a:pt x="10753" y="2105"/>
                  </a:lnTo>
                  <a:lnTo>
                    <a:pt x="10753" y="2040"/>
                  </a:lnTo>
                  <a:lnTo>
                    <a:pt x="10688" y="2040"/>
                  </a:lnTo>
                  <a:lnTo>
                    <a:pt x="10688" y="2105"/>
                  </a:lnTo>
                  <a:close/>
                  <a:moveTo>
                    <a:pt x="10688" y="2218"/>
                  </a:moveTo>
                  <a:lnTo>
                    <a:pt x="10753" y="2218"/>
                  </a:lnTo>
                  <a:lnTo>
                    <a:pt x="10753" y="2153"/>
                  </a:lnTo>
                  <a:lnTo>
                    <a:pt x="10688" y="2153"/>
                  </a:lnTo>
                  <a:lnTo>
                    <a:pt x="10688" y="2218"/>
                  </a:lnTo>
                  <a:close/>
                  <a:moveTo>
                    <a:pt x="10688" y="2332"/>
                  </a:moveTo>
                  <a:lnTo>
                    <a:pt x="10753" y="2332"/>
                  </a:lnTo>
                  <a:lnTo>
                    <a:pt x="10753" y="2268"/>
                  </a:lnTo>
                  <a:lnTo>
                    <a:pt x="10688" y="2268"/>
                  </a:lnTo>
                  <a:lnTo>
                    <a:pt x="10688" y="2332"/>
                  </a:lnTo>
                  <a:close/>
                  <a:moveTo>
                    <a:pt x="10688" y="2445"/>
                  </a:moveTo>
                  <a:lnTo>
                    <a:pt x="10753" y="2445"/>
                  </a:lnTo>
                  <a:lnTo>
                    <a:pt x="10753" y="2381"/>
                  </a:lnTo>
                  <a:lnTo>
                    <a:pt x="10688" y="2381"/>
                  </a:lnTo>
                  <a:lnTo>
                    <a:pt x="10688" y="2445"/>
                  </a:lnTo>
                  <a:close/>
                  <a:moveTo>
                    <a:pt x="10688" y="2557"/>
                  </a:moveTo>
                  <a:lnTo>
                    <a:pt x="10753" y="2557"/>
                  </a:lnTo>
                  <a:lnTo>
                    <a:pt x="10753" y="2493"/>
                  </a:lnTo>
                  <a:lnTo>
                    <a:pt x="10688" y="2493"/>
                  </a:lnTo>
                  <a:lnTo>
                    <a:pt x="10688" y="2557"/>
                  </a:lnTo>
                  <a:close/>
                  <a:moveTo>
                    <a:pt x="10688" y="2670"/>
                  </a:moveTo>
                  <a:lnTo>
                    <a:pt x="10753" y="2670"/>
                  </a:lnTo>
                  <a:lnTo>
                    <a:pt x="10753" y="2606"/>
                  </a:lnTo>
                  <a:lnTo>
                    <a:pt x="10688" y="2606"/>
                  </a:lnTo>
                  <a:lnTo>
                    <a:pt x="10688" y="2670"/>
                  </a:lnTo>
                  <a:close/>
                  <a:moveTo>
                    <a:pt x="10688" y="2785"/>
                  </a:moveTo>
                  <a:lnTo>
                    <a:pt x="10753" y="2785"/>
                  </a:lnTo>
                  <a:lnTo>
                    <a:pt x="10753" y="2720"/>
                  </a:lnTo>
                  <a:lnTo>
                    <a:pt x="10688" y="2720"/>
                  </a:lnTo>
                  <a:lnTo>
                    <a:pt x="10688" y="2785"/>
                  </a:lnTo>
                  <a:close/>
                  <a:moveTo>
                    <a:pt x="10688" y="3009"/>
                  </a:moveTo>
                  <a:lnTo>
                    <a:pt x="10753" y="3009"/>
                  </a:lnTo>
                  <a:lnTo>
                    <a:pt x="10753" y="2945"/>
                  </a:lnTo>
                  <a:lnTo>
                    <a:pt x="10688" y="2945"/>
                  </a:lnTo>
                  <a:lnTo>
                    <a:pt x="10688" y="3009"/>
                  </a:lnTo>
                  <a:close/>
                  <a:moveTo>
                    <a:pt x="10688" y="3122"/>
                  </a:moveTo>
                  <a:lnTo>
                    <a:pt x="10753" y="3122"/>
                  </a:lnTo>
                  <a:lnTo>
                    <a:pt x="10753" y="3058"/>
                  </a:lnTo>
                  <a:lnTo>
                    <a:pt x="10688" y="3058"/>
                  </a:lnTo>
                  <a:lnTo>
                    <a:pt x="10688" y="3122"/>
                  </a:lnTo>
                  <a:close/>
                  <a:moveTo>
                    <a:pt x="10688" y="3237"/>
                  </a:moveTo>
                  <a:lnTo>
                    <a:pt x="10753" y="3237"/>
                  </a:lnTo>
                  <a:lnTo>
                    <a:pt x="10753" y="3172"/>
                  </a:lnTo>
                  <a:lnTo>
                    <a:pt x="10688" y="3172"/>
                  </a:lnTo>
                  <a:lnTo>
                    <a:pt x="10688" y="3237"/>
                  </a:lnTo>
                  <a:close/>
                  <a:moveTo>
                    <a:pt x="10688" y="3350"/>
                  </a:moveTo>
                  <a:lnTo>
                    <a:pt x="10753" y="3350"/>
                  </a:lnTo>
                  <a:lnTo>
                    <a:pt x="10753" y="3285"/>
                  </a:lnTo>
                  <a:lnTo>
                    <a:pt x="10688" y="3285"/>
                  </a:lnTo>
                  <a:lnTo>
                    <a:pt x="10688" y="3350"/>
                  </a:lnTo>
                  <a:close/>
                  <a:moveTo>
                    <a:pt x="10688" y="3463"/>
                  </a:moveTo>
                  <a:lnTo>
                    <a:pt x="10753" y="3463"/>
                  </a:lnTo>
                  <a:lnTo>
                    <a:pt x="10753" y="3398"/>
                  </a:lnTo>
                  <a:lnTo>
                    <a:pt x="10688" y="3398"/>
                  </a:lnTo>
                  <a:lnTo>
                    <a:pt x="10688" y="3463"/>
                  </a:lnTo>
                  <a:close/>
                  <a:moveTo>
                    <a:pt x="10688" y="3803"/>
                  </a:moveTo>
                  <a:lnTo>
                    <a:pt x="10753" y="3803"/>
                  </a:lnTo>
                  <a:lnTo>
                    <a:pt x="10753" y="3739"/>
                  </a:lnTo>
                  <a:lnTo>
                    <a:pt x="10688" y="3739"/>
                  </a:lnTo>
                  <a:lnTo>
                    <a:pt x="10688" y="3803"/>
                  </a:lnTo>
                  <a:close/>
                  <a:moveTo>
                    <a:pt x="10688" y="3914"/>
                  </a:moveTo>
                  <a:lnTo>
                    <a:pt x="10753" y="3914"/>
                  </a:lnTo>
                  <a:lnTo>
                    <a:pt x="10753" y="3850"/>
                  </a:lnTo>
                  <a:lnTo>
                    <a:pt x="10688" y="3850"/>
                  </a:lnTo>
                  <a:lnTo>
                    <a:pt x="10688" y="3914"/>
                  </a:lnTo>
                  <a:close/>
                  <a:moveTo>
                    <a:pt x="10688" y="5159"/>
                  </a:moveTo>
                  <a:lnTo>
                    <a:pt x="10753" y="5159"/>
                  </a:lnTo>
                  <a:lnTo>
                    <a:pt x="10753" y="5095"/>
                  </a:lnTo>
                  <a:lnTo>
                    <a:pt x="10688" y="5095"/>
                  </a:lnTo>
                  <a:lnTo>
                    <a:pt x="10688" y="5159"/>
                  </a:lnTo>
                  <a:close/>
                  <a:moveTo>
                    <a:pt x="10688" y="5270"/>
                  </a:moveTo>
                  <a:lnTo>
                    <a:pt x="10753" y="5270"/>
                  </a:lnTo>
                  <a:lnTo>
                    <a:pt x="10753" y="5205"/>
                  </a:lnTo>
                  <a:lnTo>
                    <a:pt x="10688" y="5205"/>
                  </a:lnTo>
                  <a:lnTo>
                    <a:pt x="10688" y="5270"/>
                  </a:lnTo>
                  <a:close/>
                  <a:moveTo>
                    <a:pt x="10688" y="5383"/>
                  </a:moveTo>
                  <a:lnTo>
                    <a:pt x="10753" y="5383"/>
                  </a:lnTo>
                  <a:lnTo>
                    <a:pt x="10753" y="5319"/>
                  </a:lnTo>
                  <a:lnTo>
                    <a:pt x="10688" y="5319"/>
                  </a:lnTo>
                  <a:lnTo>
                    <a:pt x="10688" y="5383"/>
                  </a:lnTo>
                  <a:close/>
                  <a:moveTo>
                    <a:pt x="10688" y="5721"/>
                  </a:moveTo>
                  <a:lnTo>
                    <a:pt x="10753" y="5721"/>
                  </a:lnTo>
                  <a:lnTo>
                    <a:pt x="10753" y="5657"/>
                  </a:lnTo>
                  <a:lnTo>
                    <a:pt x="10688" y="5657"/>
                  </a:lnTo>
                  <a:lnTo>
                    <a:pt x="10688" y="5721"/>
                  </a:lnTo>
                  <a:close/>
                  <a:moveTo>
                    <a:pt x="10688" y="5835"/>
                  </a:moveTo>
                  <a:lnTo>
                    <a:pt x="10753" y="5835"/>
                  </a:lnTo>
                  <a:lnTo>
                    <a:pt x="10753" y="5770"/>
                  </a:lnTo>
                  <a:lnTo>
                    <a:pt x="10688" y="5770"/>
                  </a:lnTo>
                  <a:lnTo>
                    <a:pt x="10688" y="5835"/>
                  </a:lnTo>
                  <a:close/>
                  <a:moveTo>
                    <a:pt x="10688" y="5949"/>
                  </a:moveTo>
                  <a:lnTo>
                    <a:pt x="10753" y="5949"/>
                  </a:lnTo>
                  <a:lnTo>
                    <a:pt x="10753" y="5884"/>
                  </a:lnTo>
                  <a:lnTo>
                    <a:pt x="10688" y="5884"/>
                  </a:lnTo>
                  <a:lnTo>
                    <a:pt x="10688" y="5949"/>
                  </a:lnTo>
                  <a:close/>
                  <a:moveTo>
                    <a:pt x="10688" y="6062"/>
                  </a:moveTo>
                  <a:lnTo>
                    <a:pt x="10753" y="6062"/>
                  </a:lnTo>
                  <a:lnTo>
                    <a:pt x="10753" y="5997"/>
                  </a:lnTo>
                  <a:lnTo>
                    <a:pt x="10688" y="5997"/>
                  </a:lnTo>
                  <a:lnTo>
                    <a:pt x="10688" y="6062"/>
                  </a:lnTo>
                  <a:close/>
                  <a:moveTo>
                    <a:pt x="10688" y="6174"/>
                  </a:moveTo>
                  <a:lnTo>
                    <a:pt x="10753" y="6174"/>
                  </a:lnTo>
                  <a:lnTo>
                    <a:pt x="10753" y="6109"/>
                  </a:lnTo>
                  <a:lnTo>
                    <a:pt x="10688" y="6109"/>
                  </a:lnTo>
                  <a:lnTo>
                    <a:pt x="10688" y="6174"/>
                  </a:lnTo>
                  <a:close/>
                  <a:moveTo>
                    <a:pt x="10688" y="6287"/>
                  </a:moveTo>
                  <a:lnTo>
                    <a:pt x="10753" y="6287"/>
                  </a:lnTo>
                  <a:lnTo>
                    <a:pt x="10753" y="6223"/>
                  </a:lnTo>
                  <a:lnTo>
                    <a:pt x="10688" y="6223"/>
                  </a:lnTo>
                  <a:lnTo>
                    <a:pt x="10688" y="6287"/>
                  </a:lnTo>
                  <a:close/>
                  <a:moveTo>
                    <a:pt x="10688" y="6401"/>
                  </a:moveTo>
                  <a:lnTo>
                    <a:pt x="10753" y="6401"/>
                  </a:lnTo>
                  <a:lnTo>
                    <a:pt x="10753" y="6337"/>
                  </a:lnTo>
                  <a:lnTo>
                    <a:pt x="10688" y="6337"/>
                  </a:lnTo>
                  <a:lnTo>
                    <a:pt x="10688" y="6401"/>
                  </a:lnTo>
                  <a:close/>
                  <a:moveTo>
                    <a:pt x="10800" y="1198"/>
                  </a:moveTo>
                  <a:lnTo>
                    <a:pt x="10864" y="1198"/>
                  </a:lnTo>
                  <a:lnTo>
                    <a:pt x="10864" y="1133"/>
                  </a:lnTo>
                  <a:lnTo>
                    <a:pt x="10800" y="1133"/>
                  </a:lnTo>
                  <a:lnTo>
                    <a:pt x="10800" y="1198"/>
                  </a:lnTo>
                  <a:close/>
                  <a:moveTo>
                    <a:pt x="10800" y="1422"/>
                  </a:moveTo>
                  <a:lnTo>
                    <a:pt x="10864" y="1422"/>
                  </a:lnTo>
                  <a:lnTo>
                    <a:pt x="10864" y="1358"/>
                  </a:lnTo>
                  <a:lnTo>
                    <a:pt x="10800" y="1358"/>
                  </a:lnTo>
                  <a:lnTo>
                    <a:pt x="10800" y="1422"/>
                  </a:lnTo>
                  <a:close/>
                  <a:moveTo>
                    <a:pt x="10800" y="1536"/>
                  </a:moveTo>
                  <a:lnTo>
                    <a:pt x="10864" y="1536"/>
                  </a:lnTo>
                  <a:lnTo>
                    <a:pt x="10864" y="1471"/>
                  </a:lnTo>
                  <a:lnTo>
                    <a:pt x="10800" y="1471"/>
                  </a:lnTo>
                  <a:lnTo>
                    <a:pt x="10800" y="1536"/>
                  </a:lnTo>
                  <a:close/>
                  <a:moveTo>
                    <a:pt x="10800" y="1649"/>
                  </a:moveTo>
                  <a:lnTo>
                    <a:pt x="10864" y="1649"/>
                  </a:lnTo>
                  <a:lnTo>
                    <a:pt x="10864" y="1585"/>
                  </a:lnTo>
                  <a:lnTo>
                    <a:pt x="10800" y="1585"/>
                  </a:lnTo>
                  <a:lnTo>
                    <a:pt x="10800" y="1649"/>
                  </a:lnTo>
                  <a:close/>
                  <a:moveTo>
                    <a:pt x="10800" y="1766"/>
                  </a:moveTo>
                  <a:lnTo>
                    <a:pt x="10864" y="1766"/>
                  </a:lnTo>
                  <a:lnTo>
                    <a:pt x="10864" y="1702"/>
                  </a:lnTo>
                  <a:lnTo>
                    <a:pt x="10800" y="1702"/>
                  </a:lnTo>
                  <a:lnTo>
                    <a:pt x="10800" y="1766"/>
                  </a:lnTo>
                  <a:close/>
                  <a:moveTo>
                    <a:pt x="10800" y="1880"/>
                  </a:moveTo>
                  <a:lnTo>
                    <a:pt x="10864" y="1880"/>
                  </a:lnTo>
                  <a:lnTo>
                    <a:pt x="10864" y="1816"/>
                  </a:lnTo>
                  <a:lnTo>
                    <a:pt x="10800" y="1816"/>
                  </a:lnTo>
                  <a:lnTo>
                    <a:pt x="10800" y="1880"/>
                  </a:lnTo>
                  <a:close/>
                  <a:moveTo>
                    <a:pt x="10800" y="1994"/>
                  </a:moveTo>
                  <a:lnTo>
                    <a:pt x="10864" y="1994"/>
                  </a:lnTo>
                  <a:lnTo>
                    <a:pt x="10864" y="1929"/>
                  </a:lnTo>
                  <a:lnTo>
                    <a:pt x="10800" y="1929"/>
                  </a:lnTo>
                  <a:lnTo>
                    <a:pt x="10800" y="1994"/>
                  </a:lnTo>
                  <a:close/>
                  <a:moveTo>
                    <a:pt x="10800" y="2105"/>
                  </a:moveTo>
                  <a:lnTo>
                    <a:pt x="10864" y="2105"/>
                  </a:lnTo>
                  <a:lnTo>
                    <a:pt x="10864" y="2040"/>
                  </a:lnTo>
                  <a:lnTo>
                    <a:pt x="10800" y="2040"/>
                  </a:lnTo>
                  <a:lnTo>
                    <a:pt x="10800" y="2105"/>
                  </a:lnTo>
                  <a:close/>
                  <a:moveTo>
                    <a:pt x="10800" y="2218"/>
                  </a:moveTo>
                  <a:lnTo>
                    <a:pt x="10864" y="2218"/>
                  </a:lnTo>
                  <a:lnTo>
                    <a:pt x="10864" y="2153"/>
                  </a:lnTo>
                  <a:lnTo>
                    <a:pt x="10800" y="2153"/>
                  </a:lnTo>
                  <a:lnTo>
                    <a:pt x="10800" y="2218"/>
                  </a:lnTo>
                  <a:close/>
                  <a:moveTo>
                    <a:pt x="10800" y="2332"/>
                  </a:moveTo>
                  <a:lnTo>
                    <a:pt x="10864" y="2332"/>
                  </a:lnTo>
                  <a:lnTo>
                    <a:pt x="10864" y="2268"/>
                  </a:lnTo>
                  <a:lnTo>
                    <a:pt x="10800" y="2268"/>
                  </a:lnTo>
                  <a:lnTo>
                    <a:pt x="10800" y="2332"/>
                  </a:lnTo>
                  <a:close/>
                  <a:moveTo>
                    <a:pt x="10800" y="2445"/>
                  </a:moveTo>
                  <a:lnTo>
                    <a:pt x="10864" y="2445"/>
                  </a:lnTo>
                  <a:lnTo>
                    <a:pt x="10864" y="2381"/>
                  </a:lnTo>
                  <a:lnTo>
                    <a:pt x="10800" y="2381"/>
                  </a:lnTo>
                  <a:lnTo>
                    <a:pt x="10800" y="2445"/>
                  </a:lnTo>
                  <a:close/>
                  <a:moveTo>
                    <a:pt x="10800" y="2557"/>
                  </a:moveTo>
                  <a:lnTo>
                    <a:pt x="10864" y="2557"/>
                  </a:lnTo>
                  <a:lnTo>
                    <a:pt x="10864" y="2493"/>
                  </a:lnTo>
                  <a:lnTo>
                    <a:pt x="10800" y="2493"/>
                  </a:lnTo>
                  <a:lnTo>
                    <a:pt x="10800" y="2557"/>
                  </a:lnTo>
                  <a:close/>
                  <a:moveTo>
                    <a:pt x="10800" y="2670"/>
                  </a:moveTo>
                  <a:lnTo>
                    <a:pt x="10864" y="2670"/>
                  </a:lnTo>
                  <a:lnTo>
                    <a:pt x="10864" y="2606"/>
                  </a:lnTo>
                  <a:lnTo>
                    <a:pt x="10800" y="2606"/>
                  </a:lnTo>
                  <a:lnTo>
                    <a:pt x="10800" y="2670"/>
                  </a:lnTo>
                  <a:close/>
                  <a:moveTo>
                    <a:pt x="10800" y="3009"/>
                  </a:moveTo>
                  <a:lnTo>
                    <a:pt x="10864" y="3009"/>
                  </a:lnTo>
                  <a:lnTo>
                    <a:pt x="10864" y="2945"/>
                  </a:lnTo>
                  <a:lnTo>
                    <a:pt x="10800" y="2945"/>
                  </a:lnTo>
                  <a:lnTo>
                    <a:pt x="10800" y="3009"/>
                  </a:lnTo>
                  <a:close/>
                  <a:moveTo>
                    <a:pt x="10800" y="3122"/>
                  </a:moveTo>
                  <a:lnTo>
                    <a:pt x="10864" y="3122"/>
                  </a:lnTo>
                  <a:lnTo>
                    <a:pt x="10864" y="3058"/>
                  </a:lnTo>
                  <a:lnTo>
                    <a:pt x="10800" y="3058"/>
                  </a:lnTo>
                  <a:lnTo>
                    <a:pt x="10800" y="3122"/>
                  </a:lnTo>
                  <a:close/>
                  <a:moveTo>
                    <a:pt x="10800" y="3237"/>
                  </a:moveTo>
                  <a:lnTo>
                    <a:pt x="10864" y="3237"/>
                  </a:lnTo>
                  <a:lnTo>
                    <a:pt x="10864" y="3172"/>
                  </a:lnTo>
                  <a:lnTo>
                    <a:pt x="10800" y="3172"/>
                  </a:lnTo>
                  <a:lnTo>
                    <a:pt x="10800" y="3237"/>
                  </a:lnTo>
                  <a:close/>
                  <a:moveTo>
                    <a:pt x="10800" y="3350"/>
                  </a:moveTo>
                  <a:lnTo>
                    <a:pt x="10864" y="3350"/>
                  </a:lnTo>
                  <a:lnTo>
                    <a:pt x="10864" y="3285"/>
                  </a:lnTo>
                  <a:lnTo>
                    <a:pt x="10800" y="3285"/>
                  </a:lnTo>
                  <a:lnTo>
                    <a:pt x="10800" y="3350"/>
                  </a:lnTo>
                  <a:close/>
                  <a:moveTo>
                    <a:pt x="10800" y="3463"/>
                  </a:moveTo>
                  <a:lnTo>
                    <a:pt x="10864" y="3463"/>
                  </a:lnTo>
                  <a:lnTo>
                    <a:pt x="10864" y="3398"/>
                  </a:lnTo>
                  <a:lnTo>
                    <a:pt x="10800" y="3398"/>
                  </a:lnTo>
                  <a:lnTo>
                    <a:pt x="10800" y="3463"/>
                  </a:lnTo>
                  <a:close/>
                  <a:moveTo>
                    <a:pt x="10800" y="3576"/>
                  </a:moveTo>
                  <a:lnTo>
                    <a:pt x="10864" y="3576"/>
                  </a:lnTo>
                  <a:lnTo>
                    <a:pt x="10864" y="3512"/>
                  </a:lnTo>
                  <a:lnTo>
                    <a:pt x="10800" y="3512"/>
                  </a:lnTo>
                  <a:lnTo>
                    <a:pt x="10800" y="3576"/>
                  </a:lnTo>
                  <a:close/>
                  <a:moveTo>
                    <a:pt x="10800" y="3690"/>
                  </a:moveTo>
                  <a:lnTo>
                    <a:pt x="10864" y="3690"/>
                  </a:lnTo>
                  <a:lnTo>
                    <a:pt x="10864" y="3626"/>
                  </a:lnTo>
                  <a:lnTo>
                    <a:pt x="10800" y="3626"/>
                  </a:lnTo>
                  <a:lnTo>
                    <a:pt x="10800" y="3690"/>
                  </a:lnTo>
                  <a:close/>
                  <a:moveTo>
                    <a:pt x="10800" y="3803"/>
                  </a:moveTo>
                  <a:lnTo>
                    <a:pt x="10864" y="3803"/>
                  </a:lnTo>
                  <a:lnTo>
                    <a:pt x="10864" y="3739"/>
                  </a:lnTo>
                  <a:lnTo>
                    <a:pt x="10800" y="3739"/>
                  </a:lnTo>
                  <a:lnTo>
                    <a:pt x="10800" y="3803"/>
                  </a:lnTo>
                  <a:close/>
                  <a:moveTo>
                    <a:pt x="10800" y="5159"/>
                  </a:moveTo>
                  <a:lnTo>
                    <a:pt x="10864" y="5159"/>
                  </a:lnTo>
                  <a:lnTo>
                    <a:pt x="10864" y="5095"/>
                  </a:lnTo>
                  <a:lnTo>
                    <a:pt x="10800" y="5095"/>
                  </a:lnTo>
                  <a:lnTo>
                    <a:pt x="10800" y="5159"/>
                  </a:lnTo>
                  <a:close/>
                  <a:moveTo>
                    <a:pt x="10800" y="5270"/>
                  </a:moveTo>
                  <a:lnTo>
                    <a:pt x="10864" y="5270"/>
                  </a:lnTo>
                  <a:lnTo>
                    <a:pt x="10864" y="5205"/>
                  </a:lnTo>
                  <a:lnTo>
                    <a:pt x="10800" y="5205"/>
                  </a:lnTo>
                  <a:lnTo>
                    <a:pt x="10800" y="5270"/>
                  </a:lnTo>
                  <a:close/>
                  <a:moveTo>
                    <a:pt x="10800" y="5383"/>
                  </a:moveTo>
                  <a:lnTo>
                    <a:pt x="10864" y="5383"/>
                  </a:lnTo>
                  <a:lnTo>
                    <a:pt x="10864" y="5319"/>
                  </a:lnTo>
                  <a:lnTo>
                    <a:pt x="10800" y="5319"/>
                  </a:lnTo>
                  <a:lnTo>
                    <a:pt x="10800" y="5383"/>
                  </a:lnTo>
                  <a:close/>
                  <a:moveTo>
                    <a:pt x="10800" y="5497"/>
                  </a:moveTo>
                  <a:lnTo>
                    <a:pt x="10864" y="5497"/>
                  </a:lnTo>
                  <a:lnTo>
                    <a:pt x="10864" y="5433"/>
                  </a:lnTo>
                  <a:lnTo>
                    <a:pt x="10800" y="5433"/>
                  </a:lnTo>
                  <a:lnTo>
                    <a:pt x="10800" y="5497"/>
                  </a:lnTo>
                  <a:close/>
                  <a:moveTo>
                    <a:pt x="10800" y="5610"/>
                  </a:moveTo>
                  <a:lnTo>
                    <a:pt x="10864" y="5610"/>
                  </a:lnTo>
                  <a:lnTo>
                    <a:pt x="10864" y="5546"/>
                  </a:lnTo>
                  <a:lnTo>
                    <a:pt x="10800" y="5546"/>
                  </a:lnTo>
                  <a:lnTo>
                    <a:pt x="10800" y="5610"/>
                  </a:lnTo>
                  <a:close/>
                  <a:moveTo>
                    <a:pt x="10800" y="5721"/>
                  </a:moveTo>
                  <a:lnTo>
                    <a:pt x="10864" y="5721"/>
                  </a:lnTo>
                  <a:lnTo>
                    <a:pt x="10864" y="5657"/>
                  </a:lnTo>
                  <a:lnTo>
                    <a:pt x="10800" y="5657"/>
                  </a:lnTo>
                  <a:lnTo>
                    <a:pt x="10800" y="5721"/>
                  </a:lnTo>
                  <a:close/>
                  <a:moveTo>
                    <a:pt x="10800" y="5835"/>
                  </a:moveTo>
                  <a:lnTo>
                    <a:pt x="10864" y="5835"/>
                  </a:lnTo>
                  <a:lnTo>
                    <a:pt x="10864" y="5770"/>
                  </a:lnTo>
                  <a:lnTo>
                    <a:pt x="10800" y="5770"/>
                  </a:lnTo>
                  <a:lnTo>
                    <a:pt x="10800" y="5835"/>
                  </a:lnTo>
                  <a:close/>
                  <a:moveTo>
                    <a:pt x="10800" y="5949"/>
                  </a:moveTo>
                  <a:lnTo>
                    <a:pt x="10864" y="5949"/>
                  </a:lnTo>
                  <a:lnTo>
                    <a:pt x="10864" y="5884"/>
                  </a:lnTo>
                  <a:lnTo>
                    <a:pt x="10800" y="5884"/>
                  </a:lnTo>
                  <a:lnTo>
                    <a:pt x="10800" y="5949"/>
                  </a:lnTo>
                  <a:close/>
                  <a:moveTo>
                    <a:pt x="10800" y="6062"/>
                  </a:moveTo>
                  <a:lnTo>
                    <a:pt x="10864" y="6062"/>
                  </a:lnTo>
                  <a:lnTo>
                    <a:pt x="10864" y="5997"/>
                  </a:lnTo>
                  <a:lnTo>
                    <a:pt x="10800" y="5997"/>
                  </a:lnTo>
                  <a:lnTo>
                    <a:pt x="10800" y="6062"/>
                  </a:lnTo>
                  <a:close/>
                  <a:moveTo>
                    <a:pt x="10800" y="6174"/>
                  </a:moveTo>
                  <a:lnTo>
                    <a:pt x="10864" y="6174"/>
                  </a:lnTo>
                  <a:lnTo>
                    <a:pt x="10864" y="6109"/>
                  </a:lnTo>
                  <a:lnTo>
                    <a:pt x="10800" y="6109"/>
                  </a:lnTo>
                  <a:lnTo>
                    <a:pt x="10800" y="6174"/>
                  </a:lnTo>
                  <a:close/>
                  <a:moveTo>
                    <a:pt x="10800" y="6287"/>
                  </a:moveTo>
                  <a:lnTo>
                    <a:pt x="10864" y="6287"/>
                  </a:lnTo>
                  <a:lnTo>
                    <a:pt x="10864" y="6223"/>
                  </a:lnTo>
                  <a:lnTo>
                    <a:pt x="10800" y="6223"/>
                  </a:lnTo>
                  <a:lnTo>
                    <a:pt x="10800" y="6287"/>
                  </a:lnTo>
                  <a:close/>
                  <a:moveTo>
                    <a:pt x="10800" y="6401"/>
                  </a:moveTo>
                  <a:lnTo>
                    <a:pt x="10864" y="6401"/>
                  </a:lnTo>
                  <a:lnTo>
                    <a:pt x="10864" y="6337"/>
                  </a:lnTo>
                  <a:lnTo>
                    <a:pt x="10800" y="6337"/>
                  </a:lnTo>
                  <a:lnTo>
                    <a:pt x="10800" y="6401"/>
                  </a:lnTo>
                  <a:close/>
                  <a:moveTo>
                    <a:pt x="10800" y="6514"/>
                  </a:moveTo>
                  <a:lnTo>
                    <a:pt x="10864" y="6514"/>
                  </a:lnTo>
                  <a:lnTo>
                    <a:pt x="10864" y="6450"/>
                  </a:lnTo>
                  <a:lnTo>
                    <a:pt x="10800" y="6450"/>
                  </a:lnTo>
                  <a:lnTo>
                    <a:pt x="10800" y="6514"/>
                  </a:lnTo>
                  <a:close/>
                  <a:moveTo>
                    <a:pt x="10914" y="1198"/>
                  </a:moveTo>
                  <a:lnTo>
                    <a:pt x="10979" y="1198"/>
                  </a:lnTo>
                  <a:lnTo>
                    <a:pt x="10979" y="1133"/>
                  </a:lnTo>
                  <a:lnTo>
                    <a:pt x="10914" y="1133"/>
                  </a:lnTo>
                  <a:lnTo>
                    <a:pt x="10914" y="1198"/>
                  </a:lnTo>
                  <a:close/>
                  <a:moveTo>
                    <a:pt x="10914" y="1536"/>
                  </a:moveTo>
                  <a:lnTo>
                    <a:pt x="10979" y="1536"/>
                  </a:lnTo>
                  <a:lnTo>
                    <a:pt x="10979" y="1471"/>
                  </a:lnTo>
                  <a:lnTo>
                    <a:pt x="10914" y="1471"/>
                  </a:lnTo>
                  <a:lnTo>
                    <a:pt x="10914" y="1536"/>
                  </a:lnTo>
                  <a:close/>
                  <a:moveTo>
                    <a:pt x="10914" y="1649"/>
                  </a:moveTo>
                  <a:lnTo>
                    <a:pt x="10979" y="1649"/>
                  </a:lnTo>
                  <a:lnTo>
                    <a:pt x="10979" y="1585"/>
                  </a:lnTo>
                  <a:lnTo>
                    <a:pt x="10914" y="1585"/>
                  </a:lnTo>
                  <a:lnTo>
                    <a:pt x="10914" y="1649"/>
                  </a:lnTo>
                  <a:close/>
                  <a:moveTo>
                    <a:pt x="10914" y="1766"/>
                  </a:moveTo>
                  <a:lnTo>
                    <a:pt x="10979" y="1766"/>
                  </a:lnTo>
                  <a:lnTo>
                    <a:pt x="10979" y="1702"/>
                  </a:lnTo>
                  <a:lnTo>
                    <a:pt x="10914" y="1702"/>
                  </a:lnTo>
                  <a:lnTo>
                    <a:pt x="10914" y="1766"/>
                  </a:lnTo>
                  <a:close/>
                  <a:moveTo>
                    <a:pt x="10914" y="1880"/>
                  </a:moveTo>
                  <a:lnTo>
                    <a:pt x="10979" y="1880"/>
                  </a:lnTo>
                  <a:lnTo>
                    <a:pt x="10979" y="1816"/>
                  </a:lnTo>
                  <a:lnTo>
                    <a:pt x="10914" y="1816"/>
                  </a:lnTo>
                  <a:lnTo>
                    <a:pt x="10914" y="1880"/>
                  </a:lnTo>
                  <a:close/>
                  <a:moveTo>
                    <a:pt x="10914" y="1994"/>
                  </a:moveTo>
                  <a:lnTo>
                    <a:pt x="10979" y="1994"/>
                  </a:lnTo>
                  <a:lnTo>
                    <a:pt x="10979" y="1929"/>
                  </a:lnTo>
                  <a:lnTo>
                    <a:pt x="10914" y="1929"/>
                  </a:lnTo>
                  <a:lnTo>
                    <a:pt x="10914" y="1994"/>
                  </a:lnTo>
                  <a:close/>
                  <a:moveTo>
                    <a:pt x="10914" y="2105"/>
                  </a:moveTo>
                  <a:lnTo>
                    <a:pt x="10979" y="2105"/>
                  </a:lnTo>
                  <a:lnTo>
                    <a:pt x="10979" y="2040"/>
                  </a:lnTo>
                  <a:lnTo>
                    <a:pt x="10914" y="2040"/>
                  </a:lnTo>
                  <a:lnTo>
                    <a:pt x="10914" y="2105"/>
                  </a:lnTo>
                  <a:close/>
                  <a:moveTo>
                    <a:pt x="10914" y="2218"/>
                  </a:moveTo>
                  <a:lnTo>
                    <a:pt x="10979" y="2218"/>
                  </a:lnTo>
                  <a:lnTo>
                    <a:pt x="10979" y="2153"/>
                  </a:lnTo>
                  <a:lnTo>
                    <a:pt x="10914" y="2153"/>
                  </a:lnTo>
                  <a:lnTo>
                    <a:pt x="10914" y="2218"/>
                  </a:lnTo>
                  <a:close/>
                  <a:moveTo>
                    <a:pt x="10914" y="2332"/>
                  </a:moveTo>
                  <a:lnTo>
                    <a:pt x="10979" y="2332"/>
                  </a:lnTo>
                  <a:lnTo>
                    <a:pt x="10979" y="2268"/>
                  </a:lnTo>
                  <a:lnTo>
                    <a:pt x="10914" y="2268"/>
                  </a:lnTo>
                  <a:lnTo>
                    <a:pt x="10914" y="2332"/>
                  </a:lnTo>
                  <a:close/>
                  <a:moveTo>
                    <a:pt x="10914" y="2445"/>
                  </a:moveTo>
                  <a:lnTo>
                    <a:pt x="10979" y="2445"/>
                  </a:lnTo>
                  <a:lnTo>
                    <a:pt x="10979" y="2381"/>
                  </a:lnTo>
                  <a:lnTo>
                    <a:pt x="10914" y="2381"/>
                  </a:lnTo>
                  <a:lnTo>
                    <a:pt x="10914" y="2445"/>
                  </a:lnTo>
                  <a:close/>
                  <a:moveTo>
                    <a:pt x="10914" y="2557"/>
                  </a:moveTo>
                  <a:lnTo>
                    <a:pt x="10979" y="2557"/>
                  </a:lnTo>
                  <a:lnTo>
                    <a:pt x="10979" y="2493"/>
                  </a:lnTo>
                  <a:lnTo>
                    <a:pt x="10914" y="2493"/>
                  </a:lnTo>
                  <a:lnTo>
                    <a:pt x="10914" y="2557"/>
                  </a:lnTo>
                  <a:close/>
                  <a:moveTo>
                    <a:pt x="10914" y="2670"/>
                  </a:moveTo>
                  <a:lnTo>
                    <a:pt x="10979" y="2670"/>
                  </a:lnTo>
                  <a:lnTo>
                    <a:pt x="10979" y="2606"/>
                  </a:lnTo>
                  <a:lnTo>
                    <a:pt x="10914" y="2606"/>
                  </a:lnTo>
                  <a:lnTo>
                    <a:pt x="10914" y="2670"/>
                  </a:lnTo>
                  <a:close/>
                  <a:moveTo>
                    <a:pt x="10914" y="3237"/>
                  </a:moveTo>
                  <a:lnTo>
                    <a:pt x="10979" y="3237"/>
                  </a:lnTo>
                  <a:lnTo>
                    <a:pt x="10979" y="3172"/>
                  </a:lnTo>
                  <a:lnTo>
                    <a:pt x="10914" y="3172"/>
                  </a:lnTo>
                  <a:lnTo>
                    <a:pt x="10914" y="3237"/>
                  </a:lnTo>
                  <a:close/>
                  <a:moveTo>
                    <a:pt x="10914" y="3463"/>
                  </a:moveTo>
                  <a:lnTo>
                    <a:pt x="10979" y="3463"/>
                  </a:lnTo>
                  <a:lnTo>
                    <a:pt x="10979" y="3398"/>
                  </a:lnTo>
                  <a:lnTo>
                    <a:pt x="10914" y="3398"/>
                  </a:lnTo>
                  <a:lnTo>
                    <a:pt x="10914" y="3463"/>
                  </a:lnTo>
                  <a:close/>
                  <a:moveTo>
                    <a:pt x="10914" y="5270"/>
                  </a:moveTo>
                  <a:lnTo>
                    <a:pt x="10979" y="5270"/>
                  </a:lnTo>
                  <a:lnTo>
                    <a:pt x="10979" y="5205"/>
                  </a:lnTo>
                  <a:lnTo>
                    <a:pt x="10914" y="5205"/>
                  </a:lnTo>
                  <a:lnTo>
                    <a:pt x="10914" y="5270"/>
                  </a:lnTo>
                  <a:close/>
                  <a:moveTo>
                    <a:pt x="10914" y="5383"/>
                  </a:moveTo>
                  <a:lnTo>
                    <a:pt x="10979" y="5383"/>
                  </a:lnTo>
                  <a:lnTo>
                    <a:pt x="10979" y="5319"/>
                  </a:lnTo>
                  <a:lnTo>
                    <a:pt x="10914" y="5319"/>
                  </a:lnTo>
                  <a:lnTo>
                    <a:pt x="10914" y="5383"/>
                  </a:lnTo>
                  <a:close/>
                  <a:moveTo>
                    <a:pt x="10914" y="5610"/>
                  </a:moveTo>
                  <a:lnTo>
                    <a:pt x="10979" y="5610"/>
                  </a:lnTo>
                  <a:lnTo>
                    <a:pt x="10979" y="5546"/>
                  </a:lnTo>
                  <a:lnTo>
                    <a:pt x="10914" y="5546"/>
                  </a:lnTo>
                  <a:lnTo>
                    <a:pt x="10914" y="5610"/>
                  </a:lnTo>
                  <a:close/>
                  <a:moveTo>
                    <a:pt x="10914" y="5721"/>
                  </a:moveTo>
                  <a:lnTo>
                    <a:pt x="10979" y="5721"/>
                  </a:lnTo>
                  <a:lnTo>
                    <a:pt x="10979" y="5657"/>
                  </a:lnTo>
                  <a:lnTo>
                    <a:pt x="10914" y="5657"/>
                  </a:lnTo>
                  <a:lnTo>
                    <a:pt x="10914" y="5721"/>
                  </a:lnTo>
                  <a:close/>
                  <a:moveTo>
                    <a:pt x="10914" y="5835"/>
                  </a:moveTo>
                  <a:lnTo>
                    <a:pt x="10979" y="5835"/>
                  </a:lnTo>
                  <a:lnTo>
                    <a:pt x="10979" y="5770"/>
                  </a:lnTo>
                  <a:lnTo>
                    <a:pt x="10914" y="5770"/>
                  </a:lnTo>
                  <a:lnTo>
                    <a:pt x="10914" y="5835"/>
                  </a:lnTo>
                  <a:close/>
                  <a:moveTo>
                    <a:pt x="10914" y="5949"/>
                  </a:moveTo>
                  <a:lnTo>
                    <a:pt x="10979" y="5949"/>
                  </a:lnTo>
                  <a:lnTo>
                    <a:pt x="10979" y="5884"/>
                  </a:lnTo>
                  <a:lnTo>
                    <a:pt x="10914" y="5884"/>
                  </a:lnTo>
                  <a:lnTo>
                    <a:pt x="10914" y="5949"/>
                  </a:lnTo>
                  <a:close/>
                  <a:moveTo>
                    <a:pt x="10914" y="6062"/>
                  </a:moveTo>
                  <a:lnTo>
                    <a:pt x="10979" y="6062"/>
                  </a:lnTo>
                  <a:lnTo>
                    <a:pt x="10979" y="5997"/>
                  </a:lnTo>
                  <a:lnTo>
                    <a:pt x="10914" y="5997"/>
                  </a:lnTo>
                  <a:lnTo>
                    <a:pt x="10914" y="6062"/>
                  </a:lnTo>
                  <a:close/>
                  <a:moveTo>
                    <a:pt x="10914" y="6174"/>
                  </a:moveTo>
                  <a:lnTo>
                    <a:pt x="10979" y="6174"/>
                  </a:lnTo>
                  <a:lnTo>
                    <a:pt x="10979" y="6109"/>
                  </a:lnTo>
                  <a:lnTo>
                    <a:pt x="10914" y="6109"/>
                  </a:lnTo>
                  <a:lnTo>
                    <a:pt x="10914" y="6174"/>
                  </a:lnTo>
                  <a:close/>
                  <a:moveTo>
                    <a:pt x="10914" y="6287"/>
                  </a:moveTo>
                  <a:lnTo>
                    <a:pt x="10979" y="6287"/>
                  </a:lnTo>
                  <a:lnTo>
                    <a:pt x="10979" y="6223"/>
                  </a:lnTo>
                  <a:lnTo>
                    <a:pt x="10914" y="6223"/>
                  </a:lnTo>
                  <a:lnTo>
                    <a:pt x="10914" y="6287"/>
                  </a:lnTo>
                  <a:close/>
                  <a:moveTo>
                    <a:pt x="10914" y="6401"/>
                  </a:moveTo>
                  <a:lnTo>
                    <a:pt x="10979" y="6401"/>
                  </a:lnTo>
                  <a:lnTo>
                    <a:pt x="10979" y="6337"/>
                  </a:lnTo>
                  <a:lnTo>
                    <a:pt x="10914" y="6337"/>
                  </a:lnTo>
                  <a:lnTo>
                    <a:pt x="10914" y="6401"/>
                  </a:lnTo>
                  <a:close/>
                  <a:moveTo>
                    <a:pt x="10914" y="6514"/>
                  </a:moveTo>
                  <a:lnTo>
                    <a:pt x="10979" y="6514"/>
                  </a:lnTo>
                  <a:lnTo>
                    <a:pt x="10979" y="6450"/>
                  </a:lnTo>
                  <a:lnTo>
                    <a:pt x="10914" y="6450"/>
                  </a:lnTo>
                  <a:lnTo>
                    <a:pt x="10914" y="6514"/>
                  </a:lnTo>
                  <a:close/>
                  <a:moveTo>
                    <a:pt x="10914" y="6625"/>
                  </a:moveTo>
                  <a:lnTo>
                    <a:pt x="10979" y="6625"/>
                  </a:lnTo>
                  <a:lnTo>
                    <a:pt x="10979" y="6561"/>
                  </a:lnTo>
                  <a:lnTo>
                    <a:pt x="10914" y="6561"/>
                  </a:lnTo>
                  <a:lnTo>
                    <a:pt x="10914" y="6625"/>
                  </a:lnTo>
                  <a:close/>
                  <a:moveTo>
                    <a:pt x="11028" y="970"/>
                  </a:moveTo>
                  <a:lnTo>
                    <a:pt x="11092" y="970"/>
                  </a:lnTo>
                  <a:lnTo>
                    <a:pt x="11092" y="906"/>
                  </a:lnTo>
                  <a:lnTo>
                    <a:pt x="11028" y="906"/>
                  </a:lnTo>
                  <a:lnTo>
                    <a:pt x="11028" y="970"/>
                  </a:lnTo>
                  <a:close/>
                  <a:moveTo>
                    <a:pt x="11028" y="1084"/>
                  </a:moveTo>
                  <a:lnTo>
                    <a:pt x="11092" y="1084"/>
                  </a:lnTo>
                  <a:lnTo>
                    <a:pt x="11092" y="1020"/>
                  </a:lnTo>
                  <a:lnTo>
                    <a:pt x="11028" y="1020"/>
                  </a:lnTo>
                  <a:lnTo>
                    <a:pt x="11028" y="1084"/>
                  </a:lnTo>
                  <a:close/>
                  <a:moveTo>
                    <a:pt x="11028" y="1198"/>
                  </a:moveTo>
                  <a:lnTo>
                    <a:pt x="11092" y="1198"/>
                  </a:lnTo>
                  <a:lnTo>
                    <a:pt x="11092" y="1133"/>
                  </a:lnTo>
                  <a:lnTo>
                    <a:pt x="11028" y="1133"/>
                  </a:lnTo>
                  <a:lnTo>
                    <a:pt x="11028" y="1198"/>
                  </a:lnTo>
                  <a:close/>
                  <a:moveTo>
                    <a:pt x="11028" y="1308"/>
                  </a:moveTo>
                  <a:lnTo>
                    <a:pt x="11092" y="1308"/>
                  </a:lnTo>
                  <a:lnTo>
                    <a:pt x="11092" y="1244"/>
                  </a:lnTo>
                  <a:lnTo>
                    <a:pt x="11028" y="1244"/>
                  </a:lnTo>
                  <a:lnTo>
                    <a:pt x="11028" y="1308"/>
                  </a:lnTo>
                  <a:close/>
                  <a:moveTo>
                    <a:pt x="11028" y="1649"/>
                  </a:moveTo>
                  <a:lnTo>
                    <a:pt x="11092" y="1649"/>
                  </a:lnTo>
                  <a:lnTo>
                    <a:pt x="11092" y="1585"/>
                  </a:lnTo>
                  <a:lnTo>
                    <a:pt x="11028" y="1585"/>
                  </a:lnTo>
                  <a:lnTo>
                    <a:pt x="11028" y="1649"/>
                  </a:lnTo>
                  <a:close/>
                  <a:moveTo>
                    <a:pt x="11028" y="1766"/>
                  </a:moveTo>
                  <a:lnTo>
                    <a:pt x="11092" y="1766"/>
                  </a:lnTo>
                  <a:lnTo>
                    <a:pt x="11092" y="1702"/>
                  </a:lnTo>
                  <a:lnTo>
                    <a:pt x="11028" y="1702"/>
                  </a:lnTo>
                  <a:lnTo>
                    <a:pt x="11028" y="1766"/>
                  </a:lnTo>
                  <a:close/>
                  <a:moveTo>
                    <a:pt x="11028" y="1880"/>
                  </a:moveTo>
                  <a:lnTo>
                    <a:pt x="11092" y="1880"/>
                  </a:lnTo>
                  <a:lnTo>
                    <a:pt x="11092" y="1816"/>
                  </a:lnTo>
                  <a:lnTo>
                    <a:pt x="11028" y="1816"/>
                  </a:lnTo>
                  <a:lnTo>
                    <a:pt x="11028" y="1880"/>
                  </a:lnTo>
                  <a:close/>
                  <a:moveTo>
                    <a:pt x="11028" y="1994"/>
                  </a:moveTo>
                  <a:lnTo>
                    <a:pt x="11092" y="1994"/>
                  </a:lnTo>
                  <a:lnTo>
                    <a:pt x="11092" y="1929"/>
                  </a:lnTo>
                  <a:lnTo>
                    <a:pt x="11028" y="1929"/>
                  </a:lnTo>
                  <a:lnTo>
                    <a:pt x="11028" y="1994"/>
                  </a:lnTo>
                  <a:close/>
                  <a:moveTo>
                    <a:pt x="11028" y="2105"/>
                  </a:moveTo>
                  <a:lnTo>
                    <a:pt x="11092" y="2105"/>
                  </a:lnTo>
                  <a:lnTo>
                    <a:pt x="11092" y="2040"/>
                  </a:lnTo>
                  <a:lnTo>
                    <a:pt x="11028" y="2040"/>
                  </a:lnTo>
                  <a:lnTo>
                    <a:pt x="11028" y="2105"/>
                  </a:lnTo>
                  <a:close/>
                  <a:moveTo>
                    <a:pt x="11028" y="2218"/>
                  </a:moveTo>
                  <a:lnTo>
                    <a:pt x="11092" y="2218"/>
                  </a:lnTo>
                  <a:lnTo>
                    <a:pt x="11092" y="2153"/>
                  </a:lnTo>
                  <a:lnTo>
                    <a:pt x="11028" y="2153"/>
                  </a:lnTo>
                  <a:lnTo>
                    <a:pt x="11028" y="2218"/>
                  </a:lnTo>
                  <a:close/>
                  <a:moveTo>
                    <a:pt x="11028" y="2332"/>
                  </a:moveTo>
                  <a:lnTo>
                    <a:pt x="11092" y="2332"/>
                  </a:lnTo>
                  <a:lnTo>
                    <a:pt x="11092" y="2268"/>
                  </a:lnTo>
                  <a:lnTo>
                    <a:pt x="11028" y="2268"/>
                  </a:lnTo>
                  <a:lnTo>
                    <a:pt x="11028" y="2332"/>
                  </a:lnTo>
                  <a:close/>
                  <a:moveTo>
                    <a:pt x="11028" y="2445"/>
                  </a:moveTo>
                  <a:lnTo>
                    <a:pt x="11092" y="2445"/>
                  </a:lnTo>
                  <a:lnTo>
                    <a:pt x="11092" y="2381"/>
                  </a:lnTo>
                  <a:lnTo>
                    <a:pt x="11028" y="2381"/>
                  </a:lnTo>
                  <a:lnTo>
                    <a:pt x="11028" y="2445"/>
                  </a:lnTo>
                  <a:close/>
                  <a:moveTo>
                    <a:pt x="11028" y="2557"/>
                  </a:moveTo>
                  <a:lnTo>
                    <a:pt x="11092" y="2557"/>
                  </a:lnTo>
                  <a:lnTo>
                    <a:pt x="11092" y="2493"/>
                  </a:lnTo>
                  <a:lnTo>
                    <a:pt x="11028" y="2493"/>
                  </a:lnTo>
                  <a:lnTo>
                    <a:pt x="11028" y="2557"/>
                  </a:lnTo>
                  <a:close/>
                  <a:moveTo>
                    <a:pt x="11028" y="2670"/>
                  </a:moveTo>
                  <a:lnTo>
                    <a:pt x="11092" y="2670"/>
                  </a:lnTo>
                  <a:lnTo>
                    <a:pt x="11092" y="2606"/>
                  </a:lnTo>
                  <a:lnTo>
                    <a:pt x="11028" y="2606"/>
                  </a:lnTo>
                  <a:lnTo>
                    <a:pt x="11028" y="2670"/>
                  </a:lnTo>
                  <a:close/>
                  <a:moveTo>
                    <a:pt x="11028" y="3463"/>
                  </a:moveTo>
                  <a:lnTo>
                    <a:pt x="11092" y="3463"/>
                  </a:lnTo>
                  <a:lnTo>
                    <a:pt x="11092" y="3398"/>
                  </a:lnTo>
                  <a:lnTo>
                    <a:pt x="11028" y="3398"/>
                  </a:lnTo>
                  <a:lnTo>
                    <a:pt x="11028" y="3463"/>
                  </a:lnTo>
                  <a:close/>
                  <a:moveTo>
                    <a:pt x="11028" y="5383"/>
                  </a:moveTo>
                  <a:lnTo>
                    <a:pt x="11092" y="5383"/>
                  </a:lnTo>
                  <a:lnTo>
                    <a:pt x="11092" y="5319"/>
                  </a:lnTo>
                  <a:lnTo>
                    <a:pt x="11028" y="5319"/>
                  </a:lnTo>
                  <a:lnTo>
                    <a:pt x="11028" y="5383"/>
                  </a:lnTo>
                  <a:close/>
                  <a:moveTo>
                    <a:pt x="11028" y="5835"/>
                  </a:moveTo>
                  <a:lnTo>
                    <a:pt x="11092" y="5835"/>
                  </a:lnTo>
                  <a:lnTo>
                    <a:pt x="11092" y="5770"/>
                  </a:lnTo>
                  <a:lnTo>
                    <a:pt x="11028" y="5770"/>
                  </a:lnTo>
                  <a:lnTo>
                    <a:pt x="11028" y="5835"/>
                  </a:lnTo>
                  <a:close/>
                  <a:moveTo>
                    <a:pt x="11028" y="5949"/>
                  </a:moveTo>
                  <a:lnTo>
                    <a:pt x="11092" y="5949"/>
                  </a:lnTo>
                  <a:lnTo>
                    <a:pt x="11092" y="5884"/>
                  </a:lnTo>
                  <a:lnTo>
                    <a:pt x="11028" y="5884"/>
                  </a:lnTo>
                  <a:lnTo>
                    <a:pt x="11028" y="5949"/>
                  </a:lnTo>
                  <a:close/>
                  <a:moveTo>
                    <a:pt x="11028" y="6062"/>
                  </a:moveTo>
                  <a:lnTo>
                    <a:pt x="11092" y="6062"/>
                  </a:lnTo>
                  <a:lnTo>
                    <a:pt x="11092" y="5997"/>
                  </a:lnTo>
                  <a:lnTo>
                    <a:pt x="11028" y="5997"/>
                  </a:lnTo>
                  <a:lnTo>
                    <a:pt x="11028" y="6062"/>
                  </a:lnTo>
                  <a:close/>
                  <a:moveTo>
                    <a:pt x="11028" y="6174"/>
                  </a:moveTo>
                  <a:lnTo>
                    <a:pt x="11092" y="6174"/>
                  </a:lnTo>
                  <a:lnTo>
                    <a:pt x="11092" y="6109"/>
                  </a:lnTo>
                  <a:lnTo>
                    <a:pt x="11028" y="6109"/>
                  </a:lnTo>
                  <a:lnTo>
                    <a:pt x="11028" y="6174"/>
                  </a:lnTo>
                  <a:close/>
                  <a:moveTo>
                    <a:pt x="11028" y="6287"/>
                  </a:moveTo>
                  <a:lnTo>
                    <a:pt x="11092" y="6287"/>
                  </a:lnTo>
                  <a:lnTo>
                    <a:pt x="11092" y="6223"/>
                  </a:lnTo>
                  <a:lnTo>
                    <a:pt x="11028" y="6223"/>
                  </a:lnTo>
                  <a:lnTo>
                    <a:pt x="11028" y="6287"/>
                  </a:lnTo>
                  <a:close/>
                  <a:moveTo>
                    <a:pt x="11028" y="6401"/>
                  </a:moveTo>
                  <a:lnTo>
                    <a:pt x="11092" y="6401"/>
                  </a:lnTo>
                  <a:lnTo>
                    <a:pt x="11092" y="6337"/>
                  </a:lnTo>
                  <a:lnTo>
                    <a:pt x="11028" y="6337"/>
                  </a:lnTo>
                  <a:lnTo>
                    <a:pt x="11028" y="6401"/>
                  </a:lnTo>
                  <a:close/>
                  <a:moveTo>
                    <a:pt x="11028" y="6514"/>
                  </a:moveTo>
                  <a:lnTo>
                    <a:pt x="11092" y="6514"/>
                  </a:lnTo>
                  <a:lnTo>
                    <a:pt x="11092" y="6450"/>
                  </a:lnTo>
                  <a:lnTo>
                    <a:pt x="11028" y="6450"/>
                  </a:lnTo>
                  <a:lnTo>
                    <a:pt x="11028" y="6514"/>
                  </a:lnTo>
                  <a:close/>
                  <a:moveTo>
                    <a:pt x="11028" y="6625"/>
                  </a:moveTo>
                  <a:lnTo>
                    <a:pt x="11092" y="6625"/>
                  </a:lnTo>
                  <a:lnTo>
                    <a:pt x="11092" y="6561"/>
                  </a:lnTo>
                  <a:lnTo>
                    <a:pt x="11028" y="6561"/>
                  </a:lnTo>
                  <a:lnTo>
                    <a:pt x="11028" y="6625"/>
                  </a:lnTo>
                  <a:close/>
                  <a:moveTo>
                    <a:pt x="11028" y="6738"/>
                  </a:moveTo>
                  <a:lnTo>
                    <a:pt x="11092" y="6738"/>
                  </a:lnTo>
                  <a:lnTo>
                    <a:pt x="11092" y="6675"/>
                  </a:lnTo>
                  <a:lnTo>
                    <a:pt x="11028" y="6675"/>
                  </a:lnTo>
                  <a:lnTo>
                    <a:pt x="11028" y="6738"/>
                  </a:lnTo>
                  <a:close/>
                  <a:moveTo>
                    <a:pt x="11142" y="1198"/>
                  </a:moveTo>
                  <a:lnTo>
                    <a:pt x="11207" y="1198"/>
                  </a:lnTo>
                  <a:lnTo>
                    <a:pt x="11207" y="1133"/>
                  </a:lnTo>
                  <a:lnTo>
                    <a:pt x="11142" y="1133"/>
                  </a:lnTo>
                  <a:lnTo>
                    <a:pt x="11142" y="1198"/>
                  </a:lnTo>
                  <a:close/>
                  <a:moveTo>
                    <a:pt x="11142" y="1766"/>
                  </a:moveTo>
                  <a:lnTo>
                    <a:pt x="11207" y="1766"/>
                  </a:lnTo>
                  <a:lnTo>
                    <a:pt x="11207" y="1702"/>
                  </a:lnTo>
                  <a:lnTo>
                    <a:pt x="11142" y="1702"/>
                  </a:lnTo>
                  <a:lnTo>
                    <a:pt x="11142" y="1766"/>
                  </a:lnTo>
                  <a:close/>
                  <a:moveTo>
                    <a:pt x="11142" y="1880"/>
                  </a:moveTo>
                  <a:lnTo>
                    <a:pt x="11207" y="1880"/>
                  </a:lnTo>
                  <a:lnTo>
                    <a:pt x="11207" y="1816"/>
                  </a:lnTo>
                  <a:lnTo>
                    <a:pt x="11142" y="1816"/>
                  </a:lnTo>
                  <a:lnTo>
                    <a:pt x="11142" y="1880"/>
                  </a:lnTo>
                  <a:close/>
                  <a:moveTo>
                    <a:pt x="11142" y="1994"/>
                  </a:moveTo>
                  <a:lnTo>
                    <a:pt x="11207" y="1994"/>
                  </a:lnTo>
                  <a:lnTo>
                    <a:pt x="11207" y="1929"/>
                  </a:lnTo>
                  <a:lnTo>
                    <a:pt x="11142" y="1929"/>
                  </a:lnTo>
                  <a:lnTo>
                    <a:pt x="11142" y="1994"/>
                  </a:lnTo>
                  <a:close/>
                  <a:moveTo>
                    <a:pt x="11142" y="2105"/>
                  </a:moveTo>
                  <a:lnTo>
                    <a:pt x="11207" y="2105"/>
                  </a:lnTo>
                  <a:lnTo>
                    <a:pt x="11207" y="2040"/>
                  </a:lnTo>
                  <a:lnTo>
                    <a:pt x="11142" y="2040"/>
                  </a:lnTo>
                  <a:lnTo>
                    <a:pt x="11142" y="2105"/>
                  </a:lnTo>
                  <a:close/>
                  <a:moveTo>
                    <a:pt x="11142" y="2218"/>
                  </a:moveTo>
                  <a:lnTo>
                    <a:pt x="11207" y="2218"/>
                  </a:lnTo>
                  <a:lnTo>
                    <a:pt x="11207" y="2153"/>
                  </a:lnTo>
                  <a:lnTo>
                    <a:pt x="11142" y="2153"/>
                  </a:lnTo>
                  <a:lnTo>
                    <a:pt x="11142" y="2218"/>
                  </a:lnTo>
                  <a:close/>
                  <a:moveTo>
                    <a:pt x="11142" y="2332"/>
                  </a:moveTo>
                  <a:lnTo>
                    <a:pt x="11207" y="2332"/>
                  </a:lnTo>
                  <a:lnTo>
                    <a:pt x="11207" y="2268"/>
                  </a:lnTo>
                  <a:lnTo>
                    <a:pt x="11142" y="2268"/>
                  </a:lnTo>
                  <a:lnTo>
                    <a:pt x="11142" y="2332"/>
                  </a:lnTo>
                  <a:close/>
                  <a:moveTo>
                    <a:pt x="11142" y="2445"/>
                  </a:moveTo>
                  <a:lnTo>
                    <a:pt x="11207" y="2445"/>
                  </a:lnTo>
                  <a:lnTo>
                    <a:pt x="11207" y="2381"/>
                  </a:lnTo>
                  <a:lnTo>
                    <a:pt x="11142" y="2381"/>
                  </a:lnTo>
                  <a:lnTo>
                    <a:pt x="11142" y="2445"/>
                  </a:lnTo>
                  <a:close/>
                  <a:moveTo>
                    <a:pt x="11142" y="2557"/>
                  </a:moveTo>
                  <a:lnTo>
                    <a:pt x="11207" y="2557"/>
                  </a:lnTo>
                  <a:lnTo>
                    <a:pt x="11207" y="2493"/>
                  </a:lnTo>
                  <a:lnTo>
                    <a:pt x="11142" y="2493"/>
                  </a:lnTo>
                  <a:lnTo>
                    <a:pt x="11142" y="2557"/>
                  </a:lnTo>
                  <a:close/>
                  <a:moveTo>
                    <a:pt x="11142" y="2670"/>
                  </a:moveTo>
                  <a:lnTo>
                    <a:pt x="11207" y="2670"/>
                  </a:lnTo>
                  <a:lnTo>
                    <a:pt x="11207" y="2606"/>
                  </a:lnTo>
                  <a:lnTo>
                    <a:pt x="11142" y="2606"/>
                  </a:lnTo>
                  <a:lnTo>
                    <a:pt x="11142" y="2670"/>
                  </a:lnTo>
                  <a:close/>
                  <a:moveTo>
                    <a:pt x="11142" y="3350"/>
                  </a:moveTo>
                  <a:lnTo>
                    <a:pt x="11207" y="3350"/>
                  </a:lnTo>
                  <a:lnTo>
                    <a:pt x="11207" y="3285"/>
                  </a:lnTo>
                  <a:lnTo>
                    <a:pt x="11142" y="3285"/>
                  </a:lnTo>
                  <a:lnTo>
                    <a:pt x="11142" y="3350"/>
                  </a:lnTo>
                  <a:close/>
                  <a:moveTo>
                    <a:pt x="11142" y="5159"/>
                  </a:moveTo>
                  <a:lnTo>
                    <a:pt x="11207" y="5159"/>
                  </a:lnTo>
                  <a:lnTo>
                    <a:pt x="11207" y="5095"/>
                  </a:lnTo>
                  <a:lnTo>
                    <a:pt x="11142" y="5095"/>
                  </a:lnTo>
                  <a:lnTo>
                    <a:pt x="11142" y="5159"/>
                  </a:lnTo>
                  <a:close/>
                  <a:moveTo>
                    <a:pt x="11142" y="5949"/>
                  </a:moveTo>
                  <a:lnTo>
                    <a:pt x="11207" y="5949"/>
                  </a:lnTo>
                  <a:lnTo>
                    <a:pt x="11207" y="5884"/>
                  </a:lnTo>
                  <a:lnTo>
                    <a:pt x="11142" y="5884"/>
                  </a:lnTo>
                  <a:lnTo>
                    <a:pt x="11142" y="5949"/>
                  </a:lnTo>
                  <a:close/>
                  <a:moveTo>
                    <a:pt x="11142" y="6062"/>
                  </a:moveTo>
                  <a:lnTo>
                    <a:pt x="11207" y="6062"/>
                  </a:lnTo>
                  <a:lnTo>
                    <a:pt x="11207" y="5997"/>
                  </a:lnTo>
                  <a:lnTo>
                    <a:pt x="11142" y="5997"/>
                  </a:lnTo>
                  <a:lnTo>
                    <a:pt x="11142" y="6062"/>
                  </a:lnTo>
                  <a:close/>
                  <a:moveTo>
                    <a:pt x="11142" y="6174"/>
                  </a:moveTo>
                  <a:lnTo>
                    <a:pt x="11207" y="6174"/>
                  </a:lnTo>
                  <a:lnTo>
                    <a:pt x="11207" y="6109"/>
                  </a:lnTo>
                  <a:lnTo>
                    <a:pt x="11142" y="6109"/>
                  </a:lnTo>
                  <a:lnTo>
                    <a:pt x="11142" y="6174"/>
                  </a:lnTo>
                  <a:close/>
                  <a:moveTo>
                    <a:pt x="11254" y="1766"/>
                  </a:moveTo>
                  <a:lnTo>
                    <a:pt x="11318" y="1766"/>
                  </a:lnTo>
                  <a:lnTo>
                    <a:pt x="11318" y="1702"/>
                  </a:lnTo>
                  <a:lnTo>
                    <a:pt x="11254" y="1702"/>
                  </a:lnTo>
                  <a:lnTo>
                    <a:pt x="11254" y="1766"/>
                  </a:lnTo>
                  <a:close/>
                  <a:moveTo>
                    <a:pt x="11254" y="1880"/>
                  </a:moveTo>
                  <a:lnTo>
                    <a:pt x="11318" y="1880"/>
                  </a:lnTo>
                  <a:lnTo>
                    <a:pt x="11318" y="1816"/>
                  </a:lnTo>
                  <a:lnTo>
                    <a:pt x="11254" y="1816"/>
                  </a:lnTo>
                  <a:lnTo>
                    <a:pt x="11254" y="1880"/>
                  </a:lnTo>
                  <a:close/>
                  <a:moveTo>
                    <a:pt x="11254" y="1994"/>
                  </a:moveTo>
                  <a:lnTo>
                    <a:pt x="11318" y="1994"/>
                  </a:lnTo>
                  <a:lnTo>
                    <a:pt x="11318" y="1929"/>
                  </a:lnTo>
                  <a:lnTo>
                    <a:pt x="11254" y="1929"/>
                  </a:lnTo>
                  <a:lnTo>
                    <a:pt x="11254" y="1994"/>
                  </a:lnTo>
                  <a:close/>
                  <a:moveTo>
                    <a:pt x="11254" y="2105"/>
                  </a:moveTo>
                  <a:lnTo>
                    <a:pt x="11318" y="2105"/>
                  </a:lnTo>
                  <a:lnTo>
                    <a:pt x="11318" y="2040"/>
                  </a:lnTo>
                  <a:lnTo>
                    <a:pt x="11254" y="2040"/>
                  </a:lnTo>
                  <a:lnTo>
                    <a:pt x="11254" y="2105"/>
                  </a:lnTo>
                  <a:close/>
                  <a:moveTo>
                    <a:pt x="11254" y="2218"/>
                  </a:moveTo>
                  <a:lnTo>
                    <a:pt x="11318" y="2218"/>
                  </a:lnTo>
                  <a:lnTo>
                    <a:pt x="11318" y="2153"/>
                  </a:lnTo>
                  <a:lnTo>
                    <a:pt x="11254" y="2153"/>
                  </a:lnTo>
                  <a:lnTo>
                    <a:pt x="11254" y="2218"/>
                  </a:lnTo>
                  <a:close/>
                  <a:moveTo>
                    <a:pt x="11254" y="2332"/>
                  </a:moveTo>
                  <a:lnTo>
                    <a:pt x="11318" y="2332"/>
                  </a:lnTo>
                  <a:lnTo>
                    <a:pt x="11318" y="2268"/>
                  </a:lnTo>
                  <a:lnTo>
                    <a:pt x="11254" y="2268"/>
                  </a:lnTo>
                  <a:lnTo>
                    <a:pt x="11254" y="2332"/>
                  </a:lnTo>
                  <a:close/>
                  <a:moveTo>
                    <a:pt x="11254" y="2445"/>
                  </a:moveTo>
                  <a:lnTo>
                    <a:pt x="11318" y="2445"/>
                  </a:lnTo>
                  <a:lnTo>
                    <a:pt x="11318" y="2381"/>
                  </a:lnTo>
                  <a:lnTo>
                    <a:pt x="11254" y="2381"/>
                  </a:lnTo>
                  <a:lnTo>
                    <a:pt x="11254" y="2445"/>
                  </a:lnTo>
                  <a:close/>
                  <a:moveTo>
                    <a:pt x="11254" y="2557"/>
                  </a:moveTo>
                  <a:lnTo>
                    <a:pt x="11318" y="2557"/>
                  </a:lnTo>
                  <a:lnTo>
                    <a:pt x="11318" y="2493"/>
                  </a:lnTo>
                  <a:lnTo>
                    <a:pt x="11254" y="2493"/>
                  </a:lnTo>
                  <a:lnTo>
                    <a:pt x="11254" y="2557"/>
                  </a:lnTo>
                  <a:close/>
                  <a:moveTo>
                    <a:pt x="11254" y="2670"/>
                  </a:moveTo>
                  <a:lnTo>
                    <a:pt x="11318" y="2670"/>
                  </a:lnTo>
                  <a:lnTo>
                    <a:pt x="11318" y="2606"/>
                  </a:lnTo>
                  <a:lnTo>
                    <a:pt x="11254" y="2606"/>
                  </a:lnTo>
                  <a:lnTo>
                    <a:pt x="11254" y="2670"/>
                  </a:lnTo>
                  <a:close/>
                  <a:moveTo>
                    <a:pt x="11254" y="2785"/>
                  </a:moveTo>
                  <a:lnTo>
                    <a:pt x="11318" y="2785"/>
                  </a:lnTo>
                  <a:lnTo>
                    <a:pt x="11318" y="2720"/>
                  </a:lnTo>
                  <a:lnTo>
                    <a:pt x="11254" y="2720"/>
                  </a:lnTo>
                  <a:lnTo>
                    <a:pt x="11254" y="2785"/>
                  </a:lnTo>
                  <a:close/>
                  <a:moveTo>
                    <a:pt x="11254" y="2898"/>
                  </a:moveTo>
                  <a:lnTo>
                    <a:pt x="11318" y="2898"/>
                  </a:lnTo>
                  <a:lnTo>
                    <a:pt x="11318" y="2834"/>
                  </a:lnTo>
                  <a:lnTo>
                    <a:pt x="11254" y="2834"/>
                  </a:lnTo>
                  <a:lnTo>
                    <a:pt x="11254" y="2898"/>
                  </a:lnTo>
                  <a:close/>
                  <a:moveTo>
                    <a:pt x="11254" y="3009"/>
                  </a:moveTo>
                  <a:lnTo>
                    <a:pt x="11318" y="3009"/>
                  </a:lnTo>
                  <a:lnTo>
                    <a:pt x="11318" y="2945"/>
                  </a:lnTo>
                  <a:lnTo>
                    <a:pt x="11254" y="2945"/>
                  </a:lnTo>
                  <a:lnTo>
                    <a:pt x="11254" y="3009"/>
                  </a:lnTo>
                  <a:close/>
                  <a:moveTo>
                    <a:pt x="11254" y="3122"/>
                  </a:moveTo>
                  <a:lnTo>
                    <a:pt x="11318" y="3122"/>
                  </a:lnTo>
                  <a:lnTo>
                    <a:pt x="11318" y="3058"/>
                  </a:lnTo>
                  <a:lnTo>
                    <a:pt x="11254" y="3058"/>
                  </a:lnTo>
                  <a:lnTo>
                    <a:pt x="11254" y="3122"/>
                  </a:lnTo>
                  <a:close/>
                  <a:moveTo>
                    <a:pt x="11254" y="5270"/>
                  </a:moveTo>
                  <a:lnTo>
                    <a:pt x="11318" y="5270"/>
                  </a:lnTo>
                  <a:lnTo>
                    <a:pt x="11318" y="5205"/>
                  </a:lnTo>
                  <a:lnTo>
                    <a:pt x="11254" y="5205"/>
                  </a:lnTo>
                  <a:lnTo>
                    <a:pt x="11254" y="5270"/>
                  </a:lnTo>
                  <a:close/>
                  <a:moveTo>
                    <a:pt x="11368" y="1084"/>
                  </a:moveTo>
                  <a:lnTo>
                    <a:pt x="11433" y="1084"/>
                  </a:lnTo>
                  <a:lnTo>
                    <a:pt x="11433" y="1020"/>
                  </a:lnTo>
                  <a:lnTo>
                    <a:pt x="11368" y="1020"/>
                  </a:lnTo>
                  <a:lnTo>
                    <a:pt x="11368" y="1084"/>
                  </a:lnTo>
                  <a:close/>
                  <a:moveTo>
                    <a:pt x="11368" y="1766"/>
                  </a:moveTo>
                  <a:lnTo>
                    <a:pt x="11433" y="1766"/>
                  </a:lnTo>
                  <a:lnTo>
                    <a:pt x="11433" y="1702"/>
                  </a:lnTo>
                  <a:lnTo>
                    <a:pt x="11368" y="1702"/>
                  </a:lnTo>
                  <a:lnTo>
                    <a:pt x="11368" y="1766"/>
                  </a:lnTo>
                  <a:close/>
                  <a:moveTo>
                    <a:pt x="11368" y="1880"/>
                  </a:moveTo>
                  <a:lnTo>
                    <a:pt x="11433" y="1880"/>
                  </a:lnTo>
                  <a:lnTo>
                    <a:pt x="11433" y="1816"/>
                  </a:lnTo>
                  <a:lnTo>
                    <a:pt x="11368" y="1816"/>
                  </a:lnTo>
                  <a:lnTo>
                    <a:pt x="11368" y="1880"/>
                  </a:lnTo>
                  <a:close/>
                  <a:moveTo>
                    <a:pt x="11368" y="1994"/>
                  </a:moveTo>
                  <a:lnTo>
                    <a:pt x="11433" y="1994"/>
                  </a:lnTo>
                  <a:lnTo>
                    <a:pt x="11433" y="1929"/>
                  </a:lnTo>
                  <a:lnTo>
                    <a:pt x="11368" y="1929"/>
                  </a:lnTo>
                  <a:lnTo>
                    <a:pt x="11368" y="1994"/>
                  </a:lnTo>
                  <a:close/>
                  <a:moveTo>
                    <a:pt x="11368" y="2105"/>
                  </a:moveTo>
                  <a:lnTo>
                    <a:pt x="11433" y="2105"/>
                  </a:lnTo>
                  <a:lnTo>
                    <a:pt x="11433" y="2040"/>
                  </a:lnTo>
                  <a:lnTo>
                    <a:pt x="11368" y="2040"/>
                  </a:lnTo>
                  <a:lnTo>
                    <a:pt x="11368" y="2105"/>
                  </a:lnTo>
                  <a:close/>
                  <a:moveTo>
                    <a:pt x="11368" y="2218"/>
                  </a:moveTo>
                  <a:lnTo>
                    <a:pt x="11433" y="2218"/>
                  </a:lnTo>
                  <a:lnTo>
                    <a:pt x="11433" y="2153"/>
                  </a:lnTo>
                  <a:lnTo>
                    <a:pt x="11368" y="2153"/>
                  </a:lnTo>
                  <a:lnTo>
                    <a:pt x="11368" y="2218"/>
                  </a:lnTo>
                  <a:close/>
                  <a:moveTo>
                    <a:pt x="11368" y="2332"/>
                  </a:moveTo>
                  <a:lnTo>
                    <a:pt x="11433" y="2332"/>
                  </a:lnTo>
                  <a:lnTo>
                    <a:pt x="11433" y="2268"/>
                  </a:lnTo>
                  <a:lnTo>
                    <a:pt x="11368" y="2268"/>
                  </a:lnTo>
                  <a:lnTo>
                    <a:pt x="11368" y="2332"/>
                  </a:lnTo>
                  <a:close/>
                  <a:moveTo>
                    <a:pt x="11368" y="2445"/>
                  </a:moveTo>
                  <a:lnTo>
                    <a:pt x="11433" y="2445"/>
                  </a:lnTo>
                  <a:lnTo>
                    <a:pt x="11433" y="2381"/>
                  </a:lnTo>
                  <a:lnTo>
                    <a:pt x="11368" y="2381"/>
                  </a:lnTo>
                  <a:lnTo>
                    <a:pt x="11368" y="2445"/>
                  </a:lnTo>
                  <a:close/>
                  <a:moveTo>
                    <a:pt x="11368" y="2557"/>
                  </a:moveTo>
                  <a:lnTo>
                    <a:pt x="11433" y="2557"/>
                  </a:lnTo>
                  <a:lnTo>
                    <a:pt x="11433" y="2493"/>
                  </a:lnTo>
                  <a:lnTo>
                    <a:pt x="11368" y="2493"/>
                  </a:lnTo>
                  <a:lnTo>
                    <a:pt x="11368" y="2557"/>
                  </a:lnTo>
                  <a:close/>
                  <a:moveTo>
                    <a:pt x="11368" y="2670"/>
                  </a:moveTo>
                  <a:lnTo>
                    <a:pt x="11433" y="2670"/>
                  </a:lnTo>
                  <a:lnTo>
                    <a:pt x="11433" y="2606"/>
                  </a:lnTo>
                  <a:lnTo>
                    <a:pt x="11368" y="2606"/>
                  </a:lnTo>
                  <a:lnTo>
                    <a:pt x="11368" y="2670"/>
                  </a:lnTo>
                  <a:close/>
                  <a:moveTo>
                    <a:pt x="11368" y="2785"/>
                  </a:moveTo>
                  <a:lnTo>
                    <a:pt x="11433" y="2785"/>
                  </a:lnTo>
                  <a:lnTo>
                    <a:pt x="11433" y="2720"/>
                  </a:lnTo>
                  <a:lnTo>
                    <a:pt x="11368" y="2720"/>
                  </a:lnTo>
                  <a:lnTo>
                    <a:pt x="11368" y="2785"/>
                  </a:lnTo>
                  <a:close/>
                  <a:moveTo>
                    <a:pt x="11368" y="2898"/>
                  </a:moveTo>
                  <a:lnTo>
                    <a:pt x="11433" y="2898"/>
                  </a:lnTo>
                  <a:lnTo>
                    <a:pt x="11433" y="2834"/>
                  </a:lnTo>
                  <a:lnTo>
                    <a:pt x="11368" y="2834"/>
                  </a:lnTo>
                  <a:lnTo>
                    <a:pt x="11368" y="2898"/>
                  </a:lnTo>
                  <a:close/>
                  <a:moveTo>
                    <a:pt x="11368" y="3009"/>
                  </a:moveTo>
                  <a:lnTo>
                    <a:pt x="11433" y="3009"/>
                  </a:lnTo>
                  <a:lnTo>
                    <a:pt x="11433" y="2945"/>
                  </a:lnTo>
                  <a:lnTo>
                    <a:pt x="11368" y="2945"/>
                  </a:lnTo>
                  <a:lnTo>
                    <a:pt x="11368" y="3009"/>
                  </a:lnTo>
                  <a:close/>
                  <a:moveTo>
                    <a:pt x="11482" y="1880"/>
                  </a:moveTo>
                  <a:lnTo>
                    <a:pt x="11547" y="1880"/>
                  </a:lnTo>
                  <a:lnTo>
                    <a:pt x="11547" y="1816"/>
                  </a:lnTo>
                  <a:lnTo>
                    <a:pt x="11482" y="1816"/>
                  </a:lnTo>
                  <a:lnTo>
                    <a:pt x="11482" y="1880"/>
                  </a:lnTo>
                  <a:close/>
                  <a:moveTo>
                    <a:pt x="11482" y="1994"/>
                  </a:moveTo>
                  <a:lnTo>
                    <a:pt x="11547" y="1994"/>
                  </a:lnTo>
                  <a:lnTo>
                    <a:pt x="11547" y="1929"/>
                  </a:lnTo>
                  <a:lnTo>
                    <a:pt x="11482" y="1929"/>
                  </a:lnTo>
                  <a:lnTo>
                    <a:pt x="11482" y="1994"/>
                  </a:lnTo>
                  <a:close/>
                  <a:moveTo>
                    <a:pt x="11482" y="2105"/>
                  </a:moveTo>
                  <a:lnTo>
                    <a:pt x="11547" y="2105"/>
                  </a:lnTo>
                  <a:lnTo>
                    <a:pt x="11547" y="2040"/>
                  </a:lnTo>
                  <a:lnTo>
                    <a:pt x="11482" y="2040"/>
                  </a:lnTo>
                  <a:lnTo>
                    <a:pt x="11482" y="2105"/>
                  </a:lnTo>
                  <a:close/>
                  <a:moveTo>
                    <a:pt x="11482" y="2218"/>
                  </a:moveTo>
                  <a:lnTo>
                    <a:pt x="11547" y="2218"/>
                  </a:lnTo>
                  <a:lnTo>
                    <a:pt x="11547" y="2153"/>
                  </a:lnTo>
                  <a:lnTo>
                    <a:pt x="11482" y="2153"/>
                  </a:lnTo>
                  <a:lnTo>
                    <a:pt x="11482" y="2218"/>
                  </a:lnTo>
                  <a:close/>
                  <a:moveTo>
                    <a:pt x="11482" y="2332"/>
                  </a:moveTo>
                  <a:lnTo>
                    <a:pt x="11547" y="2332"/>
                  </a:lnTo>
                  <a:lnTo>
                    <a:pt x="11547" y="2268"/>
                  </a:lnTo>
                  <a:lnTo>
                    <a:pt x="11482" y="2268"/>
                  </a:lnTo>
                  <a:lnTo>
                    <a:pt x="11482" y="2332"/>
                  </a:lnTo>
                  <a:close/>
                  <a:moveTo>
                    <a:pt x="11482" y="2445"/>
                  </a:moveTo>
                  <a:lnTo>
                    <a:pt x="11547" y="2445"/>
                  </a:lnTo>
                  <a:lnTo>
                    <a:pt x="11547" y="2381"/>
                  </a:lnTo>
                  <a:lnTo>
                    <a:pt x="11482" y="2381"/>
                  </a:lnTo>
                  <a:lnTo>
                    <a:pt x="11482" y="2445"/>
                  </a:lnTo>
                  <a:close/>
                  <a:moveTo>
                    <a:pt x="11482" y="2557"/>
                  </a:moveTo>
                  <a:lnTo>
                    <a:pt x="11547" y="2557"/>
                  </a:lnTo>
                  <a:lnTo>
                    <a:pt x="11547" y="2493"/>
                  </a:lnTo>
                  <a:lnTo>
                    <a:pt x="11482" y="2493"/>
                  </a:lnTo>
                  <a:lnTo>
                    <a:pt x="11482" y="2557"/>
                  </a:lnTo>
                  <a:close/>
                  <a:moveTo>
                    <a:pt x="11482" y="2670"/>
                  </a:moveTo>
                  <a:lnTo>
                    <a:pt x="11547" y="2670"/>
                  </a:lnTo>
                  <a:lnTo>
                    <a:pt x="11547" y="2606"/>
                  </a:lnTo>
                  <a:lnTo>
                    <a:pt x="11482" y="2606"/>
                  </a:lnTo>
                  <a:lnTo>
                    <a:pt x="11482" y="2670"/>
                  </a:lnTo>
                  <a:close/>
                  <a:moveTo>
                    <a:pt x="11482" y="2785"/>
                  </a:moveTo>
                  <a:lnTo>
                    <a:pt x="11547" y="2785"/>
                  </a:lnTo>
                  <a:lnTo>
                    <a:pt x="11547" y="2720"/>
                  </a:lnTo>
                  <a:lnTo>
                    <a:pt x="11482" y="2720"/>
                  </a:lnTo>
                  <a:lnTo>
                    <a:pt x="11482" y="2785"/>
                  </a:lnTo>
                  <a:close/>
                  <a:moveTo>
                    <a:pt x="11482" y="2898"/>
                  </a:moveTo>
                  <a:lnTo>
                    <a:pt x="11547" y="2898"/>
                  </a:lnTo>
                  <a:lnTo>
                    <a:pt x="11547" y="2834"/>
                  </a:lnTo>
                  <a:lnTo>
                    <a:pt x="11482" y="2834"/>
                  </a:lnTo>
                  <a:lnTo>
                    <a:pt x="11482" y="2898"/>
                  </a:lnTo>
                  <a:close/>
                  <a:moveTo>
                    <a:pt x="11596" y="1880"/>
                  </a:moveTo>
                  <a:lnTo>
                    <a:pt x="11661" y="1880"/>
                  </a:lnTo>
                  <a:lnTo>
                    <a:pt x="11661" y="1816"/>
                  </a:lnTo>
                  <a:lnTo>
                    <a:pt x="11596" y="1816"/>
                  </a:lnTo>
                  <a:lnTo>
                    <a:pt x="11596" y="1880"/>
                  </a:lnTo>
                  <a:close/>
                  <a:moveTo>
                    <a:pt x="11596" y="1994"/>
                  </a:moveTo>
                  <a:lnTo>
                    <a:pt x="11661" y="1994"/>
                  </a:lnTo>
                  <a:lnTo>
                    <a:pt x="11661" y="1929"/>
                  </a:lnTo>
                  <a:lnTo>
                    <a:pt x="11596" y="1929"/>
                  </a:lnTo>
                  <a:lnTo>
                    <a:pt x="11596" y="1994"/>
                  </a:lnTo>
                  <a:close/>
                  <a:moveTo>
                    <a:pt x="11596" y="2105"/>
                  </a:moveTo>
                  <a:lnTo>
                    <a:pt x="11661" y="2105"/>
                  </a:lnTo>
                  <a:lnTo>
                    <a:pt x="11661" y="2040"/>
                  </a:lnTo>
                  <a:lnTo>
                    <a:pt x="11596" y="2040"/>
                  </a:lnTo>
                  <a:lnTo>
                    <a:pt x="11596" y="2105"/>
                  </a:lnTo>
                  <a:close/>
                  <a:moveTo>
                    <a:pt x="11596" y="2218"/>
                  </a:moveTo>
                  <a:lnTo>
                    <a:pt x="11661" y="2218"/>
                  </a:lnTo>
                  <a:lnTo>
                    <a:pt x="11661" y="2153"/>
                  </a:lnTo>
                  <a:lnTo>
                    <a:pt x="11596" y="2153"/>
                  </a:lnTo>
                  <a:lnTo>
                    <a:pt x="11596" y="2218"/>
                  </a:lnTo>
                  <a:close/>
                  <a:moveTo>
                    <a:pt x="11596" y="2332"/>
                  </a:moveTo>
                  <a:lnTo>
                    <a:pt x="11661" y="2332"/>
                  </a:lnTo>
                  <a:lnTo>
                    <a:pt x="11661" y="2268"/>
                  </a:lnTo>
                  <a:lnTo>
                    <a:pt x="11596" y="2268"/>
                  </a:lnTo>
                  <a:lnTo>
                    <a:pt x="11596" y="2332"/>
                  </a:lnTo>
                  <a:close/>
                  <a:moveTo>
                    <a:pt x="11596" y="2445"/>
                  </a:moveTo>
                  <a:lnTo>
                    <a:pt x="11661" y="2445"/>
                  </a:lnTo>
                  <a:lnTo>
                    <a:pt x="11661" y="2381"/>
                  </a:lnTo>
                  <a:lnTo>
                    <a:pt x="11596" y="2381"/>
                  </a:lnTo>
                  <a:lnTo>
                    <a:pt x="11596" y="2445"/>
                  </a:lnTo>
                  <a:close/>
                  <a:moveTo>
                    <a:pt x="11596" y="2557"/>
                  </a:moveTo>
                  <a:lnTo>
                    <a:pt x="11661" y="2557"/>
                  </a:lnTo>
                  <a:lnTo>
                    <a:pt x="11661" y="2493"/>
                  </a:lnTo>
                  <a:lnTo>
                    <a:pt x="11596" y="2493"/>
                  </a:lnTo>
                  <a:lnTo>
                    <a:pt x="11596" y="2557"/>
                  </a:lnTo>
                  <a:close/>
                  <a:moveTo>
                    <a:pt x="11596" y="3009"/>
                  </a:moveTo>
                  <a:lnTo>
                    <a:pt x="11661" y="3009"/>
                  </a:lnTo>
                  <a:lnTo>
                    <a:pt x="11661" y="2945"/>
                  </a:lnTo>
                  <a:lnTo>
                    <a:pt x="11596" y="2945"/>
                  </a:lnTo>
                  <a:lnTo>
                    <a:pt x="11596" y="3009"/>
                  </a:lnTo>
                  <a:close/>
                  <a:moveTo>
                    <a:pt x="11596" y="6853"/>
                  </a:moveTo>
                  <a:lnTo>
                    <a:pt x="11661" y="6853"/>
                  </a:lnTo>
                  <a:lnTo>
                    <a:pt x="11661" y="6789"/>
                  </a:lnTo>
                  <a:lnTo>
                    <a:pt x="11596" y="6789"/>
                  </a:lnTo>
                  <a:lnTo>
                    <a:pt x="11596" y="6853"/>
                  </a:lnTo>
                  <a:close/>
                  <a:moveTo>
                    <a:pt x="11708" y="1880"/>
                  </a:moveTo>
                  <a:lnTo>
                    <a:pt x="11773" y="1880"/>
                  </a:lnTo>
                  <a:lnTo>
                    <a:pt x="11773" y="1816"/>
                  </a:lnTo>
                  <a:lnTo>
                    <a:pt x="11708" y="1816"/>
                  </a:lnTo>
                  <a:lnTo>
                    <a:pt x="11708" y="1880"/>
                  </a:lnTo>
                  <a:close/>
                  <a:moveTo>
                    <a:pt x="11708" y="1994"/>
                  </a:moveTo>
                  <a:lnTo>
                    <a:pt x="11773" y="1994"/>
                  </a:lnTo>
                  <a:lnTo>
                    <a:pt x="11773" y="1929"/>
                  </a:lnTo>
                  <a:lnTo>
                    <a:pt x="11708" y="1929"/>
                  </a:lnTo>
                  <a:lnTo>
                    <a:pt x="11708" y="1994"/>
                  </a:lnTo>
                  <a:close/>
                  <a:moveTo>
                    <a:pt x="11708" y="2105"/>
                  </a:moveTo>
                  <a:lnTo>
                    <a:pt x="11773" y="2105"/>
                  </a:lnTo>
                  <a:lnTo>
                    <a:pt x="11773" y="2040"/>
                  </a:lnTo>
                  <a:lnTo>
                    <a:pt x="11708" y="2040"/>
                  </a:lnTo>
                  <a:lnTo>
                    <a:pt x="11708" y="2105"/>
                  </a:lnTo>
                  <a:close/>
                  <a:moveTo>
                    <a:pt x="11708" y="2218"/>
                  </a:moveTo>
                  <a:lnTo>
                    <a:pt x="11773" y="2218"/>
                  </a:lnTo>
                  <a:lnTo>
                    <a:pt x="11773" y="2153"/>
                  </a:lnTo>
                  <a:lnTo>
                    <a:pt x="11708" y="2153"/>
                  </a:lnTo>
                  <a:lnTo>
                    <a:pt x="11708" y="2218"/>
                  </a:lnTo>
                  <a:close/>
                  <a:moveTo>
                    <a:pt x="11708" y="2332"/>
                  </a:moveTo>
                  <a:lnTo>
                    <a:pt x="11773" y="2332"/>
                  </a:lnTo>
                  <a:lnTo>
                    <a:pt x="11773" y="2268"/>
                  </a:lnTo>
                  <a:lnTo>
                    <a:pt x="11708" y="2268"/>
                  </a:lnTo>
                  <a:lnTo>
                    <a:pt x="11708" y="2332"/>
                  </a:lnTo>
                  <a:close/>
                  <a:moveTo>
                    <a:pt x="11708" y="2445"/>
                  </a:moveTo>
                  <a:lnTo>
                    <a:pt x="11773" y="2445"/>
                  </a:lnTo>
                  <a:lnTo>
                    <a:pt x="11773" y="2381"/>
                  </a:lnTo>
                  <a:lnTo>
                    <a:pt x="11708" y="2381"/>
                  </a:lnTo>
                  <a:lnTo>
                    <a:pt x="11708" y="2445"/>
                  </a:lnTo>
                  <a:close/>
                  <a:moveTo>
                    <a:pt x="11708" y="2557"/>
                  </a:moveTo>
                  <a:lnTo>
                    <a:pt x="11773" y="2557"/>
                  </a:lnTo>
                  <a:lnTo>
                    <a:pt x="11773" y="2493"/>
                  </a:lnTo>
                  <a:lnTo>
                    <a:pt x="11708" y="2493"/>
                  </a:lnTo>
                  <a:lnTo>
                    <a:pt x="11708" y="2557"/>
                  </a:lnTo>
                  <a:close/>
                  <a:moveTo>
                    <a:pt x="11708" y="6738"/>
                  </a:moveTo>
                  <a:lnTo>
                    <a:pt x="11773" y="6738"/>
                  </a:lnTo>
                  <a:lnTo>
                    <a:pt x="11773" y="6675"/>
                  </a:lnTo>
                  <a:lnTo>
                    <a:pt x="11708" y="6675"/>
                  </a:lnTo>
                  <a:lnTo>
                    <a:pt x="11708" y="6738"/>
                  </a:lnTo>
                  <a:close/>
                  <a:moveTo>
                    <a:pt x="11708" y="6853"/>
                  </a:moveTo>
                  <a:lnTo>
                    <a:pt x="11773" y="6853"/>
                  </a:lnTo>
                  <a:lnTo>
                    <a:pt x="11773" y="6789"/>
                  </a:lnTo>
                  <a:lnTo>
                    <a:pt x="11708" y="6789"/>
                  </a:lnTo>
                  <a:lnTo>
                    <a:pt x="11708" y="6853"/>
                  </a:lnTo>
                  <a:close/>
                  <a:moveTo>
                    <a:pt x="11823" y="1880"/>
                  </a:moveTo>
                  <a:lnTo>
                    <a:pt x="11887" y="1880"/>
                  </a:lnTo>
                  <a:lnTo>
                    <a:pt x="11887" y="1816"/>
                  </a:lnTo>
                  <a:lnTo>
                    <a:pt x="11823" y="1816"/>
                  </a:lnTo>
                  <a:lnTo>
                    <a:pt x="11823" y="1880"/>
                  </a:lnTo>
                  <a:close/>
                  <a:moveTo>
                    <a:pt x="11823" y="1994"/>
                  </a:moveTo>
                  <a:lnTo>
                    <a:pt x="11887" y="1994"/>
                  </a:lnTo>
                  <a:lnTo>
                    <a:pt x="11887" y="1929"/>
                  </a:lnTo>
                  <a:lnTo>
                    <a:pt x="11823" y="1929"/>
                  </a:lnTo>
                  <a:lnTo>
                    <a:pt x="11823" y="1994"/>
                  </a:lnTo>
                  <a:close/>
                  <a:moveTo>
                    <a:pt x="11823" y="2105"/>
                  </a:moveTo>
                  <a:lnTo>
                    <a:pt x="11887" y="2105"/>
                  </a:lnTo>
                  <a:lnTo>
                    <a:pt x="11887" y="2040"/>
                  </a:lnTo>
                  <a:lnTo>
                    <a:pt x="11823" y="2040"/>
                  </a:lnTo>
                  <a:lnTo>
                    <a:pt x="11823" y="2105"/>
                  </a:lnTo>
                  <a:close/>
                  <a:moveTo>
                    <a:pt x="11823" y="2218"/>
                  </a:moveTo>
                  <a:lnTo>
                    <a:pt x="11887" y="2218"/>
                  </a:lnTo>
                  <a:lnTo>
                    <a:pt x="11887" y="2153"/>
                  </a:lnTo>
                  <a:lnTo>
                    <a:pt x="11823" y="2153"/>
                  </a:lnTo>
                  <a:lnTo>
                    <a:pt x="11823" y="2218"/>
                  </a:lnTo>
                  <a:close/>
                  <a:moveTo>
                    <a:pt x="11823" y="2332"/>
                  </a:moveTo>
                  <a:lnTo>
                    <a:pt x="11887" y="2332"/>
                  </a:lnTo>
                  <a:lnTo>
                    <a:pt x="11887" y="2268"/>
                  </a:lnTo>
                  <a:lnTo>
                    <a:pt x="11823" y="2268"/>
                  </a:lnTo>
                  <a:lnTo>
                    <a:pt x="11823" y="2332"/>
                  </a:lnTo>
                  <a:close/>
                  <a:moveTo>
                    <a:pt x="11823" y="2445"/>
                  </a:moveTo>
                  <a:lnTo>
                    <a:pt x="11887" y="2445"/>
                  </a:lnTo>
                  <a:lnTo>
                    <a:pt x="11887" y="2381"/>
                  </a:lnTo>
                  <a:lnTo>
                    <a:pt x="11823" y="2381"/>
                  </a:lnTo>
                  <a:lnTo>
                    <a:pt x="11823" y="2445"/>
                  </a:lnTo>
                  <a:close/>
                  <a:moveTo>
                    <a:pt x="11823" y="2557"/>
                  </a:moveTo>
                  <a:lnTo>
                    <a:pt x="11887" y="2557"/>
                  </a:lnTo>
                  <a:lnTo>
                    <a:pt x="11887" y="2493"/>
                  </a:lnTo>
                  <a:lnTo>
                    <a:pt x="11823" y="2493"/>
                  </a:lnTo>
                  <a:lnTo>
                    <a:pt x="11823" y="2557"/>
                  </a:lnTo>
                  <a:close/>
                  <a:moveTo>
                    <a:pt x="11823" y="3009"/>
                  </a:moveTo>
                  <a:lnTo>
                    <a:pt x="11887" y="3009"/>
                  </a:lnTo>
                  <a:lnTo>
                    <a:pt x="11887" y="2945"/>
                  </a:lnTo>
                  <a:lnTo>
                    <a:pt x="11823" y="2945"/>
                  </a:lnTo>
                  <a:lnTo>
                    <a:pt x="11823" y="3009"/>
                  </a:lnTo>
                  <a:close/>
                  <a:moveTo>
                    <a:pt x="11823" y="6287"/>
                  </a:moveTo>
                  <a:lnTo>
                    <a:pt x="11887" y="6287"/>
                  </a:lnTo>
                  <a:lnTo>
                    <a:pt x="11887" y="6223"/>
                  </a:lnTo>
                  <a:lnTo>
                    <a:pt x="11823" y="6223"/>
                  </a:lnTo>
                  <a:lnTo>
                    <a:pt x="11823" y="6287"/>
                  </a:lnTo>
                  <a:close/>
                  <a:moveTo>
                    <a:pt x="11823" y="6514"/>
                  </a:moveTo>
                  <a:lnTo>
                    <a:pt x="11887" y="6514"/>
                  </a:lnTo>
                  <a:lnTo>
                    <a:pt x="11887" y="6450"/>
                  </a:lnTo>
                  <a:lnTo>
                    <a:pt x="11823" y="6450"/>
                  </a:lnTo>
                  <a:lnTo>
                    <a:pt x="11823" y="6514"/>
                  </a:lnTo>
                  <a:close/>
                  <a:moveTo>
                    <a:pt x="11823" y="6625"/>
                  </a:moveTo>
                  <a:lnTo>
                    <a:pt x="11887" y="6625"/>
                  </a:lnTo>
                  <a:lnTo>
                    <a:pt x="11887" y="6561"/>
                  </a:lnTo>
                  <a:lnTo>
                    <a:pt x="11823" y="6561"/>
                  </a:lnTo>
                  <a:lnTo>
                    <a:pt x="11823" y="6625"/>
                  </a:lnTo>
                  <a:close/>
                  <a:moveTo>
                    <a:pt x="11823" y="6738"/>
                  </a:moveTo>
                  <a:lnTo>
                    <a:pt x="11887" y="6738"/>
                  </a:lnTo>
                  <a:lnTo>
                    <a:pt x="11887" y="6675"/>
                  </a:lnTo>
                  <a:lnTo>
                    <a:pt x="11823" y="6675"/>
                  </a:lnTo>
                  <a:lnTo>
                    <a:pt x="11823" y="6738"/>
                  </a:lnTo>
                  <a:close/>
                  <a:moveTo>
                    <a:pt x="11936" y="1880"/>
                  </a:moveTo>
                  <a:lnTo>
                    <a:pt x="12001" y="1880"/>
                  </a:lnTo>
                  <a:lnTo>
                    <a:pt x="12001" y="1816"/>
                  </a:lnTo>
                  <a:lnTo>
                    <a:pt x="11936" y="1816"/>
                  </a:lnTo>
                  <a:lnTo>
                    <a:pt x="11936" y="1880"/>
                  </a:lnTo>
                  <a:close/>
                  <a:moveTo>
                    <a:pt x="11936" y="1994"/>
                  </a:moveTo>
                  <a:lnTo>
                    <a:pt x="12001" y="1994"/>
                  </a:lnTo>
                  <a:lnTo>
                    <a:pt x="12001" y="1929"/>
                  </a:lnTo>
                  <a:lnTo>
                    <a:pt x="11936" y="1929"/>
                  </a:lnTo>
                  <a:lnTo>
                    <a:pt x="11936" y="1994"/>
                  </a:lnTo>
                  <a:close/>
                  <a:moveTo>
                    <a:pt x="11936" y="2105"/>
                  </a:moveTo>
                  <a:lnTo>
                    <a:pt x="12001" y="2105"/>
                  </a:lnTo>
                  <a:lnTo>
                    <a:pt x="12001" y="2040"/>
                  </a:lnTo>
                  <a:lnTo>
                    <a:pt x="11936" y="2040"/>
                  </a:lnTo>
                  <a:lnTo>
                    <a:pt x="11936" y="2105"/>
                  </a:lnTo>
                  <a:close/>
                  <a:moveTo>
                    <a:pt x="11936" y="2218"/>
                  </a:moveTo>
                  <a:lnTo>
                    <a:pt x="12001" y="2218"/>
                  </a:lnTo>
                  <a:lnTo>
                    <a:pt x="12001" y="2153"/>
                  </a:lnTo>
                  <a:lnTo>
                    <a:pt x="11936" y="2153"/>
                  </a:lnTo>
                  <a:lnTo>
                    <a:pt x="11936" y="2218"/>
                  </a:lnTo>
                  <a:close/>
                  <a:moveTo>
                    <a:pt x="11936" y="2332"/>
                  </a:moveTo>
                  <a:lnTo>
                    <a:pt x="12001" y="2332"/>
                  </a:lnTo>
                  <a:lnTo>
                    <a:pt x="12001" y="2268"/>
                  </a:lnTo>
                  <a:lnTo>
                    <a:pt x="11936" y="2268"/>
                  </a:lnTo>
                  <a:lnTo>
                    <a:pt x="11936" y="2332"/>
                  </a:lnTo>
                  <a:close/>
                  <a:moveTo>
                    <a:pt x="11936" y="2445"/>
                  </a:moveTo>
                  <a:lnTo>
                    <a:pt x="12001" y="2445"/>
                  </a:lnTo>
                  <a:lnTo>
                    <a:pt x="12001" y="2381"/>
                  </a:lnTo>
                  <a:lnTo>
                    <a:pt x="11936" y="2381"/>
                  </a:lnTo>
                  <a:lnTo>
                    <a:pt x="11936" y="2445"/>
                  </a:lnTo>
                  <a:close/>
                  <a:moveTo>
                    <a:pt x="11936" y="6401"/>
                  </a:moveTo>
                  <a:lnTo>
                    <a:pt x="12001" y="6401"/>
                  </a:lnTo>
                  <a:lnTo>
                    <a:pt x="12001" y="6337"/>
                  </a:lnTo>
                  <a:lnTo>
                    <a:pt x="11936" y="6337"/>
                  </a:lnTo>
                  <a:lnTo>
                    <a:pt x="11936" y="6401"/>
                  </a:lnTo>
                  <a:close/>
                  <a:moveTo>
                    <a:pt x="11936" y="6514"/>
                  </a:moveTo>
                  <a:lnTo>
                    <a:pt x="12001" y="6514"/>
                  </a:lnTo>
                  <a:lnTo>
                    <a:pt x="12001" y="6450"/>
                  </a:lnTo>
                  <a:lnTo>
                    <a:pt x="11936" y="6450"/>
                  </a:lnTo>
                  <a:lnTo>
                    <a:pt x="11936" y="6514"/>
                  </a:lnTo>
                  <a:close/>
                  <a:moveTo>
                    <a:pt x="11936" y="6625"/>
                  </a:moveTo>
                  <a:lnTo>
                    <a:pt x="12001" y="6625"/>
                  </a:lnTo>
                  <a:lnTo>
                    <a:pt x="12001" y="6561"/>
                  </a:lnTo>
                  <a:lnTo>
                    <a:pt x="11936" y="6561"/>
                  </a:lnTo>
                  <a:lnTo>
                    <a:pt x="11936" y="6625"/>
                  </a:lnTo>
                  <a:close/>
                  <a:moveTo>
                    <a:pt x="12051" y="1649"/>
                  </a:moveTo>
                  <a:lnTo>
                    <a:pt x="12115" y="1649"/>
                  </a:lnTo>
                  <a:lnTo>
                    <a:pt x="12115" y="1585"/>
                  </a:lnTo>
                  <a:lnTo>
                    <a:pt x="12051" y="1585"/>
                  </a:lnTo>
                  <a:lnTo>
                    <a:pt x="12051" y="1649"/>
                  </a:lnTo>
                  <a:close/>
                  <a:moveTo>
                    <a:pt x="12051" y="1994"/>
                  </a:moveTo>
                  <a:lnTo>
                    <a:pt x="12115" y="1994"/>
                  </a:lnTo>
                  <a:lnTo>
                    <a:pt x="12115" y="1929"/>
                  </a:lnTo>
                  <a:lnTo>
                    <a:pt x="12051" y="1929"/>
                  </a:lnTo>
                  <a:lnTo>
                    <a:pt x="12051" y="1994"/>
                  </a:lnTo>
                  <a:close/>
                  <a:moveTo>
                    <a:pt x="12051" y="2105"/>
                  </a:moveTo>
                  <a:lnTo>
                    <a:pt x="12115" y="2105"/>
                  </a:lnTo>
                  <a:lnTo>
                    <a:pt x="12115" y="2040"/>
                  </a:lnTo>
                  <a:lnTo>
                    <a:pt x="12051" y="2040"/>
                  </a:lnTo>
                  <a:lnTo>
                    <a:pt x="12051" y="2105"/>
                  </a:lnTo>
                  <a:close/>
                  <a:moveTo>
                    <a:pt x="12051" y="2218"/>
                  </a:moveTo>
                  <a:lnTo>
                    <a:pt x="12115" y="2218"/>
                  </a:lnTo>
                  <a:lnTo>
                    <a:pt x="12115" y="2153"/>
                  </a:lnTo>
                  <a:lnTo>
                    <a:pt x="12051" y="2153"/>
                  </a:lnTo>
                  <a:lnTo>
                    <a:pt x="12051" y="2218"/>
                  </a:lnTo>
                  <a:close/>
                  <a:moveTo>
                    <a:pt x="12051" y="2445"/>
                  </a:moveTo>
                  <a:lnTo>
                    <a:pt x="12115" y="2445"/>
                  </a:lnTo>
                  <a:lnTo>
                    <a:pt x="12115" y="2381"/>
                  </a:lnTo>
                  <a:lnTo>
                    <a:pt x="12051" y="2381"/>
                  </a:lnTo>
                  <a:lnTo>
                    <a:pt x="12051" y="2445"/>
                  </a:lnTo>
                  <a:close/>
                  <a:moveTo>
                    <a:pt x="12051" y="3122"/>
                  </a:moveTo>
                  <a:lnTo>
                    <a:pt x="12115" y="3122"/>
                  </a:lnTo>
                  <a:lnTo>
                    <a:pt x="12115" y="3058"/>
                  </a:lnTo>
                  <a:lnTo>
                    <a:pt x="12051" y="3058"/>
                  </a:lnTo>
                  <a:lnTo>
                    <a:pt x="12051" y="3122"/>
                  </a:lnTo>
                  <a:close/>
                  <a:moveTo>
                    <a:pt x="12163" y="1649"/>
                  </a:moveTo>
                  <a:lnTo>
                    <a:pt x="12228" y="1649"/>
                  </a:lnTo>
                  <a:lnTo>
                    <a:pt x="12228" y="1585"/>
                  </a:lnTo>
                  <a:lnTo>
                    <a:pt x="12163" y="1585"/>
                  </a:lnTo>
                  <a:lnTo>
                    <a:pt x="12163" y="1649"/>
                  </a:lnTo>
                  <a:close/>
                  <a:moveTo>
                    <a:pt x="12163" y="1994"/>
                  </a:moveTo>
                  <a:lnTo>
                    <a:pt x="12228" y="1994"/>
                  </a:lnTo>
                  <a:lnTo>
                    <a:pt x="12228" y="1929"/>
                  </a:lnTo>
                  <a:lnTo>
                    <a:pt x="12163" y="1929"/>
                  </a:lnTo>
                  <a:lnTo>
                    <a:pt x="12163" y="1994"/>
                  </a:lnTo>
                  <a:close/>
                  <a:moveTo>
                    <a:pt x="12163" y="2105"/>
                  </a:moveTo>
                  <a:lnTo>
                    <a:pt x="12228" y="2105"/>
                  </a:lnTo>
                  <a:lnTo>
                    <a:pt x="12228" y="2040"/>
                  </a:lnTo>
                  <a:lnTo>
                    <a:pt x="12163" y="2040"/>
                  </a:lnTo>
                  <a:lnTo>
                    <a:pt x="12163" y="2105"/>
                  </a:lnTo>
                  <a:close/>
                  <a:moveTo>
                    <a:pt x="12163" y="2218"/>
                  </a:moveTo>
                  <a:lnTo>
                    <a:pt x="12228" y="2218"/>
                  </a:lnTo>
                  <a:lnTo>
                    <a:pt x="12228" y="2153"/>
                  </a:lnTo>
                  <a:lnTo>
                    <a:pt x="12163" y="2153"/>
                  </a:lnTo>
                  <a:lnTo>
                    <a:pt x="12163" y="2218"/>
                  </a:lnTo>
                  <a:close/>
                  <a:moveTo>
                    <a:pt x="12163" y="3122"/>
                  </a:moveTo>
                  <a:lnTo>
                    <a:pt x="12228" y="3122"/>
                  </a:lnTo>
                  <a:lnTo>
                    <a:pt x="12228" y="3058"/>
                  </a:lnTo>
                  <a:lnTo>
                    <a:pt x="12163" y="3058"/>
                  </a:lnTo>
                  <a:lnTo>
                    <a:pt x="12163" y="3122"/>
                  </a:lnTo>
                  <a:close/>
                  <a:moveTo>
                    <a:pt x="12278" y="2105"/>
                  </a:moveTo>
                  <a:lnTo>
                    <a:pt x="12342" y="2105"/>
                  </a:lnTo>
                  <a:lnTo>
                    <a:pt x="12342" y="2040"/>
                  </a:lnTo>
                  <a:lnTo>
                    <a:pt x="12278" y="2040"/>
                  </a:lnTo>
                  <a:lnTo>
                    <a:pt x="12278" y="2105"/>
                  </a:lnTo>
                  <a:close/>
                  <a:moveTo>
                    <a:pt x="12278" y="2218"/>
                  </a:moveTo>
                  <a:lnTo>
                    <a:pt x="12342" y="2218"/>
                  </a:lnTo>
                  <a:lnTo>
                    <a:pt x="12342" y="2153"/>
                  </a:lnTo>
                  <a:lnTo>
                    <a:pt x="12278" y="2153"/>
                  </a:lnTo>
                  <a:lnTo>
                    <a:pt x="12278" y="2218"/>
                  </a:lnTo>
                  <a:close/>
                  <a:moveTo>
                    <a:pt x="12278" y="2332"/>
                  </a:moveTo>
                  <a:lnTo>
                    <a:pt x="12342" y="2332"/>
                  </a:lnTo>
                  <a:lnTo>
                    <a:pt x="12342" y="2268"/>
                  </a:lnTo>
                  <a:lnTo>
                    <a:pt x="12278" y="2268"/>
                  </a:lnTo>
                  <a:lnTo>
                    <a:pt x="12278" y="2332"/>
                  </a:lnTo>
                  <a:close/>
                  <a:moveTo>
                    <a:pt x="12278" y="3122"/>
                  </a:moveTo>
                  <a:lnTo>
                    <a:pt x="12342" y="3122"/>
                  </a:lnTo>
                  <a:lnTo>
                    <a:pt x="12342" y="3058"/>
                  </a:lnTo>
                  <a:lnTo>
                    <a:pt x="12278" y="3058"/>
                  </a:lnTo>
                  <a:lnTo>
                    <a:pt x="12278" y="3122"/>
                  </a:lnTo>
                  <a:close/>
                  <a:moveTo>
                    <a:pt x="12391" y="2105"/>
                  </a:moveTo>
                  <a:lnTo>
                    <a:pt x="12456" y="2105"/>
                  </a:lnTo>
                  <a:lnTo>
                    <a:pt x="12456" y="2040"/>
                  </a:lnTo>
                  <a:lnTo>
                    <a:pt x="12391" y="2040"/>
                  </a:lnTo>
                  <a:lnTo>
                    <a:pt x="12391" y="2105"/>
                  </a:lnTo>
                  <a:close/>
                  <a:moveTo>
                    <a:pt x="12391" y="2218"/>
                  </a:moveTo>
                  <a:lnTo>
                    <a:pt x="12456" y="2218"/>
                  </a:lnTo>
                  <a:lnTo>
                    <a:pt x="12456" y="2153"/>
                  </a:lnTo>
                  <a:lnTo>
                    <a:pt x="12391" y="2153"/>
                  </a:lnTo>
                  <a:lnTo>
                    <a:pt x="12391" y="2218"/>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5A9A"/>
                </a:solidFill>
                <a:effectLst/>
                <a:uLnTx/>
                <a:uFillTx/>
                <a:ea typeface="+mn-ea"/>
                <a:cs typeface="+mn-cs"/>
              </a:endParaRPr>
            </a:p>
          </p:txBody>
        </p:sp>
        <p:sp>
          <p:nvSpPr>
            <p:cNvPr id="593" name="Rectangle 51">
              <a:extLst>
                <a:ext uri="{FF2B5EF4-FFF2-40B4-BE49-F238E27FC236}">
                  <a16:creationId xmlns:a16="http://schemas.microsoft.com/office/drawing/2014/main" id="{6E43C35A-267E-4EFF-A786-DF4354E4F8CE}"/>
                </a:ext>
              </a:extLst>
            </p:cNvPr>
            <p:cNvSpPr>
              <a:spLocks noChangeArrowheads="1"/>
            </p:cNvSpPr>
            <p:nvPr/>
          </p:nvSpPr>
          <p:spPr bwMode="auto">
            <a:xfrm>
              <a:off x="5879266" y="4739426"/>
              <a:ext cx="180000" cy="180000"/>
            </a:xfrm>
            <a:prstGeom prst="ellipse">
              <a:avLst/>
            </a:prstGeom>
            <a:solidFill>
              <a:schemeClr val="tx2">
                <a:alpha val="69804"/>
              </a:scheme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594" name="Rectangle 71">
              <a:extLst>
                <a:ext uri="{FF2B5EF4-FFF2-40B4-BE49-F238E27FC236}">
                  <a16:creationId xmlns:a16="http://schemas.microsoft.com/office/drawing/2014/main" id="{FD67AF81-BE8D-4283-8042-DE31DBD45D2B}"/>
                </a:ext>
              </a:extLst>
            </p:cNvPr>
            <p:cNvSpPr>
              <a:spLocks noChangeArrowheads="1"/>
            </p:cNvSpPr>
            <p:nvPr/>
          </p:nvSpPr>
          <p:spPr bwMode="auto">
            <a:xfrm>
              <a:off x="6238347" y="5272999"/>
              <a:ext cx="180000" cy="180000"/>
            </a:xfrm>
            <a:prstGeom prst="ellipse">
              <a:avLst/>
            </a:prstGeom>
            <a:solidFill>
              <a:srgbClr val="E18800">
                <a:alpha val="69804"/>
              </a:srgb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595" name="Rectangle 73">
              <a:extLst>
                <a:ext uri="{FF2B5EF4-FFF2-40B4-BE49-F238E27FC236}">
                  <a16:creationId xmlns:a16="http://schemas.microsoft.com/office/drawing/2014/main" id="{0AA9FF52-7B63-4C5A-B970-D95FEF823373}"/>
                </a:ext>
              </a:extLst>
            </p:cNvPr>
            <p:cNvSpPr>
              <a:spLocks noChangeArrowheads="1"/>
            </p:cNvSpPr>
            <p:nvPr/>
          </p:nvSpPr>
          <p:spPr bwMode="auto">
            <a:xfrm>
              <a:off x="5938959" y="5272999"/>
              <a:ext cx="180000" cy="180000"/>
            </a:xfrm>
            <a:prstGeom prst="ellipse">
              <a:avLst/>
            </a:prstGeom>
            <a:solidFill>
              <a:schemeClr val="tx2">
                <a:alpha val="69804"/>
              </a:scheme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597" name="Rectangle 403">
              <a:extLst>
                <a:ext uri="{FF2B5EF4-FFF2-40B4-BE49-F238E27FC236}">
                  <a16:creationId xmlns:a16="http://schemas.microsoft.com/office/drawing/2014/main" id="{6A2E8B54-0E58-4728-AEDE-26CDDD3E25F7}"/>
                </a:ext>
              </a:extLst>
            </p:cNvPr>
            <p:cNvSpPr>
              <a:spLocks noChangeArrowheads="1"/>
            </p:cNvSpPr>
            <p:nvPr/>
          </p:nvSpPr>
          <p:spPr bwMode="auto">
            <a:xfrm>
              <a:off x="5729572" y="4163329"/>
              <a:ext cx="180000" cy="180000"/>
            </a:xfrm>
            <a:prstGeom prst="ellipse">
              <a:avLst/>
            </a:prstGeom>
            <a:solidFill>
              <a:srgbClr val="A1AF4E">
                <a:alpha val="69804"/>
              </a:srgb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598" name="Rectangle 404">
              <a:extLst>
                <a:ext uri="{FF2B5EF4-FFF2-40B4-BE49-F238E27FC236}">
                  <a16:creationId xmlns:a16="http://schemas.microsoft.com/office/drawing/2014/main" id="{F4935D09-6248-415C-9CA1-6DACEDEF733A}"/>
                </a:ext>
              </a:extLst>
            </p:cNvPr>
            <p:cNvSpPr>
              <a:spLocks noChangeArrowheads="1"/>
            </p:cNvSpPr>
            <p:nvPr/>
          </p:nvSpPr>
          <p:spPr bwMode="auto">
            <a:xfrm>
              <a:off x="5579878" y="4163329"/>
              <a:ext cx="180000" cy="180000"/>
            </a:xfrm>
            <a:prstGeom prst="ellipse">
              <a:avLst/>
            </a:prstGeom>
            <a:solidFill>
              <a:schemeClr val="tx2">
                <a:alpha val="69804"/>
              </a:scheme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599" name="Rectangle 405">
              <a:extLst>
                <a:ext uri="{FF2B5EF4-FFF2-40B4-BE49-F238E27FC236}">
                  <a16:creationId xmlns:a16="http://schemas.microsoft.com/office/drawing/2014/main" id="{D4359AD8-33A3-4182-AB04-D1919B8F3FCE}"/>
                </a:ext>
              </a:extLst>
            </p:cNvPr>
            <p:cNvSpPr>
              <a:spLocks noChangeArrowheads="1"/>
            </p:cNvSpPr>
            <p:nvPr/>
          </p:nvSpPr>
          <p:spPr bwMode="auto">
            <a:xfrm>
              <a:off x="5579878" y="4013635"/>
              <a:ext cx="180000" cy="180000"/>
            </a:xfrm>
            <a:prstGeom prst="ellipse">
              <a:avLst/>
            </a:prstGeom>
            <a:solidFill>
              <a:srgbClr val="E18800">
                <a:alpha val="69804"/>
              </a:srgb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600" name="Rectangle 406">
              <a:extLst>
                <a:ext uri="{FF2B5EF4-FFF2-40B4-BE49-F238E27FC236}">
                  <a16:creationId xmlns:a16="http://schemas.microsoft.com/office/drawing/2014/main" id="{50792193-105D-48AC-8285-01C63EF55E0C}"/>
                </a:ext>
              </a:extLst>
            </p:cNvPr>
            <p:cNvSpPr>
              <a:spLocks noChangeArrowheads="1"/>
            </p:cNvSpPr>
            <p:nvPr/>
          </p:nvSpPr>
          <p:spPr bwMode="auto">
            <a:xfrm>
              <a:off x="5729572" y="4013635"/>
              <a:ext cx="180000" cy="180000"/>
            </a:xfrm>
            <a:prstGeom prst="ellipse">
              <a:avLst/>
            </a:prstGeom>
            <a:solidFill>
              <a:srgbClr val="D14B40">
                <a:alpha val="69804"/>
              </a:srgb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601" name="Rectangle 407">
              <a:extLst>
                <a:ext uri="{FF2B5EF4-FFF2-40B4-BE49-F238E27FC236}">
                  <a16:creationId xmlns:a16="http://schemas.microsoft.com/office/drawing/2014/main" id="{CA5E884E-3C85-4E1B-90C4-61A95503C972}"/>
                </a:ext>
              </a:extLst>
            </p:cNvPr>
            <p:cNvSpPr>
              <a:spLocks noChangeArrowheads="1"/>
            </p:cNvSpPr>
            <p:nvPr/>
          </p:nvSpPr>
          <p:spPr bwMode="auto">
            <a:xfrm>
              <a:off x="7563460" y="3760198"/>
              <a:ext cx="180000" cy="180000"/>
            </a:xfrm>
            <a:prstGeom prst="ellipse">
              <a:avLst/>
            </a:prstGeom>
            <a:solidFill>
              <a:srgbClr val="A1AF4E">
                <a:alpha val="69804"/>
              </a:srgb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602" name="Rectangle 409">
              <a:extLst>
                <a:ext uri="{FF2B5EF4-FFF2-40B4-BE49-F238E27FC236}">
                  <a16:creationId xmlns:a16="http://schemas.microsoft.com/office/drawing/2014/main" id="{A733A2C2-0970-4322-AC70-6A2B9ECD74BE}"/>
                </a:ext>
              </a:extLst>
            </p:cNvPr>
            <p:cNvSpPr>
              <a:spLocks noChangeArrowheads="1"/>
            </p:cNvSpPr>
            <p:nvPr/>
          </p:nvSpPr>
          <p:spPr bwMode="auto">
            <a:xfrm>
              <a:off x="7563460" y="3610504"/>
              <a:ext cx="180000" cy="180000"/>
            </a:xfrm>
            <a:prstGeom prst="ellipse">
              <a:avLst/>
            </a:prstGeom>
            <a:solidFill>
              <a:srgbClr val="D14B40">
                <a:alpha val="69804"/>
              </a:srgb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603" name="Rectangle 410">
              <a:extLst>
                <a:ext uri="{FF2B5EF4-FFF2-40B4-BE49-F238E27FC236}">
                  <a16:creationId xmlns:a16="http://schemas.microsoft.com/office/drawing/2014/main" id="{178BCADB-82FE-40C1-8750-86539BC152A1}"/>
                </a:ext>
              </a:extLst>
            </p:cNvPr>
            <p:cNvSpPr>
              <a:spLocks noChangeArrowheads="1"/>
            </p:cNvSpPr>
            <p:nvPr/>
          </p:nvSpPr>
          <p:spPr bwMode="auto">
            <a:xfrm>
              <a:off x="7413767" y="3610504"/>
              <a:ext cx="180000" cy="180000"/>
            </a:xfrm>
            <a:prstGeom prst="ellipse">
              <a:avLst/>
            </a:prstGeom>
            <a:solidFill>
              <a:srgbClr val="E18800">
                <a:alpha val="69804"/>
              </a:srgb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604" name="Rectangle 411">
              <a:extLst>
                <a:ext uri="{FF2B5EF4-FFF2-40B4-BE49-F238E27FC236}">
                  <a16:creationId xmlns:a16="http://schemas.microsoft.com/office/drawing/2014/main" id="{7F7F1946-58AD-4D80-A3C6-6636568DEA18}"/>
                </a:ext>
              </a:extLst>
            </p:cNvPr>
            <p:cNvSpPr>
              <a:spLocks noChangeArrowheads="1"/>
            </p:cNvSpPr>
            <p:nvPr/>
          </p:nvSpPr>
          <p:spPr bwMode="auto">
            <a:xfrm>
              <a:off x="7413767" y="3760198"/>
              <a:ext cx="180000" cy="180000"/>
            </a:xfrm>
            <a:prstGeom prst="ellipse">
              <a:avLst/>
            </a:prstGeom>
            <a:solidFill>
              <a:schemeClr val="tx2">
                <a:alpha val="69804"/>
              </a:scheme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605" name="Rectangle 412">
              <a:extLst>
                <a:ext uri="{FF2B5EF4-FFF2-40B4-BE49-F238E27FC236}">
                  <a16:creationId xmlns:a16="http://schemas.microsoft.com/office/drawing/2014/main" id="{299FD184-E069-4705-B486-1FBFA6D02868}"/>
                </a:ext>
              </a:extLst>
            </p:cNvPr>
            <p:cNvSpPr>
              <a:spLocks noChangeArrowheads="1"/>
            </p:cNvSpPr>
            <p:nvPr/>
          </p:nvSpPr>
          <p:spPr bwMode="auto">
            <a:xfrm>
              <a:off x="7490424" y="5330406"/>
              <a:ext cx="180000" cy="180000"/>
            </a:xfrm>
            <a:prstGeom prst="ellipse">
              <a:avLst/>
            </a:prstGeom>
            <a:solidFill>
              <a:schemeClr val="tx2">
                <a:alpha val="69804"/>
              </a:scheme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606" name="Rectangle 413">
              <a:extLst>
                <a:ext uri="{FF2B5EF4-FFF2-40B4-BE49-F238E27FC236}">
                  <a16:creationId xmlns:a16="http://schemas.microsoft.com/office/drawing/2014/main" id="{44C512E6-8203-4D80-BB48-038EF9A7EBFB}"/>
                </a:ext>
              </a:extLst>
            </p:cNvPr>
            <p:cNvSpPr>
              <a:spLocks noChangeArrowheads="1"/>
            </p:cNvSpPr>
            <p:nvPr/>
          </p:nvSpPr>
          <p:spPr bwMode="auto">
            <a:xfrm>
              <a:off x="8828333" y="4419318"/>
              <a:ext cx="180000" cy="180000"/>
            </a:xfrm>
            <a:prstGeom prst="ellipse">
              <a:avLst/>
            </a:prstGeom>
            <a:solidFill>
              <a:srgbClr val="D14B40">
                <a:alpha val="69804"/>
              </a:srgb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607" name="Rectangle 414">
              <a:extLst>
                <a:ext uri="{FF2B5EF4-FFF2-40B4-BE49-F238E27FC236}">
                  <a16:creationId xmlns:a16="http://schemas.microsoft.com/office/drawing/2014/main" id="{CD12AD7D-6821-4764-9B0F-271918685FA9}"/>
                </a:ext>
              </a:extLst>
            </p:cNvPr>
            <p:cNvSpPr>
              <a:spLocks noChangeArrowheads="1"/>
            </p:cNvSpPr>
            <p:nvPr/>
          </p:nvSpPr>
          <p:spPr bwMode="auto">
            <a:xfrm>
              <a:off x="8828333" y="4569010"/>
              <a:ext cx="180000" cy="180000"/>
            </a:xfrm>
            <a:prstGeom prst="ellipse">
              <a:avLst/>
            </a:prstGeom>
            <a:solidFill>
              <a:srgbClr val="E18800">
                <a:alpha val="69804"/>
              </a:srgb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608" name="Rectangle 415">
              <a:extLst>
                <a:ext uri="{FF2B5EF4-FFF2-40B4-BE49-F238E27FC236}">
                  <a16:creationId xmlns:a16="http://schemas.microsoft.com/office/drawing/2014/main" id="{8E0C1766-F198-4C26-A3AF-2B08B528EAD2}"/>
                </a:ext>
              </a:extLst>
            </p:cNvPr>
            <p:cNvSpPr>
              <a:spLocks noChangeArrowheads="1"/>
            </p:cNvSpPr>
            <p:nvPr/>
          </p:nvSpPr>
          <p:spPr bwMode="auto">
            <a:xfrm>
              <a:off x="8828333" y="4718704"/>
              <a:ext cx="180000" cy="180000"/>
            </a:xfrm>
            <a:prstGeom prst="ellipse">
              <a:avLst/>
            </a:prstGeom>
            <a:solidFill>
              <a:schemeClr val="tx2">
                <a:alpha val="69804"/>
              </a:scheme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609" name="Rectangle 416">
              <a:extLst>
                <a:ext uri="{FF2B5EF4-FFF2-40B4-BE49-F238E27FC236}">
                  <a16:creationId xmlns:a16="http://schemas.microsoft.com/office/drawing/2014/main" id="{79F2FF59-02DE-4075-8641-4A647F925503}"/>
                </a:ext>
              </a:extLst>
            </p:cNvPr>
            <p:cNvSpPr>
              <a:spLocks noChangeArrowheads="1"/>
            </p:cNvSpPr>
            <p:nvPr/>
          </p:nvSpPr>
          <p:spPr bwMode="auto">
            <a:xfrm>
              <a:off x="9381912" y="3833635"/>
              <a:ext cx="180000" cy="180000"/>
            </a:xfrm>
            <a:prstGeom prst="ellipse">
              <a:avLst/>
            </a:prstGeom>
            <a:solidFill>
              <a:schemeClr val="tx2">
                <a:alpha val="69804"/>
              </a:scheme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610" name="Rectangle 416">
              <a:extLst>
                <a:ext uri="{FF2B5EF4-FFF2-40B4-BE49-F238E27FC236}">
                  <a16:creationId xmlns:a16="http://schemas.microsoft.com/office/drawing/2014/main" id="{79F2FF59-02DE-4075-8641-4A647F925503}"/>
                </a:ext>
              </a:extLst>
            </p:cNvPr>
            <p:cNvSpPr>
              <a:spLocks noChangeArrowheads="1"/>
            </p:cNvSpPr>
            <p:nvPr/>
          </p:nvSpPr>
          <p:spPr bwMode="auto">
            <a:xfrm>
              <a:off x="9244676" y="3833635"/>
              <a:ext cx="180000" cy="180000"/>
            </a:xfrm>
            <a:prstGeom prst="ellipse">
              <a:avLst/>
            </a:prstGeom>
            <a:solidFill>
              <a:srgbClr val="E18800">
                <a:alpha val="69804"/>
              </a:srgb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grpSp>
      <p:sp>
        <p:nvSpPr>
          <p:cNvPr id="47" name="Textplatzhalter 5">
            <a:extLst>
              <a:ext uri="{FF2B5EF4-FFF2-40B4-BE49-F238E27FC236}">
                <a16:creationId xmlns:a16="http://schemas.microsoft.com/office/drawing/2014/main" id="{6F60AE26-EFB4-453F-BD8C-E1821FFC49EF}"/>
              </a:ext>
            </a:extLst>
          </p:cNvPr>
          <p:cNvSpPr txBox="1">
            <a:spLocks/>
          </p:cNvSpPr>
          <p:nvPr/>
        </p:nvSpPr>
        <p:spPr>
          <a:xfrm>
            <a:off x="361763" y="2204864"/>
            <a:ext cx="2925131" cy="2901950"/>
          </a:xfrm>
          <a:prstGeom prst="rect">
            <a:avLst/>
          </a:prstGeom>
        </p:spPr>
        <p:txBody>
          <a:bodyPr vert="horz" lIns="0" tIns="0" rIns="0" bIns="0" rtlCol="0" anchor="ctr" anchorCtr="0">
            <a:noAutofit/>
          </a:bodyPr>
          <a:lstStyle>
            <a:lvl1pPr marL="0" indent="0" algn="l" defTabSz="1219078" rtl="0" eaLnBrk="1" latinLnBrk="0" hangingPunct="1">
              <a:lnSpc>
                <a:spcPct val="100000"/>
              </a:lnSpc>
              <a:spcBef>
                <a:spcPts val="0"/>
              </a:spcBef>
              <a:buClr>
                <a:schemeClr val="bg2">
                  <a:lumMod val="25000"/>
                </a:schemeClr>
              </a:buClr>
              <a:buFont typeface="Arial" panose="020B0604020202020204" pitchFamily="34" charset="0"/>
              <a:buNone/>
              <a:defRPr sz="1800" b="1" kern="1200">
                <a:solidFill>
                  <a:schemeClr val="bg2">
                    <a:lumMod val="25000"/>
                  </a:schemeClr>
                </a:solidFill>
                <a:latin typeface="Univers" panose="020B0503020202020204" pitchFamily="34" charset="0"/>
                <a:ea typeface="+mn-ea"/>
                <a:cs typeface="+mn-cs"/>
              </a:defRPr>
            </a:lvl1pPr>
            <a:lvl2pPr marL="0" indent="0" algn="l" defTabSz="1219078" rtl="0" eaLnBrk="1" latinLnBrk="0" hangingPunct="1">
              <a:lnSpc>
                <a:spcPct val="100000"/>
              </a:lnSpc>
              <a:spcBef>
                <a:spcPts val="0"/>
              </a:spcBef>
              <a:buClr>
                <a:schemeClr val="bg2">
                  <a:lumMod val="25000"/>
                </a:schemeClr>
              </a:buClr>
              <a:buFont typeface="Arial" panose="020B0604020202020204" pitchFamily="34" charset="0"/>
              <a:buNone/>
              <a:defRPr sz="1800" kern="1200">
                <a:solidFill>
                  <a:schemeClr val="bg2">
                    <a:lumMod val="25000"/>
                  </a:schemeClr>
                </a:solidFill>
                <a:latin typeface="Univers" panose="020B0503020202020204" pitchFamily="34" charset="0"/>
                <a:ea typeface="+mn-ea"/>
                <a:cs typeface="+mn-cs"/>
              </a:defRPr>
            </a:lvl2pPr>
            <a:lvl3pPr marL="216000" indent="-216000" algn="l" defTabSz="1219078" rtl="0" eaLnBrk="1" latinLnBrk="0" hangingPunct="1">
              <a:lnSpc>
                <a:spcPct val="100000"/>
              </a:lnSpc>
              <a:spcBef>
                <a:spcPts val="600"/>
              </a:spcBef>
              <a:buClr>
                <a:schemeClr val="bg2">
                  <a:lumMod val="25000"/>
                </a:schemeClr>
              </a:buClr>
              <a:buFont typeface="Wingdings 2" panose="05020102010507070707" pitchFamily="18" charset="2"/>
              <a:buChar char=""/>
              <a:defRPr sz="1800" kern="1200">
                <a:solidFill>
                  <a:schemeClr val="bg2">
                    <a:lumMod val="25000"/>
                  </a:schemeClr>
                </a:solidFill>
                <a:latin typeface="Univers" panose="020B0503020202020204" pitchFamily="34" charset="0"/>
                <a:ea typeface="+mn-ea"/>
                <a:cs typeface="+mn-cs"/>
              </a:defRPr>
            </a:lvl3pPr>
            <a:lvl4pPr marL="431800" indent="-209550" algn="l" defTabSz="1219078" rtl="0" eaLnBrk="1" latinLnBrk="0" hangingPunct="1">
              <a:lnSpc>
                <a:spcPct val="100000"/>
              </a:lnSpc>
              <a:spcBef>
                <a:spcPts val="600"/>
              </a:spcBef>
              <a:buClr>
                <a:schemeClr val="bg2">
                  <a:lumMod val="25000"/>
                </a:schemeClr>
              </a:buClr>
              <a:buFont typeface="Symbol" panose="05050102010706020507" pitchFamily="18" charset="2"/>
              <a:buChar char="-"/>
              <a:tabLst/>
              <a:defRPr sz="1800" kern="1200">
                <a:solidFill>
                  <a:schemeClr val="bg2">
                    <a:lumMod val="25000"/>
                  </a:schemeClr>
                </a:solidFill>
                <a:latin typeface="Univers" panose="020B0503020202020204" pitchFamily="34" charset="0"/>
                <a:ea typeface="+mn-ea"/>
                <a:cs typeface="+mn-cs"/>
              </a:defRPr>
            </a:lvl4pPr>
            <a:lvl5pPr marL="648000" indent="-216000" algn="l" defTabSz="1219078" rtl="0" eaLnBrk="1" latinLnBrk="0" hangingPunct="1">
              <a:lnSpc>
                <a:spcPct val="100000"/>
              </a:lnSpc>
              <a:spcBef>
                <a:spcPts val="600"/>
              </a:spcBef>
              <a:buClr>
                <a:schemeClr val="bg2">
                  <a:lumMod val="25000"/>
                </a:schemeClr>
              </a:buClr>
              <a:buFont typeface="Wingdings 2" panose="05020102010507070707" pitchFamily="18" charset="2"/>
              <a:buChar char="¡"/>
              <a:defRPr lang="de-DE" sz="1800" kern="1200" dirty="0">
                <a:solidFill>
                  <a:schemeClr val="bg2">
                    <a:lumMod val="25000"/>
                  </a:schemeClr>
                </a:solidFill>
                <a:latin typeface="Univers" panose="020B0503020202020204" pitchFamily="34" charset="0"/>
                <a:ea typeface="+mn-ea"/>
                <a:cs typeface="+mn-cs"/>
              </a:defRPr>
            </a:lvl5pPr>
            <a:lvl6pPr marL="981075" indent="-225425" algn="l" defTabSz="1219078" rtl="0" eaLnBrk="1" latinLnBrk="0" hangingPunct="1">
              <a:spcBef>
                <a:spcPts val="400"/>
              </a:spcBef>
              <a:buClr>
                <a:schemeClr val="bg2">
                  <a:lumMod val="25000"/>
                </a:schemeClr>
              </a:buClr>
              <a:buFont typeface="Symbol" panose="05050102010706020507" pitchFamily="18" charset="2"/>
              <a:buChar char="-"/>
              <a:tabLst/>
              <a:defRPr sz="1800" kern="1200">
                <a:solidFill>
                  <a:schemeClr val="bg2">
                    <a:lumMod val="25000"/>
                  </a:schemeClr>
                </a:solidFill>
                <a:latin typeface="+mn-lt"/>
                <a:ea typeface="+mn-ea"/>
                <a:cs typeface="+mn-cs"/>
              </a:defRPr>
            </a:lvl6pPr>
            <a:lvl7pPr marL="1157288" indent="-176213" algn="l" defTabSz="1219078" rtl="0" eaLnBrk="1" latinLnBrk="0" hangingPunct="1">
              <a:spcBef>
                <a:spcPct val="20000"/>
              </a:spcBef>
              <a:buFont typeface="Wingdings" pitchFamily="2" charset="2"/>
              <a:buChar char="§"/>
              <a:tabLst/>
              <a:defRPr sz="1800" kern="1200">
                <a:solidFill>
                  <a:schemeClr val="bg2">
                    <a:lumMod val="25000"/>
                  </a:schemeClr>
                </a:solidFill>
                <a:latin typeface="+mn-lt"/>
                <a:ea typeface="+mn-ea"/>
                <a:cs typeface="+mn-cs"/>
              </a:defRPr>
            </a:lvl7pPr>
            <a:lvl8pPr marL="1381125" indent="-223838" algn="l" defTabSz="1219078" rtl="0" eaLnBrk="1" latinLnBrk="0" hangingPunct="1">
              <a:spcBef>
                <a:spcPct val="20000"/>
              </a:spcBef>
              <a:buFont typeface="Symbol" pitchFamily="2" charset="2"/>
              <a:buChar char="-"/>
              <a:tabLst/>
              <a:defRPr sz="1800" kern="1200">
                <a:solidFill>
                  <a:schemeClr val="bg2">
                    <a:lumMod val="25000"/>
                  </a:schemeClr>
                </a:solidFill>
                <a:latin typeface="+mn-lt"/>
                <a:ea typeface="+mn-ea"/>
                <a:cs typeface="+mn-cs"/>
              </a:defRPr>
            </a:lvl8pPr>
            <a:lvl9pPr marL="1557338" indent="-176213" algn="l" defTabSz="1219078" rtl="0" eaLnBrk="1" latinLnBrk="0" hangingPunct="1">
              <a:spcBef>
                <a:spcPct val="20000"/>
              </a:spcBef>
              <a:buFont typeface="Wingdings" pitchFamily="2" charset="2"/>
              <a:buChar char="§"/>
              <a:tabLst/>
              <a:defRPr sz="1800" kern="1200">
                <a:solidFill>
                  <a:schemeClr val="bg2">
                    <a:lumMod val="25000"/>
                  </a:schemeClr>
                </a:solidFill>
                <a:latin typeface="+mn-lt"/>
                <a:ea typeface="+mn-ea"/>
                <a:cs typeface="+mn-cs"/>
              </a:defRPr>
            </a:lvl9pPr>
          </a:lstStyle>
          <a:p>
            <a:pPr lvl="2">
              <a:lnSpc>
                <a:spcPts val="2400"/>
              </a:lnSpc>
              <a:spcBef>
                <a:spcPts val="1800"/>
              </a:spcBef>
              <a:spcAft>
                <a:spcPts val="600"/>
              </a:spcAft>
              <a:buClr>
                <a:schemeClr val="bg1"/>
              </a:buClr>
              <a:buFont typeface="Wingdings" panose="05000000000000000000" pitchFamily="2" charset="2"/>
              <a:buChar char="§"/>
            </a:pPr>
            <a:r>
              <a:rPr lang="en-US" dirty="0">
                <a:solidFill>
                  <a:schemeClr val="bg1"/>
                </a:solidFill>
                <a:latin typeface="+mn-lt"/>
              </a:rPr>
              <a:t>1,300 employees</a:t>
            </a:r>
          </a:p>
          <a:p>
            <a:pPr lvl="2">
              <a:lnSpc>
                <a:spcPts val="2400"/>
              </a:lnSpc>
              <a:spcBef>
                <a:spcPts val="1800"/>
              </a:spcBef>
              <a:spcAft>
                <a:spcPts val="600"/>
              </a:spcAft>
              <a:buClr>
                <a:schemeClr val="bg1"/>
              </a:buClr>
              <a:buFont typeface="Wingdings" panose="05000000000000000000" pitchFamily="2" charset="2"/>
              <a:buChar char="§"/>
            </a:pPr>
            <a:r>
              <a:rPr lang="en-US" dirty="0">
                <a:solidFill>
                  <a:schemeClr val="bg1"/>
                </a:solidFill>
                <a:latin typeface="+mn-lt"/>
              </a:rPr>
              <a:t>1,000 experienced IT experts</a:t>
            </a:r>
          </a:p>
          <a:p>
            <a:pPr lvl="2">
              <a:lnSpc>
                <a:spcPts val="2400"/>
              </a:lnSpc>
              <a:spcBef>
                <a:spcPts val="1800"/>
              </a:spcBef>
              <a:spcAft>
                <a:spcPts val="600"/>
              </a:spcAft>
              <a:buClr>
                <a:schemeClr val="bg1"/>
              </a:buClr>
              <a:buFont typeface="Wingdings" panose="05000000000000000000" pitchFamily="2" charset="2"/>
              <a:buChar char="§"/>
            </a:pPr>
            <a:r>
              <a:rPr lang="en-US" dirty="0">
                <a:solidFill>
                  <a:schemeClr val="bg1"/>
                </a:solidFill>
                <a:latin typeface="+mn-lt"/>
              </a:rPr>
              <a:t>Worldwide delivery centers for your transformation projects</a:t>
            </a:r>
          </a:p>
        </p:txBody>
      </p:sp>
      <p:sp>
        <p:nvSpPr>
          <p:cNvPr id="45" name="Rectangle 416">
            <a:extLst>
              <a:ext uri="{FF2B5EF4-FFF2-40B4-BE49-F238E27FC236}">
                <a16:creationId xmlns:a16="http://schemas.microsoft.com/office/drawing/2014/main" id="{69837149-27D9-426E-BFAF-23A317F320A7}"/>
              </a:ext>
            </a:extLst>
          </p:cNvPr>
          <p:cNvSpPr>
            <a:spLocks noChangeArrowheads="1"/>
          </p:cNvSpPr>
          <p:nvPr/>
        </p:nvSpPr>
        <p:spPr bwMode="auto">
          <a:xfrm>
            <a:off x="9730251" y="5264321"/>
            <a:ext cx="180000" cy="180000"/>
          </a:xfrm>
          <a:prstGeom prst="ellipse">
            <a:avLst/>
          </a:prstGeom>
          <a:solidFill>
            <a:schemeClr val="tx2">
              <a:alpha val="69804"/>
            </a:scheme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46" name="Rectangle 416">
            <a:extLst>
              <a:ext uri="{FF2B5EF4-FFF2-40B4-BE49-F238E27FC236}">
                <a16:creationId xmlns:a16="http://schemas.microsoft.com/office/drawing/2014/main" id="{8AB838BA-444E-48AA-8886-EFEA27B6354A}"/>
              </a:ext>
            </a:extLst>
          </p:cNvPr>
          <p:cNvSpPr>
            <a:spLocks noChangeArrowheads="1"/>
          </p:cNvSpPr>
          <p:nvPr/>
        </p:nvSpPr>
        <p:spPr bwMode="auto">
          <a:xfrm>
            <a:off x="9593015" y="5264321"/>
            <a:ext cx="180000" cy="180000"/>
          </a:xfrm>
          <a:prstGeom prst="ellipse">
            <a:avLst/>
          </a:prstGeom>
          <a:solidFill>
            <a:srgbClr val="E18800">
              <a:alpha val="69804"/>
            </a:srgbClr>
          </a:solidFill>
          <a:ln>
            <a:no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3282D"/>
              </a:solidFill>
              <a:effectLst/>
              <a:uLnTx/>
              <a:uFillTx/>
              <a:ea typeface="+mn-ea"/>
              <a:cs typeface="+mn-cs"/>
            </a:endParaRPr>
          </a:p>
        </p:txBody>
      </p:sp>
      <p:sp>
        <p:nvSpPr>
          <p:cNvPr id="48" name="Datumsplatzhalter 1">
            <a:extLst>
              <a:ext uri="{FF2B5EF4-FFF2-40B4-BE49-F238E27FC236}">
                <a16:creationId xmlns:a16="http://schemas.microsoft.com/office/drawing/2014/main" id="{19835AEC-C6A5-4881-81C6-465C3EA0B1C4}"/>
              </a:ext>
            </a:extLst>
          </p:cNvPr>
          <p:cNvSpPr>
            <a:spLocks noGrp="1"/>
          </p:cNvSpPr>
          <p:nvPr>
            <p:ph type="dt" sz="half" idx="10"/>
          </p:nvPr>
        </p:nvSpPr>
        <p:spPr>
          <a:xfrm>
            <a:off x="406400" y="6501507"/>
            <a:ext cx="648000" cy="180000"/>
          </a:xfrm>
        </p:spPr>
        <p:txBody>
          <a:bodyPr/>
          <a:lstStyle/>
          <a:p>
            <a:r>
              <a:rPr lang="en-US">
                <a:solidFill>
                  <a:srgbClr val="6F6F6F"/>
                </a:solidFill>
              </a:rPr>
              <a:t>21/08/2019</a:t>
            </a:r>
            <a:endParaRPr lang="de-DE" dirty="0">
              <a:solidFill>
                <a:srgbClr val="6F6F6F"/>
              </a:solidFill>
            </a:endParaRPr>
          </a:p>
        </p:txBody>
      </p:sp>
      <p:sp>
        <p:nvSpPr>
          <p:cNvPr id="49" name="Foliennummernplatzhalter 6">
            <a:extLst>
              <a:ext uri="{FF2B5EF4-FFF2-40B4-BE49-F238E27FC236}">
                <a16:creationId xmlns:a16="http://schemas.microsoft.com/office/drawing/2014/main" id="{37862EA4-22AA-4682-B966-7ADF4698D804}"/>
              </a:ext>
            </a:extLst>
          </p:cNvPr>
          <p:cNvSpPr>
            <a:spLocks noGrp="1"/>
          </p:cNvSpPr>
          <p:nvPr>
            <p:ph type="sldNum" sz="quarter" idx="11"/>
          </p:nvPr>
        </p:nvSpPr>
        <p:spPr>
          <a:xfrm>
            <a:off x="11111017" y="6501507"/>
            <a:ext cx="672996" cy="180000"/>
          </a:xfrm>
        </p:spPr>
        <p:txBody>
          <a:bodyPr/>
          <a:lstStyle/>
          <a:p>
            <a:fld id="{221F1D72-F2AC-4B6E-A46C-E63D2CF40C7B}" type="slidenum">
              <a:rPr lang="de-DE" smtClean="0">
                <a:solidFill>
                  <a:srgbClr val="6F6F6F"/>
                </a:solidFill>
              </a:rPr>
              <a:pPr/>
              <a:t>5</a:t>
            </a:fld>
            <a:endParaRPr lang="de-DE" dirty="0">
              <a:solidFill>
                <a:srgbClr val="6F6F6F"/>
              </a:solidFill>
            </a:endParaRPr>
          </a:p>
        </p:txBody>
      </p:sp>
      <p:sp>
        <p:nvSpPr>
          <p:cNvPr id="50" name="Fußzeilenplatzhalter 4">
            <a:extLst>
              <a:ext uri="{FF2B5EF4-FFF2-40B4-BE49-F238E27FC236}">
                <a16:creationId xmlns:a16="http://schemas.microsoft.com/office/drawing/2014/main" id="{84E26102-3323-4EFD-83DD-305B77A7CCA1}"/>
              </a:ext>
            </a:extLst>
          </p:cNvPr>
          <p:cNvSpPr>
            <a:spLocks noGrp="1"/>
          </p:cNvSpPr>
          <p:nvPr>
            <p:ph type="ftr" sz="quarter" idx="12"/>
          </p:nvPr>
        </p:nvSpPr>
        <p:spPr>
          <a:xfrm>
            <a:off x="1054646" y="6501507"/>
            <a:ext cx="4896000" cy="180000"/>
          </a:xfrm>
        </p:spPr>
        <p:txBody>
          <a:bodyPr/>
          <a:lstStyle/>
          <a:p>
            <a:r>
              <a:rPr lang="en-US">
                <a:solidFill>
                  <a:srgbClr val="6F6F6F"/>
                </a:solidFill>
              </a:rPr>
              <a:t>NZSUG Auckland Event + SAP Forum</a:t>
            </a:r>
            <a:endParaRPr lang="en-US" dirty="0">
              <a:solidFill>
                <a:srgbClr val="6F6F6F"/>
              </a:solidFill>
            </a:endParaRPr>
          </a:p>
        </p:txBody>
      </p:sp>
    </p:spTree>
    <p:extLst>
      <p:ext uri="{BB962C8B-B14F-4D97-AF65-F5344CB8AC3E}">
        <p14:creationId xmlns:p14="http://schemas.microsoft.com/office/powerpoint/2010/main" val="478288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hteck 119"/>
          <p:cNvSpPr/>
          <p:nvPr/>
        </p:nvSpPr>
        <p:spPr>
          <a:xfrm>
            <a:off x="334566" y="3505200"/>
            <a:ext cx="1622556" cy="2736506"/>
          </a:xfrm>
          <a:prstGeom prst="rect">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dirty="0" err="1"/>
          </a:p>
        </p:txBody>
      </p:sp>
      <p:sp>
        <p:nvSpPr>
          <p:cNvPr id="121" name="Rechteck 120"/>
          <p:cNvSpPr/>
          <p:nvPr/>
        </p:nvSpPr>
        <p:spPr>
          <a:xfrm>
            <a:off x="2206774" y="3505200"/>
            <a:ext cx="1622556" cy="2736506"/>
          </a:xfrm>
          <a:prstGeom prst="rect">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dirty="0" err="1"/>
          </a:p>
        </p:txBody>
      </p:sp>
      <p:sp>
        <p:nvSpPr>
          <p:cNvPr id="122" name="Rechteck 121"/>
          <p:cNvSpPr/>
          <p:nvPr/>
        </p:nvSpPr>
        <p:spPr>
          <a:xfrm>
            <a:off x="5951190" y="3505200"/>
            <a:ext cx="1622556" cy="2736506"/>
          </a:xfrm>
          <a:prstGeom prst="rect">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dirty="0" err="1"/>
          </a:p>
        </p:txBody>
      </p:sp>
      <p:sp>
        <p:nvSpPr>
          <p:cNvPr id="123" name="Rechteck 122"/>
          <p:cNvSpPr/>
          <p:nvPr/>
        </p:nvSpPr>
        <p:spPr>
          <a:xfrm>
            <a:off x="7823398" y="3505200"/>
            <a:ext cx="1622556" cy="2736506"/>
          </a:xfrm>
          <a:prstGeom prst="rect">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dirty="0" err="1"/>
          </a:p>
        </p:txBody>
      </p:sp>
      <p:sp>
        <p:nvSpPr>
          <p:cNvPr id="124" name="Rechteck 123"/>
          <p:cNvSpPr/>
          <p:nvPr/>
        </p:nvSpPr>
        <p:spPr>
          <a:xfrm>
            <a:off x="9695606" y="3505200"/>
            <a:ext cx="1622556" cy="2736506"/>
          </a:xfrm>
          <a:prstGeom prst="rect">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dirty="0" err="1"/>
          </a:p>
        </p:txBody>
      </p:sp>
      <p:sp>
        <p:nvSpPr>
          <p:cNvPr id="5" name="Titel 4">
            <a:extLst>
              <a:ext uri="{FF2B5EF4-FFF2-40B4-BE49-F238E27FC236}">
                <a16:creationId xmlns:a16="http://schemas.microsoft.com/office/drawing/2014/main" id="{B78BB894-26B6-455E-97D8-7BC82C686675}"/>
              </a:ext>
            </a:extLst>
          </p:cNvPr>
          <p:cNvSpPr>
            <a:spLocks noGrp="1"/>
          </p:cNvSpPr>
          <p:nvPr>
            <p:ph type="title"/>
          </p:nvPr>
        </p:nvSpPr>
        <p:spPr/>
        <p:txBody>
          <a:bodyPr/>
          <a:lstStyle/>
          <a:p>
            <a:r>
              <a:rPr lang="de-DE" dirty="0"/>
              <a:t>SNP I </a:t>
            </a:r>
            <a:r>
              <a:rPr lang="de-DE" dirty="0" err="1"/>
              <a:t>Proven</a:t>
            </a:r>
            <a:r>
              <a:rPr lang="de-DE" dirty="0"/>
              <a:t> Industry Standard Approach</a:t>
            </a:r>
            <a:endParaRPr lang="en-US" dirty="0"/>
          </a:p>
        </p:txBody>
      </p:sp>
      <p:pic>
        <p:nvPicPr>
          <p:cNvPr id="89" name="Picture 4" descr="http://www.ey.com/ecimages/EY.gif">
            <a:extLst>
              <a:ext uri="{FF2B5EF4-FFF2-40B4-BE49-F238E27FC236}">
                <a16:creationId xmlns:a16="http://schemas.microsoft.com/office/drawing/2014/main" id="{A1D442B6-7266-405B-BAF2-D399D1AAFD42}"/>
              </a:ext>
            </a:extLst>
          </p:cNvPr>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06702" y="4635225"/>
            <a:ext cx="878285" cy="477391"/>
          </a:xfrm>
          <a:prstGeom prst="rect">
            <a:avLst/>
          </a:prstGeom>
          <a:noFill/>
          <a:extLst>
            <a:ext uri="{909E8E84-426E-40DD-AFC4-6F175D3DCCD1}">
              <a14:hiddenFill xmlns:a14="http://schemas.microsoft.com/office/drawing/2010/main">
                <a:solidFill>
                  <a:srgbClr val="FFFFFF"/>
                </a:solidFill>
              </a14:hiddenFill>
            </a:ext>
          </a:extLst>
        </p:spPr>
      </p:pic>
      <p:pic>
        <p:nvPicPr>
          <p:cNvPr id="90" name="Grafik 89">
            <a:extLst>
              <a:ext uri="{FF2B5EF4-FFF2-40B4-BE49-F238E27FC236}">
                <a16:creationId xmlns:a16="http://schemas.microsoft.com/office/drawing/2014/main" id="{64F89D02-3496-4779-A27D-A62D3C3D99E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7198" y="5321293"/>
            <a:ext cx="717292" cy="544419"/>
          </a:xfrm>
          <a:prstGeom prst="rect">
            <a:avLst/>
          </a:prstGeom>
        </p:spPr>
      </p:pic>
      <p:pic>
        <p:nvPicPr>
          <p:cNvPr id="94" name="Inhaltsplatzhalter 10">
            <a:extLst>
              <a:ext uri="{FF2B5EF4-FFF2-40B4-BE49-F238E27FC236}">
                <a16:creationId xmlns:a16="http://schemas.microsoft.com/office/drawing/2014/main" id="{E41F522A-70A6-4051-9A81-80888E572A70}"/>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36844" y="5087115"/>
            <a:ext cx="764072" cy="767580"/>
          </a:xfrm>
          <a:prstGeom prst="rect">
            <a:avLst/>
          </a:prstGeom>
        </p:spPr>
      </p:pic>
      <p:pic>
        <p:nvPicPr>
          <p:cNvPr id="182" name="Grafik 181">
            <a:extLst>
              <a:ext uri="{FF2B5EF4-FFF2-40B4-BE49-F238E27FC236}">
                <a16:creationId xmlns:a16="http://schemas.microsoft.com/office/drawing/2014/main" id="{A1A32AB3-E4DE-489A-A02F-242D448101B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409754" y="5015818"/>
            <a:ext cx="823157" cy="1155367"/>
          </a:xfrm>
          <a:prstGeom prst="rect">
            <a:avLst/>
          </a:prstGeom>
        </p:spPr>
      </p:pic>
      <p:sp>
        <p:nvSpPr>
          <p:cNvPr id="65" name="Freeform 9">
            <a:extLst>
              <a:ext uri="{FF2B5EF4-FFF2-40B4-BE49-F238E27FC236}">
                <a16:creationId xmlns:a16="http://schemas.microsoft.com/office/drawing/2014/main" id="{2B756C4B-B04F-4076-AF8C-2BA6D08BCF23}"/>
              </a:ext>
            </a:extLst>
          </p:cNvPr>
          <p:cNvSpPr>
            <a:spLocks/>
          </p:cNvSpPr>
          <p:nvPr/>
        </p:nvSpPr>
        <p:spPr bwMode="auto">
          <a:xfrm>
            <a:off x="334566" y="2713139"/>
            <a:ext cx="1622556" cy="820462"/>
          </a:xfrm>
          <a:prstGeom prst="rect">
            <a:avLst/>
          </a:prstGeom>
          <a:noFill/>
          <a:ln w="50800">
            <a:noFill/>
          </a:ln>
        </p:spPr>
        <p:txBody>
          <a:bodyPr vert="horz" wrap="square" lIns="91440" tIns="45720" rIns="91440" bIns="45720" numCol="1" anchor="t" anchorCtr="0" compatLnSpc="1">
            <a:prstTxWarp prst="textNoShape">
              <a:avLst/>
            </a:prstTxWarp>
          </a:bodyPr>
          <a:lstStyle/>
          <a:p>
            <a:pPr algn="ctr"/>
            <a:r>
              <a:rPr lang="en-US" sz="1400" kern="0" dirty="0">
                <a:solidFill>
                  <a:schemeClr val="bg2">
                    <a:lumMod val="10000"/>
                  </a:schemeClr>
                </a:solidFill>
              </a:rPr>
              <a:t>PROVEN</a:t>
            </a:r>
            <a:br>
              <a:rPr lang="en-US" sz="1400" kern="0" dirty="0">
                <a:solidFill>
                  <a:schemeClr val="bg2">
                    <a:lumMod val="10000"/>
                  </a:schemeClr>
                </a:solidFill>
              </a:rPr>
            </a:br>
            <a:r>
              <a:rPr lang="en-US" sz="1400" kern="0" dirty="0">
                <a:solidFill>
                  <a:schemeClr val="bg2">
                    <a:lumMod val="10000"/>
                  </a:schemeClr>
                </a:solidFill>
              </a:rPr>
              <a:t>APPROACH</a:t>
            </a:r>
          </a:p>
        </p:txBody>
      </p:sp>
      <p:sp>
        <p:nvSpPr>
          <p:cNvPr id="66" name="Freeform 9">
            <a:extLst>
              <a:ext uri="{FF2B5EF4-FFF2-40B4-BE49-F238E27FC236}">
                <a16:creationId xmlns:a16="http://schemas.microsoft.com/office/drawing/2014/main" id="{2B756C4B-B04F-4076-AF8C-2BA6D08BCF23}"/>
              </a:ext>
            </a:extLst>
          </p:cNvPr>
          <p:cNvSpPr>
            <a:spLocks/>
          </p:cNvSpPr>
          <p:nvPr/>
        </p:nvSpPr>
        <p:spPr bwMode="auto">
          <a:xfrm>
            <a:off x="2206774" y="2713139"/>
            <a:ext cx="1620863" cy="820462"/>
          </a:xfrm>
          <a:prstGeom prst="rect">
            <a:avLst/>
          </a:prstGeom>
          <a:noFill/>
          <a:ln w="50800">
            <a:noFill/>
          </a:ln>
        </p:spPr>
        <p:txBody>
          <a:bodyPr vert="horz" wrap="square" lIns="91440" tIns="45720" rIns="91440" bIns="45720" numCol="1" anchor="t" anchorCtr="0" compatLnSpc="1">
            <a:prstTxWarp prst="textNoShape">
              <a:avLst/>
            </a:prstTxWarp>
          </a:bodyPr>
          <a:lstStyle/>
          <a:p>
            <a:pPr algn="ctr"/>
            <a:r>
              <a:rPr lang="en-US" sz="1400" kern="0" dirty="0">
                <a:solidFill>
                  <a:schemeClr val="bg2">
                    <a:lumMod val="10000"/>
                  </a:schemeClr>
                </a:solidFill>
              </a:rPr>
              <a:t>SAP-CERTIFIED</a:t>
            </a:r>
          </a:p>
        </p:txBody>
      </p:sp>
      <p:sp>
        <p:nvSpPr>
          <p:cNvPr id="67" name="Freeform 9">
            <a:extLst>
              <a:ext uri="{FF2B5EF4-FFF2-40B4-BE49-F238E27FC236}">
                <a16:creationId xmlns:a16="http://schemas.microsoft.com/office/drawing/2014/main" id="{2B756C4B-B04F-4076-AF8C-2BA6D08BCF23}"/>
              </a:ext>
            </a:extLst>
          </p:cNvPr>
          <p:cNvSpPr>
            <a:spLocks/>
          </p:cNvSpPr>
          <p:nvPr/>
        </p:nvSpPr>
        <p:spPr bwMode="auto">
          <a:xfrm>
            <a:off x="4354111" y="2738769"/>
            <a:ext cx="3100079" cy="762037"/>
          </a:xfrm>
          <a:prstGeom prst="rect">
            <a:avLst/>
          </a:prstGeom>
          <a:noFill/>
          <a:ln w="50800">
            <a:noFill/>
          </a:ln>
        </p:spPr>
        <p:txBody>
          <a:bodyPr vert="horz" wrap="square" lIns="91440" tIns="45720" rIns="91440" bIns="45720" numCol="1" anchor="t" anchorCtr="0" compatLnSpc="1">
            <a:prstTxWarp prst="textNoShape">
              <a:avLst/>
            </a:prstTxWarp>
          </a:bodyPr>
          <a:lstStyle/>
          <a:p>
            <a:r>
              <a:rPr lang="en-US" sz="1400" kern="0">
                <a:solidFill>
                  <a:schemeClr val="bg2">
                    <a:lumMod val="10000"/>
                  </a:schemeClr>
                </a:solidFill>
              </a:rPr>
              <a:t>GLOBAL  ALLIANCES </a:t>
            </a:r>
            <a:r>
              <a:rPr lang="en-US" sz="1400" kern="0" dirty="0">
                <a:solidFill>
                  <a:schemeClr val="bg2">
                    <a:lumMod val="10000"/>
                  </a:schemeClr>
                </a:solidFill>
              </a:rPr>
              <a:t> </a:t>
            </a:r>
            <a:r>
              <a:rPr lang="en-US" sz="1400" kern="0">
                <a:solidFill>
                  <a:schemeClr val="bg2">
                    <a:lumMod val="10000"/>
                  </a:schemeClr>
                </a:solidFill>
              </a:rPr>
              <a:t>WITH </a:t>
            </a:r>
            <a:r>
              <a:rPr lang="en-US" sz="1400" kern="0" dirty="0">
                <a:solidFill>
                  <a:schemeClr val="bg2">
                    <a:lumMod val="10000"/>
                  </a:schemeClr>
                </a:solidFill>
              </a:rPr>
              <a:t>SAP</a:t>
            </a:r>
          </a:p>
        </p:txBody>
      </p:sp>
      <p:sp>
        <p:nvSpPr>
          <p:cNvPr id="68" name="Freeform 9">
            <a:extLst>
              <a:ext uri="{FF2B5EF4-FFF2-40B4-BE49-F238E27FC236}">
                <a16:creationId xmlns:a16="http://schemas.microsoft.com/office/drawing/2014/main" id="{2B756C4B-B04F-4076-AF8C-2BA6D08BCF23}"/>
              </a:ext>
            </a:extLst>
          </p:cNvPr>
          <p:cNvSpPr>
            <a:spLocks/>
          </p:cNvSpPr>
          <p:nvPr/>
        </p:nvSpPr>
        <p:spPr bwMode="auto">
          <a:xfrm>
            <a:off x="9695606" y="2713139"/>
            <a:ext cx="1622556" cy="820462"/>
          </a:xfrm>
          <a:prstGeom prst="rect">
            <a:avLst/>
          </a:prstGeom>
          <a:noFill/>
          <a:ln w="50800">
            <a:noFill/>
          </a:ln>
        </p:spPr>
        <p:txBody>
          <a:bodyPr vert="horz" wrap="square" lIns="91440" tIns="45720" rIns="91440" bIns="45720" numCol="1" anchor="t" anchorCtr="0" compatLnSpc="1">
            <a:prstTxWarp prst="textNoShape">
              <a:avLst/>
            </a:prstTxWarp>
          </a:bodyPr>
          <a:lstStyle/>
          <a:p>
            <a:pPr algn="ctr"/>
            <a:r>
              <a:rPr lang="en-US" sz="1400" kern="0" dirty="0">
                <a:solidFill>
                  <a:schemeClr val="bg2">
                    <a:lumMod val="10000"/>
                  </a:schemeClr>
                </a:solidFill>
              </a:rPr>
              <a:t>EXPERTICE</a:t>
            </a:r>
          </a:p>
        </p:txBody>
      </p:sp>
      <p:sp>
        <p:nvSpPr>
          <p:cNvPr id="69" name="Freeform 9">
            <a:extLst>
              <a:ext uri="{FF2B5EF4-FFF2-40B4-BE49-F238E27FC236}">
                <a16:creationId xmlns:a16="http://schemas.microsoft.com/office/drawing/2014/main" id="{2B756C4B-B04F-4076-AF8C-2BA6D08BCF23}"/>
              </a:ext>
            </a:extLst>
          </p:cNvPr>
          <p:cNvSpPr>
            <a:spLocks/>
          </p:cNvSpPr>
          <p:nvPr/>
        </p:nvSpPr>
        <p:spPr bwMode="auto">
          <a:xfrm>
            <a:off x="7783212" y="2713139"/>
            <a:ext cx="1624362" cy="820462"/>
          </a:xfrm>
          <a:prstGeom prst="rect">
            <a:avLst/>
          </a:prstGeom>
          <a:noFill/>
          <a:ln w="50800">
            <a:noFill/>
          </a:ln>
        </p:spPr>
        <p:txBody>
          <a:bodyPr vert="horz" wrap="square" lIns="91440" tIns="45720" rIns="91440" bIns="45720" numCol="1" anchor="t" anchorCtr="0" compatLnSpc="1">
            <a:prstTxWarp prst="textNoShape">
              <a:avLst/>
            </a:prstTxWarp>
          </a:bodyPr>
          <a:lstStyle/>
          <a:p>
            <a:pPr algn="ctr"/>
            <a:r>
              <a:rPr lang="en-US" sz="1400" kern="0" dirty="0">
                <a:solidFill>
                  <a:schemeClr val="bg2">
                    <a:lumMod val="10000"/>
                  </a:schemeClr>
                </a:solidFill>
              </a:rPr>
              <a:t>INTERNAL PROCESSES </a:t>
            </a:r>
          </a:p>
        </p:txBody>
      </p:sp>
      <p:sp>
        <p:nvSpPr>
          <p:cNvPr id="77" name="Freeform 9">
            <a:extLst>
              <a:ext uri="{FF2B5EF4-FFF2-40B4-BE49-F238E27FC236}">
                <a16:creationId xmlns:a16="http://schemas.microsoft.com/office/drawing/2014/main" id="{2B756C4B-B04F-4076-AF8C-2BA6D08BCF23}"/>
              </a:ext>
            </a:extLst>
          </p:cNvPr>
          <p:cNvSpPr>
            <a:spLocks/>
          </p:cNvSpPr>
          <p:nvPr/>
        </p:nvSpPr>
        <p:spPr bwMode="auto">
          <a:xfrm>
            <a:off x="467379" y="3620526"/>
            <a:ext cx="1356930" cy="820462"/>
          </a:xfrm>
          <a:prstGeom prst="rect">
            <a:avLst/>
          </a:prstGeom>
          <a:noFill/>
          <a:ln w="50800">
            <a:noFill/>
          </a:ln>
        </p:spPr>
        <p:txBody>
          <a:bodyPr vert="horz" wrap="square" lIns="0" tIns="0" rIns="0" bIns="0" numCol="1" anchor="t" anchorCtr="0" compatLnSpc="1">
            <a:prstTxWarp prst="textNoShape">
              <a:avLst/>
            </a:prstTxWarp>
          </a:bodyPr>
          <a:lstStyle/>
          <a:p>
            <a:pPr lvl="0" defTabSz="457200">
              <a:defRPr/>
            </a:pPr>
            <a:r>
              <a:rPr lang="en-US"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Our </a:t>
            </a:r>
            <a:r>
              <a:rPr lang="en-US" sz="1050" b="1"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software</a:t>
            </a:r>
            <a:r>
              <a:rPr lang="en-US"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 and our </a:t>
            </a:r>
            <a:r>
              <a:rPr lang="en-US" sz="1050" b="1"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consulting approach </a:t>
            </a:r>
            <a:r>
              <a:rPr lang="en-US"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were examined by two leading auditors.</a:t>
            </a:r>
          </a:p>
        </p:txBody>
      </p:sp>
      <p:sp>
        <p:nvSpPr>
          <p:cNvPr id="78" name="Freeform 9">
            <a:extLst>
              <a:ext uri="{FF2B5EF4-FFF2-40B4-BE49-F238E27FC236}">
                <a16:creationId xmlns:a16="http://schemas.microsoft.com/office/drawing/2014/main" id="{2B756C4B-B04F-4076-AF8C-2BA6D08BCF23}"/>
              </a:ext>
            </a:extLst>
          </p:cNvPr>
          <p:cNvSpPr>
            <a:spLocks/>
          </p:cNvSpPr>
          <p:nvPr/>
        </p:nvSpPr>
        <p:spPr bwMode="auto">
          <a:xfrm>
            <a:off x="2259382" y="3630242"/>
            <a:ext cx="1701477" cy="565717"/>
          </a:xfrm>
          <a:prstGeom prst="rect">
            <a:avLst/>
          </a:prstGeom>
          <a:noFill/>
          <a:ln w="50800">
            <a:noFill/>
          </a:ln>
        </p:spPr>
        <p:txBody>
          <a:bodyPr vert="horz" wrap="square" lIns="0" tIns="0" rIns="0" bIns="0" numCol="1" anchor="t" anchorCtr="0" compatLnSpc="1">
            <a:prstTxWarp prst="textNoShape">
              <a:avLst/>
            </a:prstTxWarp>
          </a:bodyPr>
          <a:lstStyle/>
          <a:p>
            <a:pPr defTabSz="457200"/>
            <a:r>
              <a:rPr lang="en-GB"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SNP Interface Scanner</a:t>
            </a:r>
            <a:br>
              <a:rPr lang="en-GB"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br>
            <a:br>
              <a:rPr lang="en-GB"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br>
            <a:r>
              <a:rPr lang="en-GB"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SNP Transformation Backbone with SAP LT</a:t>
            </a:r>
          </a:p>
          <a:p>
            <a:pPr defTabSz="457200"/>
            <a:endParaRPr lang="en-GB"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endParaRPr>
          </a:p>
          <a:p>
            <a:pPr defTabSz="457200"/>
            <a:endParaRPr lang="en-GB"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endParaRPr>
          </a:p>
        </p:txBody>
      </p:sp>
      <p:sp>
        <p:nvSpPr>
          <p:cNvPr id="81" name="Freeform 9">
            <a:extLst>
              <a:ext uri="{FF2B5EF4-FFF2-40B4-BE49-F238E27FC236}">
                <a16:creationId xmlns:a16="http://schemas.microsoft.com/office/drawing/2014/main" id="{2B756C4B-B04F-4076-AF8C-2BA6D08BCF23}"/>
              </a:ext>
            </a:extLst>
          </p:cNvPr>
          <p:cNvSpPr>
            <a:spLocks/>
          </p:cNvSpPr>
          <p:nvPr/>
        </p:nvSpPr>
        <p:spPr bwMode="auto">
          <a:xfrm>
            <a:off x="7940415" y="3620526"/>
            <a:ext cx="1356930" cy="820462"/>
          </a:xfrm>
          <a:prstGeom prst="rect">
            <a:avLst/>
          </a:prstGeom>
          <a:noFill/>
          <a:ln w="50800">
            <a:noFill/>
          </a:ln>
        </p:spPr>
        <p:txBody>
          <a:bodyPr vert="horz" wrap="square" lIns="0" tIns="0" rIns="0" bIns="0" numCol="1" anchor="t" anchorCtr="0" compatLnSpc="1">
            <a:prstTxWarp prst="textNoShape">
              <a:avLst/>
            </a:prstTxWarp>
          </a:bodyPr>
          <a:lstStyle/>
          <a:p>
            <a:pPr defTabSz="457200"/>
            <a:r>
              <a:rPr lang="en-US"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Our internal pro-</a:t>
            </a:r>
            <a:r>
              <a:rPr lang="en-US" sz="1050" dirty="0" err="1">
                <a:solidFill>
                  <a:srgbClr val="000000">
                    <a:lumMod val="75000"/>
                    <a:lumOff val="25000"/>
                  </a:srgbClr>
                </a:solidFill>
                <a:latin typeface="Univers" panose="020B0503020202020204" pitchFamily="34" charset="0"/>
                <a:ea typeface="Verdana" pitchFamily="34" charset="0"/>
                <a:cs typeface="Arial" panose="020B0604020202020204" pitchFamily="34" charset="0"/>
              </a:rPr>
              <a:t>cesses</a:t>
            </a:r>
            <a:r>
              <a:rPr lang="en-US"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 comply with DIN ISO 9001 to meet customers requirements and other demands of product or service performance quality.</a:t>
            </a:r>
          </a:p>
        </p:txBody>
      </p:sp>
      <p:cxnSp>
        <p:nvCxnSpPr>
          <p:cNvPr id="9" name="Gerader Verbinder 8"/>
          <p:cNvCxnSpPr/>
          <p:nvPr/>
        </p:nvCxnSpPr>
        <p:spPr>
          <a:xfrm>
            <a:off x="334566" y="3490144"/>
            <a:ext cx="16225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r Verbinder 124"/>
          <p:cNvCxnSpPr/>
          <p:nvPr/>
        </p:nvCxnSpPr>
        <p:spPr>
          <a:xfrm>
            <a:off x="2206774" y="3490144"/>
            <a:ext cx="16225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r Verbinder 125"/>
          <p:cNvCxnSpPr/>
          <p:nvPr/>
        </p:nvCxnSpPr>
        <p:spPr>
          <a:xfrm>
            <a:off x="5951190" y="3490144"/>
            <a:ext cx="16225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Gerader Verbinder 126"/>
          <p:cNvCxnSpPr/>
          <p:nvPr/>
        </p:nvCxnSpPr>
        <p:spPr>
          <a:xfrm>
            <a:off x="7823398" y="3490144"/>
            <a:ext cx="16225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Gerader Verbinder 127"/>
          <p:cNvCxnSpPr/>
          <p:nvPr/>
        </p:nvCxnSpPr>
        <p:spPr>
          <a:xfrm>
            <a:off x="9695606" y="3490144"/>
            <a:ext cx="16225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3" name="Freihandform 20">
            <a:extLst>
              <a:ext uri="{FF2B5EF4-FFF2-40B4-BE49-F238E27FC236}">
                <a16:creationId xmlns:a16="http://schemas.microsoft.com/office/drawing/2014/main" id="{E7CD520C-2E7D-4306-B491-CDF1A9DA0DBE}"/>
              </a:ext>
            </a:extLst>
          </p:cNvPr>
          <p:cNvSpPr/>
          <p:nvPr/>
        </p:nvSpPr>
        <p:spPr>
          <a:xfrm>
            <a:off x="1126654" y="1441686"/>
            <a:ext cx="4279715" cy="1065146"/>
          </a:xfrm>
          <a:custGeom>
            <a:avLst/>
            <a:gdLst>
              <a:gd name="connsiteX0" fmla="*/ 2425148 w 2425148"/>
              <a:gd name="connsiteY0" fmla="*/ 0 h 365760"/>
              <a:gd name="connsiteX1" fmla="*/ 0 w 2425148"/>
              <a:gd name="connsiteY1" fmla="*/ 0 h 365760"/>
              <a:gd name="connsiteX2" fmla="*/ 0 w 2425148"/>
              <a:gd name="connsiteY2" fmla="*/ 365760 h 365760"/>
            </a:gdLst>
            <a:ahLst/>
            <a:cxnLst>
              <a:cxn ang="0">
                <a:pos x="connsiteX0" y="connsiteY0"/>
              </a:cxn>
              <a:cxn ang="0">
                <a:pos x="connsiteX1" y="connsiteY1"/>
              </a:cxn>
              <a:cxn ang="0">
                <a:pos x="connsiteX2" y="connsiteY2"/>
              </a:cxn>
            </a:cxnLst>
            <a:rect l="l" t="t" r="r" b="b"/>
            <a:pathLst>
              <a:path w="2425148" h="365760">
                <a:moveTo>
                  <a:pt x="2425148" y="0"/>
                </a:moveTo>
                <a:lnTo>
                  <a:pt x="0" y="0"/>
                </a:lnTo>
                <a:lnTo>
                  <a:pt x="0" y="365760"/>
                </a:lnTo>
              </a:path>
            </a:pathLst>
          </a:custGeom>
          <a:noFill/>
          <a:ln w="1270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219078" rtl="0" eaLnBrk="1" latinLnBrk="0" hangingPunct="1">
              <a:defRPr sz="2400" kern="1200">
                <a:solidFill>
                  <a:schemeClr val="lt1"/>
                </a:solidFill>
                <a:latin typeface="+mn-lt"/>
                <a:ea typeface="+mn-ea"/>
                <a:cs typeface="+mn-cs"/>
              </a:defRPr>
            </a:lvl1pPr>
            <a:lvl2pPr marL="609539" algn="l" defTabSz="1219078" rtl="0" eaLnBrk="1" latinLnBrk="0" hangingPunct="1">
              <a:defRPr sz="2400" kern="1200">
                <a:solidFill>
                  <a:schemeClr val="lt1"/>
                </a:solidFill>
                <a:latin typeface="+mn-lt"/>
                <a:ea typeface="+mn-ea"/>
                <a:cs typeface="+mn-cs"/>
              </a:defRPr>
            </a:lvl2pPr>
            <a:lvl3pPr marL="1219078" algn="l" defTabSz="1219078" rtl="0" eaLnBrk="1" latinLnBrk="0" hangingPunct="1">
              <a:defRPr sz="2400" kern="1200">
                <a:solidFill>
                  <a:schemeClr val="lt1"/>
                </a:solidFill>
                <a:latin typeface="+mn-lt"/>
                <a:ea typeface="+mn-ea"/>
                <a:cs typeface="+mn-cs"/>
              </a:defRPr>
            </a:lvl3pPr>
            <a:lvl4pPr marL="1828617" algn="l" defTabSz="1219078" rtl="0" eaLnBrk="1" latinLnBrk="0" hangingPunct="1">
              <a:defRPr sz="2400" kern="1200">
                <a:solidFill>
                  <a:schemeClr val="lt1"/>
                </a:solidFill>
                <a:latin typeface="+mn-lt"/>
                <a:ea typeface="+mn-ea"/>
                <a:cs typeface="+mn-cs"/>
              </a:defRPr>
            </a:lvl4pPr>
            <a:lvl5pPr marL="2438156" algn="l" defTabSz="1219078" rtl="0" eaLnBrk="1" latinLnBrk="0" hangingPunct="1">
              <a:defRPr sz="2400" kern="1200">
                <a:solidFill>
                  <a:schemeClr val="lt1"/>
                </a:solidFill>
                <a:latin typeface="+mn-lt"/>
                <a:ea typeface="+mn-ea"/>
                <a:cs typeface="+mn-cs"/>
              </a:defRPr>
            </a:lvl5pPr>
            <a:lvl6pPr marL="3047695" algn="l" defTabSz="1219078" rtl="0" eaLnBrk="1" latinLnBrk="0" hangingPunct="1">
              <a:defRPr sz="2400" kern="1200">
                <a:solidFill>
                  <a:schemeClr val="lt1"/>
                </a:solidFill>
                <a:latin typeface="+mn-lt"/>
                <a:ea typeface="+mn-ea"/>
                <a:cs typeface="+mn-cs"/>
              </a:defRPr>
            </a:lvl6pPr>
            <a:lvl7pPr marL="3657234" algn="l" defTabSz="1219078" rtl="0" eaLnBrk="1" latinLnBrk="0" hangingPunct="1">
              <a:defRPr sz="2400" kern="1200">
                <a:solidFill>
                  <a:schemeClr val="lt1"/>
                </a:solidFill>
                <a:latin typeface="+mn-lt"/>
                <a:ea typeface="+mn-ea"/>
                <a:cs typeface="+mn-cs"/>
              </a:defRPr>
            </a:lvl7pPr>
            <a:lvl8pPr marL="4266773" algn="l" defTabSz="1219078" rtl="0" eaLnBrk="1" latinLnBrk="0" hangingPunct="1">
              <a:defRPr sz="2400" kern="1200">
                <a:solidFill>
                  <a:schemeClr val="lt1"/>
                </a:solidFill>
                <a:latin typeface="+mn-lt"/>
                <a:ea typeface="+mn-ea"/>
                <a:cs typeface="+mn-cs"/>
              </a:defRPr>
            </a:lvl8pPr>
            <a:lvl9pPr marL="4876312" algn="l" defTabSz="1219078" rtl="0" eaLnBrk="1" latinLnBrk="0" hangingPunct="1">
              <a:defRPr sz="2400" kern="1200">
                <a:solidFill>
                  <a:schemeClr val="lt1"/>
                </a:solidFill>
                <a:latin typeface="+mn-lt"/>
                <a:ea typeface="+mn-ea"/>
                <a:cs typeface="+mn-cs"/>
              </a:defRPr>
            </a:lvl9pP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FFFFFF"/>
              </a:solidFill>
              <a:effectLst/>
              <a:uLnTx/>
              <a:uFillTx/>
              <a:ea typeface="+mn-ea"/>
              <a:cs typeface="+mn-cs"/>
            </a:endParaRPr>
          </a:p>
        </p:txBody>
      </p:sp>
      <p:sp>
        <p:nvSpPr>
          <p:cNvPr id="134" name="Freihandform 80">
            <a:extLst>
              <a:ext uri="{FF2B5EF4-FFF2-40B4-BE49-F238E27FC236}">
                <a16:creationId xmlns:a16="http://schemas.microsoft.com/office/drawing/2014/main" id="{603983DC-B80F-4EA3-92A0-5FE2CA262076}"/>
              </a:ext>
            </a:extLst>
          </p:cNvPr>
          <p:cNvSpPr/>
          <p:nvPr/>
        </p:nvSpPr>
        <p:spPr>
          <a:xfrm flipH="1">
            <a:off x="6383246" y="1441686"/>
            <a:ext cx="4322853" cy="1065146"/>
          </a:xfrm>
          <a:custGeom>
            <a:avLst/>
            <a:gdLst>
              <a:gd name="connsiteX0" fmla="*/ 2425148 w 2425148"/>
              <a:gd name="connsiteY0" fmla="*/ 0 h 365760"/>
              <a:gd name="connsiteX1" fmla="*/ 0 w 2425148"/>
              <a:gd name="connsiteY1" fmla="*/ 0 h 365760"/>
              <a:gd name="connsiteX2" fmla="*/ 0 w 2425148"/>
              <a:gd name="connsiteY2" fmla="*/ 365760 h 365760"/>
            </a:gdLst>
            <a:ahLst/>
            <a:cxnLst>
              <a:cxn ang="0">
                <a:pos x="connsiteX0" y="connsiteY0"/>
              </a:cxn>
              <a:cxn ang="0">
                <a:pos x="connsiteX1" y="connsiteY1"/>
              </a:cxn>
              <a:cxn ang="0">
                <a:pos x="connsiteX2" y="connsiteY2"/>
              </a:cxn>
            </a:cxnLst>
            <a:rect l="l" t="t" r="r" b="b"/>
            <a:pathLst>
              <a:path w="2425148" h="365760">
                <a:moveTo>
                  <a:pt x="2425148" y="0"/>
                </a:moveTo>
                <a:lnTo>
                  <a:pt x="0" y="0"/>
                </a:lnTo>
                <a:lnTo>
                  <a:pt x="0" y="365760"/>
                </a:lnTo>
              </a:path>
            </a:pathLst>
          </a:custGeom>
          <a:noFill/>
          <a:ln w="1270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219078" rtl="0" eaLnBrk="1" latinLnBrk="0" hangingPunct="1">
              <a:defRPr sz="2400" kern="1200">
                <a:solidFill>
                  <a:schemeClr val="lt1"/>
                </a:solidFill>
                <a:latin typeface="+mn-lt"/>
                <a:ea typeface="+mn-ea"/>
                <a:cs typeface="+mn-cs"/>
              </a:defRPr>
            </a:lvl1pPr>
            <a:lvl2pPr marL="609539" algn="l" defTabSz="1219078" rtl="0" eaLnBrk="1" latinLnBrk="0" hangingPunct="1">
              <a:defRPr sz="2400" kern="1200">
                <a:solidFill>
                  <a:schemeClr val="lt1"/>
                </a:solidFill>
                <a:latin typeface="+mn-lt"/>
                <a:ea typeface="+mn-ea"/>
                <a:cs typeface="+mn-cs"/>
              </a:defRPr>
            </a:lvl2pPr>
            <a:lvl3pPr marL="1219078" algn="l" defTabSz="1219078" rtl="0" eaLnBrk="1" latinLnBrk="0" hangingPunct="1">
              <a:defRPr sz="2400" kern="1200">
                <a:solidFill>
                  <a:schemeClr val="lt1"/>
                </a:solidFill>
                <a:latin typeface="+mn-lt"/>
                <a:ea typeface="+mn-ea"/>
                <a:cs typeface="+mn-cs"/>
              </a:defRPr>
            </a:lvl3pPr>
            <a:lvl4pPr marL="1828617" algn="l" defTabSz="1219078" rtl="0" eaLnBrk="1" latinLnBrk="0" hangingPunct="1">
              <a:defRPr sz="2400" kern="1200">
                <a:solidFill>
                  <a:schemeClr val="lt1"/>
                </a:solidFill>
                <a:latin typeface="+mn-lt"/>
                <a:ea typeface="+mn-ea"/>
                <a:cs typeface="+mn-cs"/>
              </a:defRPr>
            </a:lvl4pPr>
            <a:lvl5pPr marL="2438156" algn="l" defTabSz="1219078" rtl="0" eaLnBrk="1" latinLnBrk="0" hangingPunct="1">
              <a:defRPr sz="2400" kern="1200">
                <a:solidFill>
                  <a:schemeClr val="lt1"/>
                </a:solidFill>
                <a:latin typeface="+mn-lt"/>
                <a:ea typeface="+mn-ea"/>
                <a:cs typeface="+mn-cs"/>
              </a:defRPr>
            </a:lvl5pPr>
            <a:lvl6pPr marL="3047695" algn="l" defTabSz="1219078" rtl="0" eaLnBrk="1" latinLnBrk="0" hangingPunct="1">
              <a:defRPr sz="2400" kern="1200">
                <a:solidFill>
                  <a:schemeClr val="lt1"/>
                </a:solidFill>
                <a:latin typeface="+mn-lt"/>
                <a:ea typeface="+mn-ea"/>
                <a:cs typeface="+mn-cs"/>
              </a:defRPr>
            </a:lvl6pPr>
            <a:lvl7pPr marL="3657234" algn="l" defTabSz="1219078" rtl="0" eaLnBrk="1" latinLnBrk="0" hangingPunct="1">
              <a:defRPr sz="2400" kern="1200">
                <a:solidFill>
                  <a:schemeClr val="lt1"/>
                </a:solidFill>
                <a:latin typeface="+mn-lt"/>
                <a:ea typeface="+mn-ea"/>
                <a:cs typeface="+mn-cs"/>
              </a:defRPr>
            </a:lvl7pPr>
            <a:lvl8pPr marL="4266773" algn="l" defTabSz="1219078" rtl="0" eaLnBrk="1" latinLnBrk="0" hangingPunct="1">
              <a:defRPr sz="2400" kern="1200">
                <a:solidFill>
                  <a:schemeClr val="lt1"/>
                </a:solidFill>
                <a:latin typeface="+mn-lt"/>
                <a:ea typeface="+mn-ea"/>
                <a:cs typeface="+mn-cs"/>
              </a:defRPr>
            </a:lvl8pPr>
            <a:lvl9pPr marL="4876312" algn="l" defTabSz="1219078" rtl="0" eaLnBrk="1" latinLnBrk="0" hangingPunct="1">
              <a:defRPr sz="2400" kern="1200">
                <a:solidFill>
                  <a:schemeClr val="lt1"/>
                </a:solidFill>
                <a:latin typeface="+mn-lt"/>
                <a:ea typeface="+mn-ea"/>
                <a:cs typeface="+mn-cs"/>
              </a:defRPr>
            </a:lvl9pP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FFFFFF"/>
              </a:solidFill>
              <a:effectLst/>
              <a:uLnTx/>
              <a:uFillTx/>
              <a:ea typeface="+mn-ea"/>
              <a:cs typeface="+mn-cs"/>
            </a:endParaRPr>
          </a:p>
        </p:txBody>
      </p:sp>
      <p:cxnSp>
        <p:nvCxnSpPr>
          <p:cNvPr id="135" name="Gerade Verbindung 22">
            <a:extLst>
              <a:ext uri="{FF2B5EF4-FFF2-40B4-BE49-F238E27FC236}">
                <a16:creationId xmlns:a16="http://schemas.microsoft.com/office/drawing/2014/main" id="{57532D07-76C2-4CFD-8102-CB77100F2B54}"/>
              </a:ext>
            </a:extLst>
          </p:cNvPr>
          <p:cNvCxnSpPr/>
          <p:nvPr/>
        </p:nvCxnSpPr>
        <p:spPr>
          <a:xfrm>
            <a:off x="3070870" y="1441686"/>
            <a:ext cx="0" cy="1065146"/>
          </a:xfrm>
          <a:prstGeom prst="line">
            <a:avLst/>
          </a:prstGeom>
          <a:ln w="1270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36" name="Gerade Verbindung 22">
            <a:extLst>
              <a:ext uri="{FF2B5EF4-FFF2-40B4-BE49-F238E27FC236}">
                <a16:creationId xmlns:a16="http://schemas.microsoft.com/office/drawing/2014/main" id="{57532D07-76C2-4CFD-8102-CB77100F2B54}"/>
              </a:ext>
            </a:extLst>
          </p:cNvPr>
          <p:cNvCxnSpPr/>
          <p:nvPr/>
        </p:nvCxnSpPr>
        <p:spPr>
          <a:xfrm>
            <a:off x="8484170" y="1441686"/>
            <a:ext cx="0" cy="1065146"/>
          </a:xfrm>
          <a:prstGeom prst="line">
            <a:avLst/>
          </a:prstGeom>
          <a:ln w="1270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37" name="Gerade Verbindung 22">
            <a:extLst>
              <a:ext uri="{FF2B5EF4-FFF2-40B4-BE49-F238E27FC236}">
                <a16:creationId xmlns:a16="http://schemas.microsoft.com/office/drawing/2014/main" id="{57532D07-76C2-4CFD-8102-CB77100F2B54}"/>
              </a:ext>
            </a:extLst>
          </p:cNvPr>
          <p:cNvCxnSpPr/>
          <p:nvPr/>
        </p:nvCxnSpPr>
        <p:spPr>
          <a:xfrm>
            <a:off x="5879182" y="2120828"/>
            <a:ext cx="0" cy="301968"/>
          </a:xfrm>
          <a:prstGeom prst="line">
            <a:avLst/>
          </a:prstGeom>
          <a:ln w="1270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pic>
        <p:nvPicPr>
          <p:cNvPr id="10" name="Grafik 9">
            <a:extLst>
              <a:ext uri="{FF2B5EF4-FFF2-40B4-BE49-F238E27FC236}">
                <a16:creationId xmlns:a16="http://schemas.microsoft.com/office/drawing/2014/main" id="{5C94BBCD-A2FD-CE4A-B48C-84508CE820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095206" y="5247910"/>
            <a:ext cx="1231900" cy="723900"/>
          </a:xfrm>
          <a:prstGeom prst="rect">
            <a:avLst/>
          </a:prstGeom>
        </p:spPr>
      </p:pic>
      <p:sp>
        <p:nvSpPr>
          <p:cNvPr id="45" name="Rechteck 44">
            <a:extLst>
              <a:ext uri="{FF2B5EF4-FFF2-40B4-BE49-F238E27FC236}">
                <a16:creationId xmlns:a16="http://schemas.microsoft.com/office/drawing/2014/main" id="{A67B9C2D-8142-42FD-B022-94E8D81BC33F}"/>
              </a:ext>
            </a:extLst>
          </p:cNvPr>
          <p:cNvSpPr/>
          <p:nvPr/>
        </p:nvSpPr>
        <p:spPr>
          <a:xfrm>
            <a:off x="4078982" y="3500806"/>
            <a:ext cx="1622556" cy="2736506"/>
          </a:xfrm>
          <a:prstGeom prst="rect">
            <a:avLst/>
          </a:prstGeom>
          <a:solidFill>
            <a:srgbClr val="E8E8E8"/>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400" dirty="0" err="1"/>
          </a:p>
        </p:txBody>
      </p:sp>
      <p:cxnSp>
        <p:nvCxnSpPr>
          <p:cNvPr id="49" name="Gerader Verbinder 48">
            <a:extLst>
              <a:ext uri="{FF2B5EF4-FFF2-40B4-BE49-F238E27FC236}">
                <a16:creationId xmlns:a16="http://schemas.microsoft.com/office/drawing/2014/main" id="{422D925E-C894-4893-80D0-E6E0D50D2E8C}"/>
              </a:ext>
            </a:extLst>
          </p:cNvPr>
          <p:cNvCxnSpPr/>
          <p:nvPr/>
        </p:nvCxnSpPr>
        <p:spPr>
          <a:xfrm>
            <a:off x="4078982" y="3485750"/>
            <a:ext cx="16225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50" name="Grafik 49">
            <a:extLst>
              <a:ext uri="{FF2B5EF4-FFF2-40B4-BE49-F238E27FC236}">
                <a16:creationId xmlns:a16="http://schemas.microsoft.com/office/drawing/2014/main" id="{9EBC78B3-15F5-41A4-9418-4091C22BD7D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78038" y="5283560"/>
            <a:ext cx="1231900" cy="723900"/>
          </a:xfrm>
          <a:prstGeom prst="rect">
            <a:avLst/>
          </a:prstGeom>
        </p:spPr>
      </p:pic>
      <p:sp>
        <p:nvSpPr>
          <p:cNvPr id="6" name="Textfeld 5">
            <a:extLst>
              <a:ext uri="{FF2B5EF4-FFF2-40B4-BE49-F238E27FC236}">
                <a16:creationId xmlns:a16="http://schemas.microsoft.com/office/drawing/2014/main" id="{B46A6280-3D56-4A80-995D-E1A799D32484}"/>
              </a:ext>
            </a:extLst>
          </p:cNvPr>
          <p:cNvSpPr txBox="1"/>
          <p:nvPr/>
        </p:nvSpPr>
        <p:spPr>
          <a:xfrm>
            <a:off x="4162828" y="3579542"/>
            <a:ext cx="1478540" cy="616418"/>
          </a:xfrm>
          <a:prstGeom prst="rect">
            <a:avLst/>
          </a:prstGeom>
          <a:noFill/>
        </p:spPr>
        <p:txBody>
          <a:bodyPr wrap="square" lIns="36000" tIns="36000" rIns="36000" bIns="36000" rtlCol="0" anchor="ctr" anchorCtr="0">
            <a:noAutofit/>
          </a:bodyPr>
          <a:lstStyle/>
          <a:p>
            <a:r>
              <a:rPr lang="de-DE"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Germany, Argentina, </a:t>
            </a:r>
            <a:r>
              <a:rPr lang="de-DE" sz="1050" dirty="0" err="1">
                <a:solidFill>
                  <a:srgbClr val="000000">
                    <a:lumMod val="75000"/>
                    <a:lumOff val="25000"/>
                  </a:srgbClr>
                </a:solidFill>
                <a:latin typeface="Univers" panose="020B0503020202020204" pitchFamily="34" charset="0"/>
                <a:ea typeface="Verdana" pitchFamily="34" charset="0"/>
                <a:cs typeface="Arial" panose="020B0604020202020204" pitchFamily="34" charset="0"/>
              </a:rPr>
              <a:t>Poland</a:t>
            </a:r>
            <a:r>
              <a:rPr lang="de-DE"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 United Kingdom</a:t>
            </a:r>
          </a:p>
        </p:txBody>
      </p:sp>
      <p:pic>
        <p:nvPicPr>
          <p:cNvPr id="51" name="Grafik 50">
            <a:extLst>
              <a:ext uri="{FF2B5EF4-FFF2-40B4-BE49-F238E27FC236}">
                <a16:creationId xmlns:a16="http://schemas.microsoft.com/office/drawing/2014/main" id="{10AB6CA8-84E5-41A7-AC50-EE493614324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898900" y="4834322"/>
            <a:ext cx="889565" cy="1217224"/>
          </a:xfrm>
          <a:prstGeom prst="rect">
            <a:avLst/>
          </a:prstGeom>
        </p:spPr>
      </p:pic>
      <p:sp>
        <p:nvSpPr>
          <p:cNvPr id="2" name="Datumsplatzhalter 1">
            <a:extLst>
              <a:ext uri="{FF2B5EF4-FFF2-40B4-BE49-F238E27FC236}">
                <a16:creationId xmlns:a16="http://schemas.microsoft.com/office/drawing/2014/main" id="{20F630EB-1E5A-2E44-9F16-2BBE332989AD}"/>
              </a:ext>
            </a:extLst>
          </p:cNvPr>
          <p:cNvSpPr>
            <a:spLocks noGrp="1"/>
          </p:cNvSpPr>
          <p:nvPr>
            <p:ph type="dt" sz="half" idx="10"/>
          </p:nvPr>
        </p:nvSpPr>
        <p:spPr/>
        <p:txBody>
          <a:bodyPr/>
          <a:lstStyle/>
          <a:p>
            <a:r>
              <a:rPr lang="en-US">
                <a:solidFill>
                  <a:srgbClr val="6F6F6F"/>
                </a:solidFill>
              </a:rPr>
              <a:t>21/08/2019</a:t>
            </a:r>
            <a:endParaRPr lang="de-DE" dirty="0">
              <a:solidFill>
                <a:srgbClr val="6F6F6F"/>
              </a:solidFill>
            </a:endParaRPr>
          </a:p>
        </p:txBody>
      </p:sp>
      <p:sp>
        <p:nvSpPr>
          <p:cNvPr id="4" name="Textfeld 3">
            <a:extLst>
              <a:ext uri="{FF2B5EF4-FFF2-40B4-BE49-F238E27FC236}">
                <a16:creationId xmlns:a16="http://schemas.microsoft.com/office/drawing/2014/main" id="{79B93744-D8C3-0D46-A83F-2CFC79BBC49D}"/>
              </a:ext>
            </a:extLst>
          </p:cNvPr>
          <p:cNvSpPr txBox="1"/>
          <p:nvPr/>
        </p:nvSpPr>
        <p:spPr>
          <a:xfrm>
            <a:off x="8510954" y="663191"/>
            <a:ext cx="0" cy="0"/>
          </a:xfrm>
          <a:prstGeom prst="rect">
            <a:avLst/>
          </a:prstGeom>
          <a:noFill/>
        </p:spPr>
        <p:txBody>
          <a:bodyPr wrap="none" lIns="36000" tIns="36000" rIns="36000" bIns="36000" rtlCol="0" anchor="ctr" anchorCtr="0">
            <a:noAutofit/>
          </a:bodyPr>
          <a:lstStyle/>
          <a:p>
            <a:pPr algn="ctr"/>
            <a:endParaRPr lang="de-DE" sz="1400" dirty="0" err="1"/>
          </a:p>
        </p:txBody>
      </p:sp>
      <p:sp>
        <p:nvSpPr>
          <p:cNvPr id="48" name="Freeform 9">
            <a:extLst>
              <a:ext uri="{FF2B5EF4-FFF2-40B4-BE49-F238E27FC236}">
                <a16:creationId xmlns:a16="http://schemas.microsoft.com/office/drawing/2014/main" id="{D64FA2AC-C3AF-E44F-9025-A29A72275835}"/>
              </a:ext>
            </a:extLst>
          </p:cNvPr>
          <p:cNvSpPr>
            <a:spLocks/>
          </p:cNvSpPr>
          <p:nvPr/>
        </p:nvSpPr>
        <p:spPr bwMode="auto">
          <a:xfrm>
            <a:off x="6099265" y="3620526"/>
            <a:ext cx="1356358" cy="820462"/>
          </a:xfrm>
          <a:prstGeom prst="rect">
            <a:avLst/>
          </a:prstGeom>
          <a:noFill/>
          <a:ln w="50800">
            <a:noFill/>
          </a:ln>
        </p:spPr>
        <p:txBody>
          <a:bodyPr vert="horz" wrap="square" lIns="0" tIns="0" rIns="0" bIns="0" numCol="1" anchor="t" anchorCtr="0" compatLnSpc="1">
            <a:prstTxWarp prst="textNoShape">
              <a:avLst/>
            </a:prstTxWarp>
          </a:bodyPr>
          <a:lstStyle/>
          <a:p>
            <a:pPr defTabSz="457200"/>
            <a:r>
              <a:rPr lang="en-US" sz="1050">
                <a:solidFill>
                  <a:srgbClr val="000000">
                    <a:lumMod val="75000"/>
                    <a:lumOff val="25000"/>
                  </a:srgbClr>
                </a:solidFill>
                <a:latin typeface="Univers" panose="020B0503020202020204" pitchFamily="34" charset="0"/>
                <a:ea typeface="Verdana" pitchFamily="34" charset="0"/>
                <a:cs typeface="Arial" panose="020B0604020202020204" pitchFamily="34" charset="0"/>
              </a:rPr>
              <a:t>Close cooperation in the further development of the SAP Landscape Transformation Software</a:t>
            </a:r>
          </a:p>
          <a:p>
            <a:pPr defTabSz="457200"/>
            <a:endParaRPr lang="en-US" sz="1050">
              <a:solidFill>
                <a:srgbClr val="000000">
                  <a:lumMod val="75000"/>
                  <a:lumOff val="25000"/>
                </a:srgbClr>
              </a:solidFill>
              <a:latin typeface="Univers" panose="020B0503020202020204" pitchFamily="34" charset="0"/>
              <a:ea typeface="Verdana" pitchFamily="34" charset="0"/>
              <a:cs typeface="Arial" panose="020B0604020202020204" pitchFamily="34" charset="0"/>
            </a:endParaRPr>
          </a:p>
          <a:p>
            <a:pPr defTabSz="457200"/>
            <a:r>
              <a:rPr lang="en-US" sz="1050">
                <a:solidFill>
                  <a:srgbClr val="000000">
                    <a:lumMod val="75000"/>
                    <a:lumOff val="25000"/>
                  </a:srgbClr>
                </a:solidFill>
                <a:latin typeface="Univers" panose="020B0503020202020204" pitchFamily="34" charset="0"/>
                <a:ea typeface="Verdana" pitchFamily="34" charset="0"/>
                <a:cs typeface="Arial" panose="020B0604020202020204" pitchFamily="34" charset="0"/>
              </a:rPr>
              <a:t>OEM partnership with SAP</a:t>
            </a:r>
            <a:endParaRPr lang="en-US"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endParaRPr>
          </a:p>
        </p:txBody>
      </p:sp>
      <p:pic>
        <p:nvPicPr>
          <p:cNvPr id="53" name="Grafik 52">
            <a:extLst>
              <a:ext uri="{FF2B5EF4-FFF2-40B4-BE49-F238E27FC236}">
                <a16:creationId xmlns:a16="http://schemas.microsoft.com/office/drawing/2014/main" id="{98DD8370-8DFE-8942-9B98-0E3A465066F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232906" y="4333156"/>
            <a:ext cx="1593955" cy="359725"/>
          </a:xfrm>
          <a:prstGeom prst="rect">
            <a:avLst/>
          </a:prstGeom>
        </p:spPr>
      </p:pic>
      <p:sp>
        <p:nvSpPr>
          <p:cNvPr id="7" name="Foliennummernplatzhalter 6">
            <a:extLst>
              <a:ext uri="{FF2B5EF4-FFF2-40B4-BE49-F238E27FC236}">
                <a16:creationId xmlns:a16="http://schemas.microsoft.com/office/drawing/2014/main" id="{D04EB421-377A-B94B-A851-421E1964CCBE}"/>
              </a:ext>
            </a:extLst>
          </p:cNvPr>
          <p:cNvSpPr>
            <a:spLocks noGrp="1"/>
          </p:cNvSpPr>
          <p:nvPr>
            <p:ph type="sldNum" sz="quarter" idx="11"/>
          </p:nvPr>
        </p:nvSpPr>
        <p:spPr/>
        <p:txBody>
          <a:bodyPr/>
          <a:lstStyle/>
          <a:p>
            <a:fld id="{221F1D72-F2AC-4B6E-A46C-E63D2CF40C7B}" type="slidenum">
              <a:rPr lang="de-DE" smtClean="0">
                <a:solidFill>
                  <a:srgbClr val="6F6F6F"/>
                </a:solidFill>
              </a:rPr>
              <a:pPr/>
              <a:t>6</a:t>
            </a:fld>
            <a:endParaRPr lang="de-DE" dirty="0">
              <a:solidFill>
                <a:srgbClr val="6F6F6F"/>
              </a:solidFill>
            </a:endParaRPr>
          </a:p>
        </p:txBody>
      </p:sp>
      <p:sp>
        <p:nvSpPr>
          <p:cNvPr id="52" name="Freeform 9">
            <a:extLst>
              <a:ext uri="{FF2B5EF4-FFF2-40B4-BE49-F238E27FC236}">
                <a16:creationId xmlns:a16="http://schemas.microsoft.com/office/drawing/2014/main" id="{7127D6A0-9BF1-41AE-8F16-1EE2B5099767}"/>
              </a:ext>
            </a:extLst>
          </p:cNvPr>
          <p:cNvSpPr>
            <a:spLocks/>
          </p:cNvSpPr>
          <p:nvPr/>
        </p:nvSpPr>
        <p:spPr bwMode="auto">
          <a:xfrm>
            <a:off x="9828419" y="3620526"/>
            <a:ext cx="1356930" cy="820462"/>
          </a:xfrm>
          <a:prstGeom prst="rect">
            <a:avLst/>
          </a:prstGeom>
          <a:noFill/>
          <a:ln w="50800">
            <a:noFill/>
          </a:ln>
        </p:spPr>
        <p:txBody>
          <a:bodyPr vert="horz" wrap="square" lIns="0" tIns="0" rIns="0" bIns="0" numCol="1" anchor="t" anchorCtr="0" compatLnSpc="1">
            <a:prstTxWarp prst="textNoShape">
              <a:avLst/>
            </a:prstTxWarp>
          </a:bodyPr>
          <a:lstStyle/>
          <a:p>
            <a:pPr defTabSz="457200"/>
            <a:r>
              <a:rPr lang="en-US" sz="1050" dirty="0">
                <a:solidFill>
                  <a:srgbClr val="000000">
                    <a:lumMod val="75000"/>
                    <a:lumOff val="25000"/>
                  </a:srgbClr>
                </a:solidFill>
                <a:latin typeface="Univers" panose="020B0503020202020204" pitchFamily="34" charset="0"/>
                <a:ea typeface="Verdana" pitchFamily="34" charset="0"/>
                <a:cs typeface="Arial" panose="020B0604020202020204" pitchFamily="34" charset="0"/>
              </a:rPr>
              <a:t>Member of SAP S/4HANA Selective Data Transition Engagement community.</a:t>
            </a:r>
          </a:p>
        </p:txBody>
      </p:sp>
      <p:pic>
        <p:nvPicPr>
          <p:cNvPr id="8" name="Picture 7">
            <a:extLst>
              <a:ext uri="{FF2B5EF4-FFF2-40B4-BE49-F238E27FC236}">
                <a16:creationId xmlns:a16="http://schemas.microsoft.com/office/drawing/2014/main" id="{03BBDB77-D1D2-4513-9F5F-374098F017B8}"/>
              </a:ext>
            </a:extLst>
          </p:cNvPr>
          <p:cNvPicPr>
            <a:picLocks noChangeAspect="1"/>
          </p:cNvPicPr>
          <p:nvPr/>
        </p:nvPicPr>
        <p:blipFill rotWithShape="1">
          <a:blip r:embed="rId11"/>
          <a:srcRect l="6739" t="4822" r="4744"/>
          <a:stretch/>
        </p:blipFill>
        <p:spPr>
          <a:xfrm>
            <a:off x="10108773" y="5051817"/>
            <a:ext cx="796221" cy="820462"/>
          </a:xfrm>
          <a:prstGeom prst="rect">
            <a:avLst/>
          </a:prstGeom>
        </p:spPr>
      </p:pic>
      <p:sp>
        <p:nvSpPr>
          <p:cNvPr id="46" name="Freeform 9">
            <a:extLst>
              <a:ext uri="{FF2B5EF4-FFF2-40B4-BE49-F238E27FC236}">
                <a16:creationId xmlns:a16="http://schemas.microsoft.com/office/drawing/2014/main" id="{6C59242E-1099-47BF-9B4B-B28DA79AE88A}"/>
              </a:ext>
            </a:extLst>
          </p:cNvPr>
          <p:cNvSpPr>
            <a:spLocks/>
          </p:cNvSpPr>
          <p:nvPr/>
        </p:nvSpPr>
        <p:spPr bwMode="auto">
          <a:xfrm>
            <a:off x="5313471" y="980728"/>
            <a:ext cx="1140100" cy="1140100"/>
          </a:xfrm>
          <a:prstGeom prst="ellipse">
            <a:avLst/>
          </a:prstGeom>
          <a:solidFill>
            <a:schemeClr val="bg1">
              <a:lumMod val="85000"/>
            </a:schemeClr>
          </a:solidFill>
          <a:ln w="50800">
            <a:noFill/>
          </a:ln>
        </p:spPr>
        <p:txBody>
          <a:bodyPr vert="horz" wrap="square" lIns="91440" tIns="45720" rIns="91440" bIns="45720" numCol="1" anchor="t" anchorCtr="0" compatLnSpc="1">
            <a:prstTxWarp prst="textNoShape">
              <a:avLst/>
            </a:prstTxWarp>
          </a:bodyPr>
          <a:lstStyle/>
          <a:p>
            <a:endParaRPr lang="de-DE" dirty="0"/>
          </a:p>
        </p:txBody>
      </p:sp>
      <p:sp>
        <p:nvSpPr>
          <p:cNvPr id="47" name="Freeform 5">
            <a:extLst>
              <a:ext uri="{FF2B5EF4-FFF2-40B4-BE49-F238E27FC236}">
                <a16:creationId xmlns:a16="http://schemas.microsoft.com/office/drawing/2014/main" id="{9AA52D68-A811-427E-A0B3-4F176391EA66}"/>
              </a:ext>
            </a:extLst>
          </p:cNvPr>
          <p:cNvSpPr>
            <a:spLocks noEditPoints="1"/>
          </p:cNvSpPr>
          <p:nvPr/>
        </p:nvSpPr>
        <p:spPr bwMode="auto">
          <a:xfrm>
            <a:off x="5615359" y="1248140"/>
            <a:ext cx="629226" cy="609765"/>
          </a:xfrm>
          <a:custGeom>
            <a:avLst/>
            <a:gdLst>
              <a:gd name="T0" fmla="*/ 1270 w 2100"/>
              <a:gd name="T1" fmla="*/ 1752 h 2040"/>
              <a:gd name="T2" fmla="*/ 1164 w 2100"/>
              <a:gd name="T3" fmla="*/ 1932 h 2040"/>
              <a:gd name="T4" fmla="*/ 1060 w 2100"/>
              <a:gd name="T5" fmla="*/ 1431 h 2040"/>
              <a:gd name="T6" fmla="*/ 1398 w 2100"/>
              <a:gd name="T7" fmla="*/ 1470 h 2040"/>
              <a:gd name="T8" fmla="*/ 1398 w 2100"/>
              <a:gd name="T9" fmla="*/ 1715 h 2040"/>
              <a:gd name="T10" fmla="*/ 1261 w 2100"/>
              <a:gd name="T11" fmla="*/ 1518 h 2040"/>
              <a:gd name="T12" fmla="*/ 1164 w 2100"/>
              <a:gd name="T13" fmla="*/ 1666 h 2040"/>
              <a:gd name="T14" fmla="*/ 1319 w 2100"/>
              <a:gd name="T15" fmla="*/ 1648 h 2040"/>
              <a:gd name="T16" fmla="*/ 1319 w 2100"/>
              <a:gd name="T17" fmla="*/ 1535 h 2040"/>
              <a:gd name="T18" fmla="*/ 855 w 2100"/>
              <a:gd name="T19" fmla="*/ 1932 h 2040"/>
              <a:gd name="T20" fmla="*/ 651 w 2100"/>
              <a:gd name="T21" fmla="*/ 1932 h 2040"/>
              <a:gd name="T22" fmla="*/ 553 w 2100"/>
              <a:gd name="T23" fmla="*/ 1431 h 2040"/>
              <a:gd name="T24" fmla="*/ 862 w 2100"/>
              <a:gd name="T25" fmla="*/ 1781 h 2040"/>
              <a:gd name="T26" fmla="*/ 960 w 2100"/>
              <a:gd name="T27" fmla="*/ 1431 h 2040"/>
              <a:gd name="T28" fmla="*/ 425 w 2100"/>
              <a:gd name="T29" fmla="*/ 1900 h 2040"/>
              <a:gd name="T30" fmla="*/ 123 w 2100"/>
              <a:gd name="T31" fmla="*/ 1900 h 2040"/>
              <a:gd name="T32" fmla="*/ 167 w 2100"/>
              <a:gd name="T33" fmla="*/ 1777 h 2040"/>
              <a:gd name="T34" fmla="*/ 273 w 2100"/>
              <a:gd name="T35" fmla="*/ 1860 h 2040"/>
              <a:gd name="T36" fmla="*/ 377 w 2100"/>
              <a:gd name="T37" fmla="*/ 1793 h 2040"/>
              <a:gd name="T38" fmla="*/ 287 w 2100"/>
              <a:gd name="T39" fmla="*/ 1732 h 2040"/>
              <a:gd name="T40" fmla="*/ 126 w 2100"/>
              <a:gd name="T41" fmla="*/ 1681 h 2040"/>
              <a:gd name="T42" fmla="*/ 124 w 2100"/>
              <a:gd name="T43" fmla="*/ 1461 h 2040"/>
              <a:gd name="T44" fmla="*/ 402 w 2100"/>
              <a:gd name="T45" fmla="*/ 1459 h 2040"/>
              <a:gd name="T46" fmla="*/ 361 w 2100"/>
              <a:gd name="T47" fmla="*/ 1580 h 2040"/>
              <a:gd name="T48" fmla="*/ 260 w 2100"/>
              <a:gd name="T49" fmla="*/ 1504 h 2040"/>
              <a:gd name="T50" fmla="*/ 172 w 2100"/>
              <a:gd name="T51" fmla="*/ 1565 h 2040"/>
              <a:gd name="T52" fmla="*/ 261 w 2100"/>
              <a:gd name="T53" fmla="*/ 1626 h 2040"/>
              <a:gd name="T54" fmla="*/ 433 w 2100"/>
              <a:gd name="T55" fmla="*/ 1683 h 2040"/>
              <a:gd name="T56" fmla="*/ 425 w 2100"/>
              <a:gd name="T57" fmla="*/ 1900 h 2040"/>
              <a:gd name="T58" fmla="*/ 1323 w 2100"/>
              <a:gd name="T59" fmla="*/ 541 h 2040"/>
              <a:gd name="T60" fmla="*/ 1499 w 2100"/>
              <a:gd name="T61" fmla="*/ 597 h 2040"/>
              <a:gd name="T62" fmla="*/ 1126 w 2100"/>
              <a:gd name="T63" fmla="*/ 1022 h 2040"/>
              <a:gd name="T64" fmla="*/ 813 w 2100"/>
              <a:gd name="T65" fmla="*/ 803 h 2040"/>
              <a:gd name="T66" fmla="*/ 2098 w 2100"/>
              <a:gd name="T67" fmla="*/ 183 h 2040"/>
              <a:gd name="T68" fmla="*/ 2046 w 2100"/>
              <a:gd name="T69" fmla="*/ 125 h 2040"/>
              <a:gd name="T70" fmla="*/ 2050 w 2100"/>
              <a:gd name="T71" fmla="*/ 14 h 2040"/>
              <a:gd name="T72" fmla="*/ 2040 w 2100"/>
              <a:gd name="T73" fmla="*/ 11 h 2040"/>
              <a:gd name="T74" fmla="*/ 1942 w 2100"/>
              <a:gd name="T75" fmla="*/ 53 h 2040"/>
              <a:gd name="T76" fmla="*/ 1757 w 2100"/>
              <a:gd name="T77" fmla="*/ 190 h 2040"/>
              <a:gd name="T78" fmla="*/ 888 w 2100"/>
              <a:gd name="T79" fmla="*/ 333 h 2040"/>
              <a:gd name="T80" fmla="*/ 887 w 2100"/>
              <a:gd name="T81" fmla="*/ 343 h 2040"/>
              <a:gd name="T82" fmla="*/ 904 w 2100"/>
              <a:gd name="T83" fmla="*/ 339 h 2040"/>
              <a:gd name="T84" fmla="*/ 1494 w 2100"/>
              <a:gd name="T85" fmla="*/ 333 h 2040"/>
              <a:gd name="T86" fmla="*/ 1327 w 2100"/>
              <a:gd name="T87" fmla="*/ 527 h 2040"/>
              <a:gd name="T88" fmla="*/ 0 w 2100"/>
              <a:gd name="T89" fmla="*/ 2040 h 2040"/>
              <a:gd name="T90" fmla="*/ 1513 w 2100"/>
              <a:gd name="T91" fmla="*/ 595 h 2040"/>
              <a:gd name="T92" fmla="*/ 1684 w 2100"/>
              <a:gd name="T93" fmla="*/ 491 h 2040"/>
              <a:gd name="T94" fmla="*/ 1612 w 2100"/>
              <a:gd name="T95" fmla="*/ 1099 h 2040"/>
              <a:gd name="T96" fmla="*/ 1617 w 2100"/>
              <a:gd name="T97" fmla="*/ 1102 h 2040"/>
              <a:gd name="T98" fmla="*/ 1656 w 2100"/>
              <a:gd name="T99" fmla="*/ 1063 h 2040"/>
              <a:gd name="T100" fmla="*/ 1911 w 2100"/>
              <a:gd name="T101" fmla="*/ 310 h 2040"/>
              <a:gd name="T102" fmla="*/ 2068 w 2100"/>
              <a:gd name="T103" fmla="*/ 194 h 2040"/>
              <a:gd name="T104" fmla="*/ 2100 w 2100"/>
              <a:gd name="T105" fmla="*/ 185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0" h="2040">
                <a:moveTo>
                  <a:pt x="1398" y="1715"/>
                </a:moveTo>
                <a:cubicBezTo>
                  <a:pt x="1368" y="1740"/>
                  <a:pt x="1325" y="1752"/>
                  <a:pt x="1270" y="1752"/>
                </a:cubicBezTo>
                <a:lnTo>
                  <a:pt x="1164" y="1752"/>
                </a:lnTo>
                <a:lnTo>
                  <a:pt x="1164" y="1932"/>
                </a:lnTo>
                <a:lnTo>
                  <a:pt x="1060" y="1932"/>
                </a:lnTo>
                <a:lnTo>
                  <a:pt x="1060" y="1431"/>
                </a:lnTo>
                <a:lnTo>
                  <a:pt x="1278" y="1431"/>
                </a:lnTo>
                <a:cubicBezTo>
                  <a:pt x="1328" y="1431"/>
                  <a:pt x="1368" y="1444"/>
                  <a:pt x="1398" y="1470"/>
                </a:cubicBezTo>
                <a:cubicBezTo>
                  <a:pt x="1428" y="1496"/>
                  <a:pt x="1443" y="1536"/>
                  <a:pt x="1443" y="1590"/>
                </a:cubicBezTo>
                <a:cubicBezTo>
                  <a:pt x="1443" y="1649"/>
                  <a:pt x="1428" y="1691"/>
                  <a:pt x="1398" y="1715"/>
                </a:cubicBezTo>
                <a:close/>
                <a:moveTo>
                  <a:pt x="1319" y="1535"/>
                </a:moveTo>
                <a:cubicBezTo>
                  <a:pt x="1305" y="1524"/>
                  <a:pt x="1286" y="1518"/>
                  <a:pt x="1261" y="1518"/>
                </a:cubicBezTo>
                <a:lnTo>
                  <a:pt x="1164" y="1518"/>
                </a:lnTo>
                <a:lnTo>
                  <a:pt x="1164" y="1666"/>
                </a:lnTo>
                <a:lnTo>
                  <a:pt x="1261" y="1666"/>
                </a:lnTo>
                <a:cubicBezTo>
                  <a:pt x="1286" y="1666"/>
                  <a:pt x="1305" y="1660"/>
                  <a:pt x="1319" y="1648"/>
                </a:cubicBezTo>
                <a:cubicBezTo>
                  <a:pt x="1332" y="1636"/>
                  <a:pt x="1339" y="1617"/>
                  <a:pt x="1339" y="1591"/>
                </a:cubicBezTo>
                <a:cubicBezTo>
                  <a:pt x="1339" y="1565"/>
                  <a:pt x="1332" y="1546"/>
                  <a:pt x="1319" y="1535"/>
                </a:cubicBezTo>
                <a:close/>
                <a:moveTo>
                  <a:pt x="960" y="1932"/>
                </a:moveTo>
                <a:lnTo>
                  <a:pt x="855" y="1932"/>
                </a:lnTo>
                <a:lnTo>
                  <a:pt x="651" y="1576"/>
                </a:lnTo>
                <a:lnTo>
                  <a:pt x="651" y="1932"/>
                </a:lnTo>
                <a:lnTo>
                  <a:pt x="553" y="1932"/>
                </a:lnTo>
                <a:lnTo>
                  <a:pt x="553" y="1431"/>
                </a:lnTo>
                <a:lnTo>
                  <a:pt x="663" y="1431"/>
                </a:lnTo>
                <a:lnTo>
                  <a:pt x="862" y="1781"/>
                </a:lnTo>
                <a:lnTo>
                  <a:pt x="862" y="1431"/>
                </a:lnTo>
                <a:lnTo>
                  <a:pt x="960" y="1431"/>
                </a:lnTo>
                <a:lnTo>
                  <a:pt x="960" y="1932"/>
                </a:lnTo>
                <a:close/>
                <a:moveTo>
                  <a:pt x="425" y="1900"/>
                </a:moveTo>
                <a:cubicBezTo>
                  <a:pt x="390" y="1930"/>
                  <a:pt x="341" y="1945"/>
                  <a:pt x="277" y="1945"/>
                </a:cubicBezTo>
                <a:cubicBezTo>
                  <a:pt x="212" y="1945"/>
                  <a:pt x="160" y="1930"/>
                  <a:pt x="123" y="1900"/>
                </a:cubicBezTo>
                <a:cubicBezTo>
                  <a:pt x="86" y="1870"/>
                  <a:pt x="67" y="1830"/>
                  <a:pt x="67" y="1777"/>
                </a:cubicBezTo>
                <a:lnTo>
                  <a:pt x="167" y="1777"/>
                </a:lnTo>
                <a:cubicBezTo>
                  <a:pt x="170" y="1800"/>
                  <a:pt x="176" y="1817"/>
                  <a:pt x="185" y="1829"/>
                </a:cubicBezTo>
                <a:cubicBezTo>
                  <a:pt x="202" y="1849"/>
                  <a:pt x="231" y="1860"/>
                  <a:pt x="273" y="1860"/>
                </a:cubicBezTo>
                <a:cubicBezTo>
                  <a:pt x="297" y="1860"/>
                  <a:pt x="317" y="1857"/>
                  <a:pt x="333" y="1851"/>
                </a:cubicBezTo>
                <a:cubicBezTo>
                  <a:pt x="362" y="1841"/>
                  <a:pt x="377" y="1822"/>
                  <a:pt x="377" y="1793"/>
                </a:cubicBezTo>
                <a:cubicBezTo>
                  <a:pt x="377" y="1777"/>
                  <a:pt x="369" y="1764"/>
                  <a:pt x="355" y="1755"/>
                </a:cubicBezTo>
                <a:cubicBezTo>
                  <a:pt x="340" y="1746"/>
                  <a:pt x="318" y="1738"/>
                  <a:pt x="287" y="1732"/>
                </a:cubicBezTo>
                <a:lnTo>
                  <a:pt x="234" y="1720"/>
                </a:lnTo>
                <a:cubicBezTo>
                  <a:pt x="182" y="1708"/>
                  <a:pt x="146" y="1695"/>
                  <a:pt x="126" y="1681"/>
                </a:cubicBezTo>
                <a:cubicBezTo>
                  <a:pt x="92" y="1658"/>
                  <a:pt x="75" y="1622"/>
                  <a:pt x="75" y="1573"/>
                </a:cubicBezTo>
                <a:cubicBezTo>
                  <a:pt x="75" y="1528"/>
                  <a:pt x="91" y="1491"/>
                  <a:pt x="124" y="1461"/>
                </a:cubicBezTo>
                <a:cubicBezTo>
                  <a:pt x="157" y="1432"/>
                  <a:pt x="204" y="1417"/>
                  <a:pt x="268" y="1417"/>
                </a:cubicBezTo>
                <a:cubicBezTo>
                  <a:pt x="320" y="1417"/>
                  <a:pt x="365" y="1431"/>
                  <a:pt x="402" y="1459"/>
                </a:cubicBezTo>
                <a:cubicBezTo>
                  <a:pt x="440" y="1487"/>
                  <a:pt x="459" y="1527"/>
                  <a:pt x="461" y="1580"/>
                </a:cubicBezTo>
                <a:lnTo>
                  <a:pt x="361" y="1580"/>
                </a:lnTo>
                <a:cubicBezTo>
                  <a:pt x="359" y="1550"/>
                  <a:pt x="346" y="1529"/>
                  <a:pt x="321" y="1516"/>
                </a:cubicBezTo>
                <a:cubicBezTo>
                  <a:pt x="305" y="1508"/>
                  <a:pt x="285" y="1504"/>
                  <a:pt x="260" y="1504"/>
                </a:cubicBezTo>
                <a:cubicBezTo>
                  <a:pt x="234" y="1504"/>
                  <a:pt x="212" y="1509"/>
                  <a:pt x="196" y="1520"/>
                </a:cubicBezTo>
                <a:cubicBezTo>
                  <a:pt x="180" y="1531"/>
                  <a:pt x="172" y="1546"/>
                  <a:pt x="172" y="1565"/>
                </a:cubicBezTo>
                <a:cubicBezTo>
                  <a:pt x="172" y="1583"/>
                  <a:pt x="180" y="1597"/>
                  <a:pt x="196" y="1606"/>
                </a:cubicBezTo>
                <a:cubicBezTo>
                  <a:pt x="206" y="1611"/>
                  <a:pt x="228" y="1618"/>
                  <a:pt x="261" y="1626"/>
                </a:cubicBezTo>
                <a:lnTo>
                  <a:pt x="347" y="1647"/>
                </a:lnTo>
                <a:cubicBezTo>
                  <a:pt x="385" y="1656"/>
                  <a:pt x="413" y="1668"/>
                  <a:pt x="433" y="1683"/>
                </a:cubicBezTo>
                <a:cubicBezTo>
                  <a:pt x="463" y="1707"/>
                  <a:pt x="477" y="1741"/>
                  <a:pt x="477" y="1786"/>
                </a:cubicBezTo>
                <a:cubicBezTo>
                  <a:pt x="477" y="1831"/>
                  <a:pt x="460" y="1869"/>
                  <a:pt x="425" y="1900"/>
                </a:cubicBezTo>
                <a:close/>
                <a:moveTo>
                  <a:pt x="1306" y="574"/>
                </a:moveTo>
                <a:cubicBezTo>
                  <a:pt x="1306" y="568"/>
                  <a:pt x="1312" y="556"/>
                  <a:pt x="1323" y="541"/>
                </a:cubicBezTo>
                <a:lnTo>
                  <a:pt x="1499" y="541"/>
                </a:lnTo>
                <a:lnTo>
                  <a:pt x="1499" y="597"/>
                </a:lnTo>
                <a:cubicBezTo>
                  <a:pt x="1439" y="632"/>
                  <a:pt x="1386" y="662"/>
                  <a:pt x="1376" y="662"/>
                </a:cubicBezTo>
                <a:cubicBezTo>
                  <a:pt x="1373" y="662"/>
                  <a:pt x="1145" y="1030"/>
                  <a:pt x="1126" y="1022"/>
                </a:cubicBezTo>
                <a:cubicBezTo>
                  <a:pt x="1106" y="1014"/>
                  <a:pt x="1268" y="676"/>
                  <a:pt x="1257" y="676"/>
                </a:cubicBezTo>
                <a:cubicBezTo>
                  <a:pt x="1250" y="676"/>
                  <a:pt x="823" y="805"/>
                  <a:pt x="813" y="803"/>
                </a:cubicBezTo>
                <a:cubicBezTo>
                  <a:pt x="710" y="784"/>
                  <a:pt x="1306" y="577"/>
                  <a:pt x="1306" y="574"/>
                </a:cubicBezTo>
                <a:close/>
                <a:moveTo>
                  <a:pt x="2098" y="183"/>
                </a:moveTo>
                <a:cubicBezTo>
                  <a:pt x="2091" y="176"/>
                  <a:pt x="2085" y="170"/>
                  <a:pt x="2079" y="166"/>
                </a:cubicBezTo>
                <a:cubicBezTo>
                  <a:pt x="2066" y="153"/>
                  <a:pt x="2055" y="144"/>
                  <a:pt x="2046" y="125"/>
                </a:cubicBezTo>
                <a:cubicBezTo>
                  <a:pt x="2036" y="103"/>
                  <a:pt x="2040" y="84"/>
                  <a:pt x="2045" y="63"/>
                </a:cubicBezTo>
                <a:cubicBezTo>
                  <a:pt x="2048" y="48"/>
                  <a:pt x="2052" y="32"/>
                  <a:pt x="2050" y="14"/>
                </a:cubicBezTo>
                <a:lnTo>
                  <a:pt x="2049" y="0"/>
                </a:lnTo>
                <a:lnTo>
                  <a:pt x="2040" y="11"/>
                </a:lnTo>
                <a:cubicBezTo>
                  <a:pt x="2022" y="35"/>
                  <a:pt x="1999" y="62"/>
                  <a:pt x="1993" y="65"/>
                </a:cubicBezTo>
                <a:cubicBezTo>
                  <a:pt x="1977" y="57"/>
                  <a:pt x="1959" y="53"/>
                  <a:pt x="1942" y="53"/>
                </a:cubicBezTo>
                <a:cubicBezTo>
                  <a:pt x="1868" y="53"/>
                  <a:pt x="1808" y="128"/>
                  <a:pt x="1776" y="168"/>
                </a:cubicBezTo>
                <a:cubicBezTo>
                  <a:pt x="1768" y="177"/>
                  <a:pt x="1760" y="187"/>
                  <a:pt x="1757" y="190"/>
                </a:cubicBezTo>
                <a:cubicBezTo>
                  <a:pt x="1722" y="146"/>
                  <a:pt x="1621" y="99"/>
                  <a:pt x="1481" y="99"/>
                </a:cubicBezTo>
                <a:cubicBezTo>
                  <a:pt x="1352" y="99"/>
                  <a:pt x="1144" y="140"/>
                  <a:pt x="888" y="333"/>
                </a:cubicBezTo>
                <a:lnTo>
                  <a:pt x="885" y="335"/>
                </a:lnTo>
                <a:lnTo>
                  <a:pt x="887" y="343"/>
                </a:lnTo>
                <a:lnTo>
                  <a:pt x="891" y="343"/>
                </a:lnTo>
                <a:cubicBezTo>
                  <a:pt x="893" y="343"/>
                  <a:pt x="894" y="342"/>
                  <a:pt x="904" y="339"/>
                </a:cubicBezTo>
                <a:cubicBezTo>
                  <a:pt x="1022" y="294"/>
                  <a:pt x="1135" y="271"/>
                  <a:pt x="1239" y="271"/>
                </a:cubicBezTo>
                <a:cubicBezTo>
                  <a:pt x="1337" y="271"/>
                  <a:pt x="1422" y="292"/>
                  <a:pt x="1494" y="333"/>
                </a:cubicBezTo>
                <a:cubicBezTo>
                  <a:pt x="1487" y="342"/>
                  <a:pt x="1468" y="363"/>
                  <a:pt x="1448" y="386"/>
                </a:cubicBezTo>
                <a:cubicBezTo>
                  <a:pt x="1398" y="441"/>
                  <a:pt x="1354" y="491"/>
                  <a:pt x="1327" y="527"/>
                </a:cubicBezTo>
                <a:lnTo>
                  <a:pt x="0" y="527"/>
                </a:lnTo>
                <a:lnTo>
                  <a:pt x="0" y="2040"/>
                </a:lnTo>
                <a:lnTo>
                  <a:pt x="1513" y="2040"/>
                </a:lnTo>
                <a:lnTo>
                  <a:pt x="1513" y="595"/>
                </a:lnTo>
                <a:cubicBezTo>
                  <a:pt x="1543" y="577"/>
                  <a:pt x="1576" y="557"/>
                  <a:pt x="1611" y="536"/>
                </a:cubicBezTo>
                <a:cubicBezTo>
                  <a:pt x="1643" y="516"/>
                  <a:pt x="1673" y="498"/>
                  <a:pt x="1684" y="491"/>
                </a:cubicBezTo>
                <a:cubicBezTo>
                  <a:pt x="1819" y="795"/>
                  <a:pt x="1649" y="1045"/>
                  <a:pt x="1613" y="1092"/>
                </a:cubicBezTo>
                <a:cubicBezTo>
                  <a:pt x="1612" y="1094"/>
                  <a:pt x="1610" y="1096"/>
                  <a:pt x="1612" y="1099"/>
                </a:cubicBezTo>
                <a:lnTo>
                  <a:pt x="1613" y="1102"/>
                </a:lnTo>
                <a:lnTo>
                  <a:pt x="1617" y="1102"/>
                </a:lnTo>
                <a:cubicBezTo>
                  <a:pt x="1619" y="1102"/>
                  <a:pt x="1620" y="1101"/>
                  <a:pt x="1622" y="1099"/>
                </a:cubicBezTo>
                <a:cubicBezTo>
                  <a:pt x="1625" y="1095"/>
                  <a:pt x="1636" y="1083"/>
                  <a:pt x="1656" y="1063"/>
                </a:cubicBezTo>
                <a:cubicBezTo>
                  <a:pt x="1906" y="809"/>
                  <a:pt x="1943" y="512"/>
                  <a:pt x="1894" y="317"/>
                </a:cubicBezTo>
                <a:cubicBezTo>
                  <a:pt x="1897" y="316"/>
                  <a:pt x="1904" y="313"/>
                  <a:pt x="1911" y="310"/>
                </a:cubicBezTo>
                <a:cubicBezTo>
                  <a:pt x="1957" y="292"/>
                  <a:pt x="2050" y="255"/>
                  <a:pt x="2047" y="194"/>
                </a:cubicBezTo>
                <a:cubicBezTo>
                  <a:pt x="2052" y="194"/>
                  <a:pt x="2062" y="194"/>
                  <a:pt x="2068" y="194"/>
                </a:cubicBezTo>
                <a:cubicBezTo>
                  <a:pt x="2094" y="194"/>
                  <a:pt x="2097" y="193"/>
                  <a:pt x="2099" y="189"/>
                </a:cubicBezTo>
                <a:lnTo>
                  <a:pt x="2100" y="185"/>
                </a:lnTo>
                <a:lnTo>
                  <a:pt x="2098" y="183"/>
                </a:lnTo>
                <a:close/>
              </a:path>
            </a:pathLst>
          </a:custGeom>
          <a:solidFill>
            <a:schemeClr val="tx1">
              <a:lumMod val="50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54" name="Fußzeilenplatzhalter 4">
            <a:extLst>
              <a:ext uri="{FF2B5EF4-FFF2-40B4-BE49-F238E27FC236}">
                <a16:creationId xmlns:a16="http://schemas.microsoft.com/office/drawing/2014/main" id="{D4FB44AC-8851-4FFB-B97C-E460A6139F07}"/>
              </a:ext>
            </a:extLst>
          </p:cNvPr>
          <p:cNvSpPr>
            <a:spLocks noGrp="1"/>
          </p:cNvSpPr>
          <p:nvPr>
            <p:ph type="ftr" sz="quarter" idx="12"/>
          </p:nvPr>
        </p:nvSpPr>
        <p:spPr>
          <a:xfrm>
            <a:off x="1054646" y="6501507"/>
            <a:ext cx="4896000" cy="180000"/>
          </a:xfrm>
        </p:spPr>
        <p:txBody>
          <a:bodyPr/>
          <a:lstStyle/>
          <a:p>
            <a:r>
              <a:rPr lang="en-US">
                <a:solidFill>
                  <a:srgbClr val="6F6F6F"/>
                </a:solidFill>
              </a:rPr>
              <a:t>NZSUG Auckland Event + SAP Forum</a:t>
            </a:r>
            <a:endParaRPr lang="en-US" dirty="0">
              <a:solidFill>
                <a:srgbClr val="6F6F6F"/>
              </a:solidFill>
            </a:endParaRPr>
          </a:p>
        </p:txBody>
      </p:sp>
    </p:spTree>
    <p:extLst>
      <p:ext uri="{BB962C8B-B14F-4D97-AF65-F5344CB8AC3E}">
        <p14:creationId xmlns:p14="http://schemas.microsoft.com/office/powerpoint/2010/main" val="12465813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uppieren 23">
            <a:extLst>
              <a:ext uri="{FF2B5EF4-FFF2-40B4-BE49-F238E27FC236}">
                <a16:creationId xmlns:a16="http://schemas.microsoft.com/office/drawing/2014/main" id="{BCF62117-E80B-4B4E-954E-40288935463E}"/>
              </a:ext>
            </a:extLst>
          </p:cNvPr>
          <p:cNvGrpSpPr/>
          <p:nvPr/>
        </p:nvGrpSpPr>
        <p:grpSpPr>
          <a:xfrm>
            <a:off x="1918743" y="1962941"/>
            <a:ext cx="8419010" cy="1070769"/>
            <a:chOff x="2812685" y="2568271"/>
            <a:chExt cx="6565042" cy="367691"/>
          </a:xfrm>
        </p:grpSpPr>
        <p:sp>
          <p:nvSpPr>
            <p:cNvPr id="53" name="Freihandform 20">
              <a:extLst>
                <a:ext uri="{FF2B5EF4-FFF2-40B4-BE49-F238E27FC236}">
                  <a16:creationId xmlns:a16="http://schemas.microsoft.com/office/drawing/2014/main" id="{E7CD520C-2E7D-4306-B491-CDF1A9DA0DBE}"/>
                </a:ext>
              </a:extLst>
            </p:cNvPr>
            <p:cNvSpPr/>
            <p:nvPr/>
          </p:nvSpPr>
          <p:spPr>
            <a:xfrm>
              <a:off x="2812685" y="2568271"/>
              <a:ext cx="2459030" cy="365760"/>
            </a:xfrm>
            <a:custGeom>
              <a:avLst/>
              <a:gdLst>
                <a:gd name="connsiteX0" fmla="*/ 2425148 w 2425148"/>
                <a:gd name="connsiteY0" fmla="*/ 0 h 365760"/>
                <a:gd name="connsiteX1" fmla="*/ 0 w 2425148"/>
                <a:gd name="connsiteY1" fmla="*/ 0 h 365760"/>
                <a:gd name="connsiteX2" fmla="*/ 0 w 2425148"/>
                <a:gd name="connsiteY2" fmla="*/ 365760 h 365760"/>
              </a:gdLst>
              <a:ahLst/>
              <a:cxnLst>
                <a:cxn ang="0">
                  <a:pos x="connsiteX0" y="connsiteY0"/>
                </a:cxn>
                <a:cxn ang="0">
                  <a:pos x="connsiteX1" y="connsiteY1"/>
                </a:cxn>
                <a:cxn ang="0">
                  <a:pos x="connsiteX2" y="connsiteY2"/>
                </a:cxn>
              </a:cxnLst>
              <a:rect l="l" t="t" r="r" b="b"/>
              <a:pathLst>
                <a:path w="2425148" h="365760">
                  <a:moveTo>
                    <a:pt x="2425148" y="0"/>
                  </a:moveTo>
                  <a:lnTo>
                    <a:pt x="0" y="0"/>
                  </a:lnTo>
                  <a:lnTo>
                    <a:pt x="0" y="365760"/>
                  </a:lnTo>
                </a:path>
              </a:pathLst>
            </a:custGeom>
            <a:noFill/>
            <a:ln w="1270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219078" rtl="0" eaLnBrk="1" latinLnBrk="0" hangingPunct="1">
                <a:defRPr sz="2400" kern="1200">
                  <a:solidFill>
                    <a:schemeClr val="lt1"/>
                  </a:solidFill>
                  <a:latin typeface="+mn-lt"/>
                  <a:ea typeface="+mn-ea"/>
                  <a:cs typeface="+mn-cs"/>
                </a:defRPr>
              </a:lvl1pPr>
              <a:lvl2pPr marL="609539" algn="l" defTabSz="1219078" rtl="0" eaLnBrk="1" latinLnBrk="0" hangingPunct="1">
                <a:defRPr sz="2400" kern="1200">
                  <a:solidFill>
                    <a:schemeClr val="lt1"/>
                  </a:solidFill>
                  <a:latin typeface="+mn-lt"/>
                  <a:ea typeface="+mn-ea"/>
                  <a:cs typeface="+mn-cs"/>
                </a:defRPr>
              </a:lvl2pPr>
              <a:lvl3pPr marL="1219078" algn="l" defTabSz="1219078" rtl="0" eaLnBrk="1" latinLnBrk="0" hangingPunct="1">
                <a:defRPr sz="2400" kern="1200">
                  <a:solidFill>
                    <a:schemeClr val="lt1"/>
                  </a:solidFill>
                  <a:latin typeface="+mn-lt"/>
                  <a:ea typeface="+mn-ea"/>
                  <a:cs typeface="+mn-cs"/>
                </a:defRPr>
              </a:lvl3pPr>
              <a:lvl4pPr marL="1828617" algn="l" defTabSz="1219078" rtl="0" eaLnBrk="1" latinLnBrk="0" hangingPunct="1">
                <a:defRPr sz="2400" kern="1200">
                  <a:solidFill>
                    <a:schemeClr val="lt1"/>
                  </a:solidFill>
                  <a:latin typeface="+mn-lt"/>
                  <a:ea typeface="+mn-ea"/>
                  <a:cs typeface="+mn-cs"/>
                </a:defRPr>
              </a:lvl4pPr>
              <a:lvl5pPr marL="2438156" algn="l" defTabSz="1219078" rtl="0" eaLnBrk="1" latinLnBrk="0" hangingPunct="1">
                <a:defRPr sz="2400" kern="1200">
                  <a:solidFill>
                    <a:schemeClr val="lt1"/>
                  </a:solidFill>
                  <a:latin typeface="+mn-lt"/>
                  <a:ea typeface="+mn-ea"/>
                  <a:cs typeface="+mn-cs"/>
                </a:defRPr>
              </a:lvl5pPr>
              <a:lvl6pPr marL="3047695" algn="l" defTabSz="1219078" rtl="0" eaLnBrk="1" latinLnBrk="0" hangingPunct="1">
                <a:defRPr sz="2400" kern="1200">
                  <a:solidFill>
                    <a:schemeClr val="lt1"/>
                  </a:solidFill>
                  <a:latin typeface="+mn-lt"/>
                  <a:ea typeface="+mn-ea"/>
                  <a:cs typeface="+mn-cs"/>
                </a:defRPr>
              </a:lvl6pPr>
              <a:lvl7pPr marL="3657234" algn="l" defTabSz="1219078" rtl="0" eaLnBrk="1" latinLnBrk="0" hangingPunct="1">
                <a:defRPr sz="2400" kern="1200">
                  <a:solidFill>
                    <a:schemeClr val="lt1"/>
                  </a:solidFill>
                  <a:latin typeface="+mn-lt"/>
                  <a:ea typeface="+mn-ea"/>
                  <a:cs typeface="+mn-cs"/>
                </a:defRPr>
              </a:lvl7pPr>
              <a:lvl8pPr marL="4266773" algn="l" defTabSz="1219078" rtl="0" eaLnBrk="1" latinLnBrk="0" hangingPunct="1">
                <a:defRPr sz="2400" kern="1200">
                  <a:solidFill>
                    <a:schemeClr val="lt1"/>
                  </a:solidFill>
                  <a:latin typeface="+mn-lt"/>
                  <a:ea typeface="+mn-ea"/>
                  <a:cs typeface="+mn-cs"/>
                </a:defRPr>
              </a:lvl8pPr>
              <a:lvl9pPr marL="4876312" algn="l" defTabSz="1219078" rtl="0" eaLnBrk="1" latinLnBrk="0" hangingPunct="1">
                <a:defRPr sz="2400" kern="1200">
                  <a:solidFill>
                    <a:schemeClr val="lt1"/>
                  </a:solidFill>
                  <a:latin typeface="+mn-lt"/>
                  <a:ea typeface="+mn-ea"/>
                  <a:cs typeface="+mn-cs"/>
                </a:defRPr>
              </a:lvl9pP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ea typeface="+mn-ea"/>
                <a:cs typeface="+mn-cs"/>
              </a:endParaRPr>
            </a:p>
          </p:txBody>
        </p:sp>
        <p:sp>
          <p:nvSpPr>
            <p:cNvPr id="54" name="Freihandform 80">
              <a:extLst>
                <a:ext uri="{FF2B5EF4-FFF2-40B4-BE49-F238E27FC236}">
                  <a16:creationId xmlns:a16="http://schemas.microsoft.com/office/drawing/2014/main" id="{603983DC-B80F-4EA3-92A0-5FE2CA262076}"/>
                </a:ext>
              </a:extLst>
            </p:cNvPr>
            <p:cNvSpPr/>
            <p:nvPr/>
          </p:nvSpPr>
          <p:spPr>
            <a:xfrm flipH="1">
              <a:off x="6949479" y="2568271"/>
              <a:ext cx="2428248" cy="365760"/>
            </a:xfrm>
            <a:custGeom>
              <a:avLst/>
              <a:gdLst>
                <a:gd name="connsiteX0" fmla="*/ 2425148 w 2425148"/>
                <a:gd name="connsiteY0" fmla="*/ 0 h 365760"/>
                <a:gd name="connsiteX1" fmla="*/ 0 w 2425148"/>
                <a:gd name="connsiteY1" fmla="*/ 0 h 365760"/>
                <a:gd name="connsiteX2" fmla="*/ 0 w 2425148"/>
                <a:gd name="connsiteY2" fmla="*/ 365760 h 365760"/>
              </a:gdLst>
              <a:ahLst/>
              <a:cxnLst>
                <a:cxn ang="0">
                  <a:pos x="connsiteX0" y="connsiteY0"/>
                </a:cxn>
                <a:cxn ang="0">
                  <a:pos x="connsiteX1" y="connsiteY1"/>
                </a:cxn>
                <a:cxn ang="0">
                  <a:pos x="connsiteX2" y="connsiteY2"/>
                </a:cxn>
              </a:cxnLst>
              <a:rect l="l" t="t" r="r" b="b"/>
              <a:pathLst>
                <a:path w="2425148" h="365760">
                  <a:moveTo>
                    <a:pt x="2425148" y="0"/>
                  </a:moveTo>
                  <a:lnTo>
                    <a:pt x="0" y="0"/>
                  </a:lnTo>
                  <a:lnTo>
                    <a:pt x="0" y="365760"/>
                  </a:lnTo>
                </a:path>
              </a:pathLst>
            </a:custGeom>
            <a:noFill/>
            <a:ln w="1270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219078" rtl="0" eaLnBrk="1" latinLnBrk="0" hangingPunct="1">
                <a:defRPr sz="2400" kern="1200">
                  <a:solidFill>
                    <a:schemeClr val="lt1"/>
                  </a:solidFill>
                  <a:latin typeface="+mn-lt"/>
                  <a:ea typeface="+mn-ea"/>
                  <a:cs typeface="+mn-cs"/>
                </a:defRPr>
              </a:lvl1pPr>
              <a:lvl2pPr marL="609539" algn="l" defTabSz="1219078" rtl="0" eaLnBrk="1" latinLnBrk="0" hangingPunct="1">
                <a:defRPr sz="2400" kern="1200">
                  <a:solidFill>
                    <a:schemeClr val="lt1"/>
                  </a:solidFill>
                  <a:latin typeface="+mn-lt"/>
                  <a:ea typeface="+mn-ea"/>
                  <a:cs typeface="+mn-cs"/>
                </a:defRPr>
              </a:lvl2pPr>
              <a:lvl3pPr marL="1219078" algn="l" defTabSz="1219078" rtl="0" eaLnBrk="1" latinLnBrk="0" hangingPunct="1">
                <a:defRPr sz="2400" kern="1200">
                  <a:solidFill>
                    <a:schemeClr val="lt1"/>
                  </a:solidFill>
                  <a:latin typeface="+mn-lt"/>
                  <a:ea typeface="+mn-ea"/>
                  <a:cs typeface="+mn-cs"/>
                </a:defRPr>
              </a:lvl3pPr>
              <a:lvl4pPr marL="1828617" algn="l" defTabSz="1219078" rtl="0" eaLnBrk="1" latinLnBrk="0" hangingPunct="1">
                <a:defRPr sz="2400" kern="1200">
                  <a:solidFill>
                    <a:schemeClr val="lt1"/>
                  </a:solidFill>
                  <a:latin typeface="+mn-lt"/>
                  <a:ea typeface="+mn-ea"/>
                  <a:cs typeface="+mn-cs"/>
                </a:defRPr>
              </a:lvl4pPr>
              <a:lvl5pPr marL="2438156" algn="l" defTabSz="1219078" rtl="0" eaLnBrk="1" latinLnBrk="0" hangingPunct="1">
                <a:defRPr sz="2400" kern="1200">
                  <a:solidFill>
                    <a:schemeClr val="lt1"/>
                  </a:solidFill>
                  <a:latin typeface="+mn-lt"/>
                  <a:ea typeface="+mn-ea"/>
                  <a:cs typeface="+mn-cs"/>
                </a:defRPr>
              </a:lvl5pPr>
              <a:lvl6pPr marL="3047695" algn="l" defTabSz="1219078" rtl="0" eaLnBrk="1" latinLnBrk="0" hangingPunct="1">
                <a:defRPr sz="2400" kern="1200">
                  <a:solidFill>
                    <a:schemeClr val="lt1"/>
                  </a:solidFill>
                  <a:latin typeface="+mn-lt"/>
                  <a:ea typeface="+mn-ea"/>
                  <a:cs typeface="+mn-cs"/>
                </a:defRPr>
              </a:lvl6pPr>
              <a:lvl7pPr marL="3657234" algn="l" defTabSz="1219078" rtl="0" eaLnBrk="1" latinLnBrk="0" hangingPunct="1">
                <a:defRPr sz="2400" kern="1200">
                  <a:solidFill>
                    <a:schemeClr val="lt1"/>
                  </a:solidFill>
                  <a:latin typeface="+mn-lt"/>
                  <a:ea typeface="+mn-ea"/>
                  <a:cs typeface="+mn-cs"/>
                </a:defRPr>
              </a:lvl7pPr>
              <a:lvl8pPr marL="4266773" algn="l" defTabSz="1219078" rtl="0" eaLnBrk="1" latinLnBrk="0" hangingPunct="1">
                <a:defRPr sz="2400" kern="1200">
                  <a:solidFill>
                    <a:schemeClr val="lt1"/>
                  </a:solidFill>
                  <a:latin typeface="+mn-lt"/>
                  <a:ea typeface="+mn-ea"/>
                  <a:cs typeface="+mn-cs"/>
                </a:defRPr>
              </a:lvl8pPr>
              <a:lvl9pPr marL="4876312" algn="l" defTabSz="1219078" rtl="0" eaLnBrk="1" latinLnBrk="0" hangingPunct="1">
                <a:defRPr sz="2400" kern="1200">
                  <a:solidFill>
                    <a:schemeClr val="lt1"/>
                  </a:solidFill>
                  <a:latin typeface="+mn-lt"/>
                  <a:ea typeface="+mn-ea"/>
                  <a:cs typeface="+mn-cs"/>
                </a:defRPr>
              </a:lvl9pP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ea typeface="+mn-ea"/>
                <a:cs typeface="+mn-cs"/>
              </a:endParaRPr>
            </a:p>
          </p:txBody>
        </p:sp>
        <p:cxnSp>
          <p:nvCxnSpPr>
            <p:cNvPr id="55" name="Gerade Verbindung 22">
              <a:extLst>
                <a:ext uri="{FF2B5EF4-FFF2-40B4-BE49-F238E27FC236}">
                  <a16:creationId xmlns:a16="http://schemas.microsoft.com/office/drawing/2014/main" id="{57532D07-76C2-4CFD-8102-CB77100F2B54}"/>
                </a:ext>
              </a:extLst>
            </p:cNvPr>
            <p:cNvCxnSpPr/>
            <p:nvPr/>
          </p:nvCxnSpPr>
          <p:spPr>
            <a:xfrm>
              <a:off x="6095206" y="2865835"/>
              <a:ext cx="0" cy="70127"/>
            </a:xfrm>
            <a:prstGeom prst="line">
              <a:avLst/>
            </a:prstGeom>
            <a:ln w="1270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grpSp>
      <p:sp>
        <p:nvSpPr>
          <p:cNvPr id="5" name="Titel 4">
            <a:extLst>
              <a:ext uri="{FF2B5EF4-FFF2-40B4-BE49-F238E27FC236}">
                <a16:creationId xmlns:a16="http://schemas.microsoft.com/office/drawing/2014/main" id="{1570910F-0D0D-43DA-B29B-49BF7571650E}"/>
              </a:ext>
            </a:extLst>
          </p:cNvPr>
          <p:cNvSpPr>
            <a:spLocks noGrp="1"/>
          </p:cNvSpPr>
          <p:nvPr>
            <p:ph type="title"/>
          </p:nvPr>
        </p:nvSpPr>
        <p:spPr/>
        <p:txBody>
          <a:bodyPr/>
          <a:lstStyle/>
          <a:p>
            <a:r>
              <a:rPr lang="en-GB" dirty="0"/>
              <a:t>SNP I Automation Drives the Entire Data Transformation Lifecycle</a:t>
            </a:r>
          </a:p>
        </p:txBody>
      </p:sp>
      <p:grpSp>
        <p:nvGrpSpPr>
          <p:cNvPr id="24" name="Gruppieren 23">
            <a:extLst>
              <a:ext uri="{FF2B5EF4-FFF2-40B4-BE49-F238E27FC236}">
                <a16:creationId xmlns:a16="http://schemas.microsoft.com/office/drawing/2014/main" id="{814391D4-54F7-4732-B300-FF11B57A7E11}"/>
              </a:ext>
            </a:extLst>
          </p:cNvPr>
          <p:cNvGrpSpPr/>
          <p:nvPr/>
        </p:nvGrpSpPr>
        <p:grpSpPr>
          <a:xfrm>
            <a:off x="5461047" y="1223233"/>
            <a:ext cx="1334402" cy="1486904"/>
            <a:chOff x="4989407" y="2549111"/>
            <a:chExt cx="1904103" cy="2121714"/>
          </a:xfrm>
        </p:grpSpPr>
        <p:pic>
          <p:nvPicPr>
            <p:cNvPr id="25" name="Grafik 24">
              <a:extLst>
                <a:ext uri="{FF2B5EF4-FFF2-40B4-BE49-F238E27FC236}">
                  <a16:creationId xmlns:a16="http://schemas.microsoft.com/office/drawing/2014/main" id="{5AF515A0-9F87-44CE-BFA4-EFD4FA216AD1}"/>
                </a:ext>
              </a:extLst>
            </p:cNvPr>
            <p:cNvPicPr>
              <a:picLocks noChangeAspect="1"/>
            </p:cNvPicPr>
            <p:nvPr/>
          </p:nvPicPr>
          <p:blipFill>
            <a:blip r:embed="rId2" cstate="screen">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004810" y="2563284"/>
              <a:ext cx="1873296" cy="2093368"/>
            </a:xfrm>
            <a:prstGeom prst="rect">
              <a:avLst/>
            </a:prstGeom>
            <a:effectLst/>
          </p:spPr>
        </p:pic>
        <p:pic>
          <p:nvPicPr>
            <p:cNvPr id="26" name="Grafik 25">
              <a:extLst>
                <a:ext uri="{FF2B5EF4-FFF2-40B4-BE49-F238E27FC236}">
                  <a16:creationId xmlns:a16="http://schemas.microsoft.com/office/drawing/2014/main" id="{8C6FAE39-A930-4FF8-8810-AC824F70FB6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89407" y="2549111"/>
              <a:ext cx="1904103" cy="2121714"/>
            </a:xfrm>
            <a:prstGeom prst="rect">
              <a:avLst/>
            </a:prstGeom>
          </p:spPr>
        </p:pic>
      </p:grpSp>
      <p:sp>
        <p:nvSpPr>
          <p:cNvPr id="28" name="Inhaltsplatzhalter 4">
            <a:extLst>
              <a:ext uri="{FF2B5EF4-FFF2-40B4-BE49-F238E27FC236}">
                <a16:creationId xmlns:a16="http://schemas.microsoft.com/office/drawing/2014/main" id="{A5E7EBA5-70AE-4651-9EB8-5052B5C5056C}"/>
              </a:ext>
            </a:extLst>
          </p:cNvPr>
          <p:cNvSpPr txBox="1">
            <a:spLocks/>
          </p:cNvSpPr>
          <p:nvPr/>
        </p:nvSpPr>
        <p:spPr>
          <a:xfrm>
            <a:off x="797014" y="3258229"/>
            <a:ext cx="2282724" cy="537518"/>
          </a:xfrm>
          <a:prstGeom prst="rect">
            <a:avLst/>
          </a:prstGeom>
          <a:noFill/>
          <a:ln w="12700">
            <a:noFill/>
          </a:ln>
        </p:spPr>
        <p:txBody>
          <a:bodyPr vert="horz" lIns="36000" tIns="0" rIns="36000" bIns="72000" rtlCol="0">
            <a:noAutofit/>
          </a:bodyPr>
          <a:lstStyle>
            <a:lvl1pPr marL="239976" indent="-239976" algn="l" defTabSz="1219078" rtl="0" eaLnBrk="1" latinLnBrk="0" hangingPunct="1">
              <a:spcBef>
                <a:spcPts val="533"/>
              </a:spcBef>
              <a:buFont typeface="Arial" panose="020B0604020202020204" pitchFamily="34" charset="0"/>
              <a:buChar char="•"/>
              <a:defRPr sz="2100" kern="1200">
                <a:solidFill>
                  <a:schemeClr val="bg2"/>
                </a:solidFill>
                <a:latin typeface="+mn-lt"/>
                <a:ea typeface="+mn-ea"/>
                <a:cs typeface="+mn-cs"/>
              </a:defRPr>
            </a:lvl1pPr>
            <a:lvl2pPr marL="431957" indent="-191981" algn="l" defTabSz="1219078" rtl="0" eaLnBrk="1" latinLnBrk="0" hangingPunct="1">
              <a:spcBef>
                <a:spcPts val="267"/>
              </a:spcBef>
              <a:buFont typeface="Arial" panose="020B0604020202020204" pitchFamily="34" charset="0"/>
              <a:buChar char="•"/>
              <a:defRPr sz="1900" kern="1200">
                <a:solidFill>
                  <a:schemeClr val="bg2"/>
                </a:solidFill>
                <a:latin typeface="+mn-lt"/>
                <a:ea typeface="+mn-ea"/>
                <a:cs typeface="+mn-cs"/>
              </a:defRPr>
            </a:lvl2pPr>
            <a:lvl3pPr marL="623938" indent="-191981" algn="l" defTabSz="1219078" rtl="0" eaLnBrk="1" latinLnBrk="0" hangingPunct="1">
              <a:spcBef>
                <a:spcPts val="0"/>
              </a:spcBef>
              <a:buFont typeface="Symbol" panose="05050102010706020507" pitchFamily="18" charset="2"/>
              <a:buChar char="-"/>
              <a:defRPr sz="1600" kern="1200">
                <a:solidFill>
                  <a:schemeClr val="bg2"/>
                </a:solidFill>
                <a:latin typeface="+mn-lt"/>
                <a:ea typeface="+mn-ea"/>
                <a:cs typeface="+mn-cs"/>
              </a:defRPr>
            </a:lvl3pPr>
            <a:lvl4pPr marL="2133387"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2742926"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3352465"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lvl="0" indent="0" algn="ctr">
              <a:lnSpc>
                <a:spcPct val="95000"/>
              </a:lnSpc>
              <a:spcBef>
                <a:spcPts val="800"/>
              </a:spcBef>
              <a:buNone/>
              <a:defRPr/>
            </a:pPr>
            <a:r>
              <a:rPr lang="en-US" sz="1400" dirty="0">
                <a:solidFill>
                  <a:schemeClr val="bg2">
                    <a:lumMod val="25000"/>
                  </a:schemeClr>
                </a:solidFill>
              </a:rPr>
              <a:t>PREPARATION</a:t>
            </a:r>
          </a:p>
        </p:txBody>
      </p:sp>
      <p:sp>
        <p:nvSpPr>
          <p:cNvPr id="29" name="Inhaltsplatzhalter 4">
            <a:extLst>
              <a:ext uri="{FF2B5EF4-FFF2-40B4-BE49-F238E27FC236}">
                <a16:creationId xmlns:a16="http://schemas.microsoft.com/office/drawing/2014/main" id="{F7F49141-EC04-4EB3-8106-6F0393CBFE22}"/>
              </a:ext>
            </a:extLst>
          </p:cNvPr>
          <p:cNvSpPr txBox="1">
            <a:spLocks/>
          </p:cNvSpPr>
          <p:nvPr/>
        </p:nvSpPr>
        <p:spPr>
          <a:xfrm>
            <a:off x="3754586" y="3258229"/>
            <a:ext cx="4716884" cy="537518"/>
          </a:xfrm>
          <a:prstGeom prst="rect">
            <a:avLst/>
          </a:prstGeom>
          <a:noFill/>
          <a:ln w="12700">
            <a:noFill/>
          </a:ln>
        </p:spPr>
        <p:txBody>
          <a:bodyPr vert="horz" lIns="36000" tIns="0" rIns="36000" bIns="72000" rtlCol="0">
            <a:noAutofit/>
          </a:bodyPr>
          <a:lstStyle>
            <a:lvl1pPr marL="239976" indent="-239976" algn="l" defTabSz="1219078" rtl="0" eaLnBrk="1" latinLnBrk="0" hangingPunct="1">
              <a:spcBef>
                <a:spcPts val="533"/>
              </a:spcBef>
              <a:buFont typeface="Arial" panose="020B0604020202020204" pitchFamily="34" charset="0"/>
              <a:buChar char="•"/>
              <a:defRPr sz="2100" kern="1200">
                <a:solidFill>
                  <a:schemeClr val="bg2"/>
                </a:solidFill>
                <a:latin typeface="+mn-lt"/>
                <a:ea typeface="+mn-ea"/>
                <a:cs typeface="+mn-cs"/>
              </a:defRPr>
            </a:lvl1pPr>
            <a:lvl2pPr marL="431957" indent="-191981" algn="l" defTabSz="1219078" rtl="0" eaLnBrk="1" latinLnBrk="0" hangingPunct="1">
              <a:spcBef>
                <a:spcPts val="267"/>
              </a:spcBef>
              <a:buFont typeface="Arial" panose="020B0604020202020204" pitchFamily="34" charset="0"/>
              <a:buChar char="•"/>
              <a:defRPr sz="1900" kern="1200">
                <a:solidFill>
                  <a:schemeClr val="bg2"/>
                </a:solidFill>
                <a:latin typeface="+mn-lt"/>
                <a:ea typeface="+mn-ea"/>
                <a:cs typeface="+mn-cs"/>
              </a:defRPr>
            </a:lvl2pPr>
            <a:lvl3pPr marL="623938" indent="-191981" algn="l" defTabSz="1219078" rtl="0" eaLnBrk="1" latinLnBrk="0" hangingPunct="1">
              <a:spcBef>
                <a:spcPts val="0"/>
              </a:spcBef>
              <a:buFont typeface="Symbol" panose="05050102010706020507" pitchFamily="18" charset="2"/>
              <a:buChar char="-"/>
              <a:defRPr sz="1600" kern="1200">
                <a:solidFill>
                  <a:schemeClr val="bg2"/>
                </a:solidFill>
                <a:latin typeface="+mn-lt"/>
                <a:ea typeface="+mn-ea"/>
                <a:cs typeface="+mn-cs"/>
              </a:defRPr>
            </a:lvl3pPr>
            <a:lvl4pPr marL="2133387"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2742926"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3352465"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lvl="0" indent="0" algn="ctr">
              <a:lnSpc>
                <a:spcPct val="95000"/>
              </a:lnSpc>
              <a:spcBef>
                <a:spcPts val="800"/>
              </a:spcBef>
              <a:buNone/>
              <a:defRPr/>
            </a:pPr>
            <a:r>
              <a:rPr lang="en-US" sz="1400" dirty="0">
                <a:solidFill>
                  <a:schemeClr val="bg2">
                    <a:lumMod val="25000"/>
                  </a:schemeClr>
                </a:solidFill>
              </a:rPr>
              <a:t>SNP TRANSFORMATION </a:t>
            </a:r>
            <a:br>
              <a:rPr lang="en-US" sz="1400" dirty="0">
                <a:solidFill>
                  <a:schemeClr val="bg2">
                    <a:lumMod val="25000"/>
                  </a:schemeClr>
                </a:solidFill>
              </a:rPr>
            </a:br>
            <a:r>
              <a:rPr lang="en-US" sz="1400" dirty="0">
                <a:solidFill>
                  <a:schemeClr val="bg2">
                    <a:lumMod val="25000"/>
                  </a:schemeClr>
                </a:solidFill>
              </a:rPr>
              <a:t>BACKBONE WITH SAP LT</a:t>
            </a:r>
          </a:p>
        </p:txBody>
      </p:sp>
      <p:sp>
        <p:nvSpPr>
          <p:cNvPr id="30" name="Inhaltsplatzhalter 4">
            <a:extLst>
              <a:ext uri="{FF2B5EF4-FFF2-40B4-BE49-F238E27FC236}">
                <a16:creationId xmlns:a16="http://schemas.microsoft.com/office/drawing/2014/main" id="{2958EFF6-7293-42AD-9298-95A0E6B6DB8D}"/>
              </a:ext>
            </a:extLst>
          </p:cNvPr>
          <p:cNvSpPr txBox="1">
            <a:spLocks/>
          </p:cNvSpPr>
          <p:nvPr/>
        </p:nvSpPr>
        <p:spPr>
          <a:xfrm>
            <a:off x="9209478" y="3258229"/>
            <a:ext cx="2285578" cy="537518"/>
          </a:xfrm>
          <a:prstGeom prst="rect">
            <a:avLst/>
          </a:prstGeom>
          <a:noFill/>
          <a:ln w="12700">
            <a:noFill/>
          </a:ln>
        </p:spPr>
        <p:txBody>
          <a:bodyPr vert="horz" lIns="36000" tIns="0" rIns="36000" bIns="72000" rtlCol="0">
            <a:noAutofit/>
          </a:bodyPr>
          <a:lstStyle>
            <a:lvl1pPr marL="239976" indent="-239976" algn="l" defTabSz="1219078" rtl="0" eaLnBrk="1" latinLnBrk="0" hangingPunct="1">
              <a:spcBef>
                <a:spcPts val="533"/>
              </a:spcBef>
              <a:buFont typeface="Arial" panose="020B0604020202020204" pitchFamily="34" charset="0"/>
              <a:buChar char="•"/>
              <a:defRPr sz="2100" kern="1200">
                <a:solidFill>
                  <a:schemeClr val="bg2"/>
                </a:solidFill>
                <a:latin typeface="+mn-lt"/>
                <a:ea typeface="+mn-ea"/>
                <a:cs typeface="+mn-cs"/>
              </a:defRPr>
            </a:lvl1pPr>
            <a:lvl2pPr marL="431957" indent="-191981" algn="l" defTabSz="1219078" rtl="0" eaLnBrk="1" latinLnBrk="0" hangingPunct="1">
              <a:spcBef>
                <a:spcPts val="267"/>
              </a:spcBef>
              <a:buFont typeface="Arial" panose="020B0604020202020204" pitchFamily="34" charset="0"/>
              <a:buChar char="•"/>
              <a:defRPr sz="1900" kern="1200">
                <a:solidFill>
                  <a:schemeClr val="bg2"/>
                </a:solidFill>
                <a:latin typeface="+mn-lt"/>
                <a:ea typeface="+mn-ea"/>
                <a:cs typeface="+mn-cs"/>
              </a:defRPr>
            </a:lvl2pPr>
            <a:lvl3pPr marL="623938" indent="-191981" algn="l" defTabSz="1219078" rtl="0" eaLnBrk="1" latinLnBrk="0" hangingPunct="1">
              <a:spcBef>
                <a:spcPts val="0"/>
              </a:spcBef>
              <a:buFont typeface="Symbol" panose="05050102010706020507" pitchFamily="18" charset="2"/>
              <a:buChar char="-"/>
              <a:defRPr sz="1600" kern="1200">
                <a:solidFill>
                  <a:schemeClr val="bg2"/>
                </a:solidFill>
                <a:latin typeface="+mn-lt"/>
                <a:ea typeface="+mn-ea"/>
                <a:cs typeface="+mn-cs"/>
              </a:defRPr>
            </a:lvl3pPr>
            <a:lvl4pPr marL="2133387"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2742926"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3352465"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lvl="0" indent="0" algn="ctr">
              <a:lnSpc>
                <a:spcPct val="95000"/>
              </a:lnSpc>
              <a:spcBef>
                <a:spcPts val="800"/>
              </a:spcBef>
              <a:buNone/>
              <a:defRPr/>
            </a:pPr>
            <a:r>
              <a:rPr lang="en-US" sz="1400" dirty="0">
                <a:solidFill>
                  <a:schemeClr val="bg2">
                    <a:lumMod val="25000"/>
                  </a:schemeClr>
                </a:solidFill>
              </a:rPr>
              <a:t>OPTIMIZATION</a:t>
            </a:r>
          </a:p>
        </p:txBody>
      </p:sp>
      <p:sp>
        <p:nvSpPr>
          <p:cNvPr id="35" name="Inhaltsplatzhalter 4">
            <a:extLst>
              <a:ext uri="{FF2B5EF4-FFF2-40B4-BE49-F238E27FC236}">
                <a16:creationId xmlns:a16="http://schemas.microsoft.com/office/drawing/2014/main" id="{A5E7EBA5-70AE-4651-9EB8-5052B5C5056C}"/>
              </a:ext>
            </a:extLst>
          </p:cNvPr>
          <p:cNvSpPr txBox="1">
            <a:spLocks/>
          </p:cNvSpPr>
          <p:nvPr/>
        </p:nvSpPr>
        <p:spPr>
          <a:xfrm>
            <a:off x="797014" y="3795747"/>
            <a:ext cx="2282724" cy="289111"/>
          </a:xfrm>
          <a:prstGeom prst="rect">
            <a:avLst/>
          </a:prstGeom>
          <a:noFill/>
          <a:ln w="12700">
            <a:noFill/>
          </a:ln>
        </p:spPr>
        <p:txBody>
          <a:bodyPr vert="horz" lIns="36000" tIns="0" rIns="36000" bIns="72000" rtlCol="0">
            <a:noAutofit/>
          </a:bodyPr>
          <a:lstStyle>
            <a:lvl1pPr marL="239976" indent="-239976" algn="l" defTabSz="1219078" rtl="0" eaLnBrk="1" latinLnBrk="0" hangingPunct="1">
              <a:spcBef>
                <a:spcPts val="533"/>
              </a:spcBef>
              <a:buFont typeface="Arial" panose="020B0604020202020204" pitchFamily="34" charset="0"/>
              <a:buChar char="•"/>
              <a:defRPr sz="2100" kern="1200">
                <a:solidFill>
                  <a:schemeClr val="bg2"/>
                </a:solidFill>
                <a:latin typeface="+mn-lt"/>
                <a:ea typeface="+mn-ea"/>
                <a:cs typeface="+mn-cs"/>
              </a:defRPr>
            </a:lvl1pPr>
            <a:lvl2pPr marL="431957" indent="-191981" algn="l" defTabSz="1219078" rtl="0" eaLnBrk="1" latinLnBrk="0" hangingPunct="1">
              <a:spcBef>
                <a:spcPts val="267"/>
              </a:spcBef>
              <a:buFont typeface="Arial" panose="020B0604020202020204" pitchFamily="34" charset="0"/>
              <a:buChar char="•"/>
              <a:defRPr sz="1900" kern="1200">
                <a:solidFill>
                  <a:schemeClr val="bg2"/>
                </a:solidFill>
                <a:latin typeface="+mn-lt"/>
                <a:ea typeface="+mn-ea"/>
                <a:cs typeface="+mn-cs"/>
              </a:defRPr>
            </a:lvl2pPr>
            <a:lvl3pPr marL="623938" indent="-191981" algn="l" defTabSz="1219078" rtl="0" eaLnBrk="1" latinLnBrk="0" hangingPunct="1">
              <a:spcBef>
                <a:spcPts val="0"/>
              </a:spcBef>
              <a:buFont typeface="Symbol" panose="05050102010706020507" pitchFamily="18" charset="2"/>
              <a:buChar char="-"/>
              <a:defRPr sz="1600" kern="1200">
                <a:solidFill>
                  <a:schemeClr val="bg2"/>
                </a:solidFill>
                <a:latin typeface="+mn-lt"/>
                <a:ea typeface="+mn-ea"/>
                <a:cs typeface="+mn-cs"/>
              </a:defRPr>
            </a:lvl3pPr>
            <a:lvl4pPr marL="2133387"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2742926"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3352465"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lvl="0" indent="0" algn="ctr">
              <a:lnSpc>
                <a:spcPct val="95000"/>
              </a:lnSpc>
              <a:spcBef>
                <a:spcPts val="800"/>
              </a:spcBef>
              <a:buNone/>
              <a:defRPr/>
            </a:pPr>
            <a:r>
              <a:rPr lang="en-US" sz="1200" dirty="0">
                <a:solidFill>
                  <a:schemeClr val="bg2">
                    <a:lumMod val="25000"/>
                  </a:schemeClr>
                </a:solidFill>
              </a:rPr>
              <a:t>Fact-based decision making</a:t>
            </a:r>
          </a:p>
        </p:txBody>
      </p:sp>
      <p:sp>
        <p:nvSpPr>
          <p:cNvPr id="36" name="Inhaltsplatzhalter 4">
            <a:extLst>
              <a:ext uri="{FF2B5EF4-FFF2-40B4-BE49-F238E27FC236}">
                <a16:creationId xmlns:a16="http://schemas.microsoft.com/office/drawing/2014/main" id="{F7F49141-EC04-4EB3-8106-6F0393CBFE22}"/>
              </a:ext>
            </a:extLst>
          </p:cNvPr>
          <p:cNvSpPr txBox="1">
            <a:spLocks/>
          </p:cNvSpPr>
          <p:nvPr/>
        </p:nvSpPr>
        <p:spPr>
          <a:xfrm>
            <a:off x="3754586" y="3795747"/>
            <a:ext cx="4716884" cy="289111"/>
          </a:xfrm>
          <a:prstGeom prst="rect">
            <a:avLst/>
          </a:prstGeom>
          <a:noFill/>
          <a:ln w="12700">
            <a:noFill/>
          </a:ln>
        </p:spPr>
        <p:txBody>
          <a:bodyPr vert="horz" lIns="36000" tIns="0" rIns="36000" bIns="72000" rtlCol="0">
            <a:noAutofit/>
          </a:bodyPr>
          <a:lstStyle>
            <a:lvl1pPr marL="239976" indent="-239976" algn="l" defTabSz="1219078" rtl="0" eaLnBrk="1" latinLnBrk="0" hangingPunct="1">
              <a:spcBef>
                <a:spcPts val="533"/>
              </a:spcBef>
              <a:buFont typeface="Arial" panose="020B0604020202020204" pitchFamily="34" charset="0"/>
              <a:buChar char="•"/>
              <a:defRPr sz="2100" kern="1200">
                <a:solidFill>
                  <a:schemeClr val="bg2"/>
                </a:solidFill>
                <a:latin typeface="+mn-lt"/>
                <a:ea typeface="+mn-ea"/>
                <a:cs typeface="+mn-cs"/>
              </a:defRPr>
            </a:lvl1pPr>
            <a:lvl2pPr marL="431957" indent="-191981" algn="l" defTabSz="1219078" rtl="0" eaLnBrk="1" latinLnBrk="0" hangingPunct="1">
              <a:spcBef>
                <a:spcPts val="267"/>
              </a:spcBef>
              <a:buFont typeface="Arial" panose="020B0604020202020204" pitchFamily="34" charset="0"/>
              <a:buChar char="•"/>
              <a:defRPr sz="1900" kern="1200">
                <a:solidFill>
                  <a:schemeClr val="bg2"/>
                </a:solidFill>
                <a:latin typeface="+mn-lt"/>
                <a:ea typeface="+mn-ea"/>
                <a:cs typeface="+mn-cs"/>
              </a:defRPr>
            </a:lvl2pPr>
            <a:lvl3pPr marL="623938" indent="-191981" algn="l" defTabSz="1219078" rtl="0" eaLnBrk="1" latinLnBrk="0" hangingPunct="1">
              <a:spcBef>
                <a:spcPts val="0"/>
              </a:spcBef>
              <a:buFont typeface="Symbol" panose="05050102010706020507" pitchFamily="18" charset="2"/>
              <a:buChar char="-"/>
              <a:defRPr sz="1600" kern="1200">
                <a:solidFill>
                  <a:schemeClr val="bg2"/>
                </a:solidFill>
                <a:latin typeface="+mn-lt"/>
                <a:ea typeface="+mn-ea"/>
                <a:cs typeface="+mn-cs"/>
              </a:defRPr>
            </a:lvl3pPr>
            <a:lvl4pPr marL="2133387"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2742926"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3352465"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lvl="0" indent="0" algn="ctr">
              <a:lnSpc>
                <a:spcPct val="95000"/>
              </a:lnSpc>
              <a:spcBef>
                <a:spcPts val="800"/>
              </a:spcBef>
              <a:buNone/>
              <a:defRPr/>
            </a:pPr>
            <a:r>
              <a:rPr lang="en-US" sz="1200" dirty="0">
                <a:solidFill>
                  <a:schemeClr val="bg2">
                    <a:lumMod val="25000"/>
                  </a:schemeClr>
                </a:solidFill>
              </a:rPr>
              <a:t>Automated transformation</a:t>
            </a:r>
          </a:p>
        </p:txBody>
      </p:sp>
      <p:sp>
        <p:nvSpPr>
          <p:cNvPr id="37" name="Inhaltsplatzhalter 4">
            <a:extLst>
              <a:ext uri="{FF2B5EF4-FFF2-40B4-BE49-F238E27FC236}">
                <a16:creationId xmlns:a16="http://schemas.microsoft.com/office/drawing/2014/main" id="{2958EFF6-7293-42AD-9298-95A0E6B6DB8D}"/>
              </a:ext>
            </a:extLst>
          </p:cNvPr>
          <p:cNvSpPr txBox="1">
            <a:spLocks/>
          </p:cNvSpPr>
          <p:nvPr/>
        </p:nvSpPr>
        <p:spPr>
          <a:xfrm>
            <a:off x="9209478" y="3795747"/>
            <a:ext cx="2285578" cy="289111"/>
          </a:xfrm>
          <a:prstGeom prst="rect">
            <a:avLst/>
          </a:prstGeom>
          <a:noFill/>
          <a:ln w="12700">
            <a:noFill/>
          </a:ln>
        </p:spPr>
        <p:txBody>
          <a:bodyPr vert="horz" lIns="36000" tIns="0" rIns="36000" bIns="72000" rtlCol="0">
            <a:noAutofit/>
          </a:bodyPr>
          <a:lstStyle>
            <a:lvl1pPr marL="239976" indent="-239976" algn="l" defTabSz="1219078" rtl="0" eaLnBrk="1" latinLnBrk="0" hangingPunct="1">
              <a:spcBef>
                <a:spcPts val="533"/>
              </a:spcBef>
              <a:buFont typeface="Arial" panose="020B0604020202020204" pitchFamily="34" charset="0"/>
              <a:buChar char="•"/>
              <a:defRPr sz="2100" kern="1200">
                <a:solidFill>
                  <a:schemeClr val="bg2"/>
                </a:solidFill>
                <a:latin typeface="+mn-lt"/>
                <a:ea typeface="+mn-ea"/>
                <a:cs typeface="+mn-cs"/>
              </a:defRPr>
            </a:lvl1pPr>
            <a:lvl2pPr marL="431957" indent="-191981" algn="l" defTabSz="1219078" rtl="0" eaLnBrk="1" latinLnBrk="0" hangingPunct="1">
              <a:spcBef>
                <a:spcPts val="267"/>
              </a:spcBef>
              <a:buFont typeface="Arial" panose="020B0604020202020204" pitchFamily="34" charset="0"/>
              <a:buChar char="•"/>
              <a:defRPr sz="1900" kern="1200">
                <a:solidFill>
                  <a:schemeClr val="bg2"/>
                </a:solidFill>
                <a:latin typeface="+mn-lt"/>
                <a:ea typeface="+mn-ea"/>
                <a:cs typeface="+mn-cs"/>
              </a:defRPr>
            </a:lvl2pPr>
            <a:lvl3pPr marL="623938" indent="-191981" algn="l" defTabSz="1219078" rtl="0" eaLnBrk="1" latinLnBrk="0" hangingPunct="1">
              <a:spcBef>
                <a:spcPts val="0"/>
              </a:spcBef>
              <a:buFont typeface="Symbol" panose="05050102010706020507" pitchFamily="18" charset="2"/>
              <a:buChar char="-"/>
              <a:defRPr sz="1600" kern="1200">
                <a:solidFill>
                  <a:schemeClr val="bg2"/>
                </a:solidFill>
                <a:latin typeface="+mn-lt"/>
                <a:ea typeface="+mn-ea"/>
                <a:cs typeface="+mn-cs"/>
              </a:defRPr>
            </a:lvl3pPr>
            <a:lvl4pPr marL="2133387"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2742926" indent="-304770" algn="l" defTabSz="1219078"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3352465"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lvl="0" indent="0" algn="ctr">
              <a:lnSpc>
                <a:spcPct val="95000"/>
              </a:lnSpc>
              <a:spcBef>
                <a:spcPts val="800"/>
              </a:spcBef>
              <a:buNone/>
              <a:defRPr/>
            </a:pPr>
            <a:r>
              <a:rPr lang="en-US" sz="1200" dirty="0">
                <a:solidFill>
                  <a:schemeClr val="bg2">
                    <a:lumMod val="25000"/>
                  </a:schemeClr>
                </a:solidFill>
              </a:rPr>
              <a:t>Respond rapidly to change</a:t>
            </a:r>
          </a:p>
        </p:txBody>
      </p:sp>
      <p:sp>
        <p:nvSpPr>
          <p:cNvPr id="38" name="Freeform 9">
            <a:extLst>
              <a:ext uri="{FF2B5EF4-FFF2-40B4-BE49-F238E27FC236}">
                <a16:creationId xmlns:a16="http://schemas.microsoft.com/office/drawing/2014/main" id="{1E9D7FC4-4874-4C81-8582-820B8AE51A12}"/>
              </a:ext>
            </a:extLst>
          </p:cNvPr>
          <p:cNvSpPr>
            <a:spLocks/>
          </p:cNvSpPr>
          <p:nvPr/>
        </p:nvSpPr>
        <p:spPr bwMode="auto">
          <a:xfrm>
            <a:off x="531257" y="4805565"/>
            <a:ext cx="2814238" cy="855528"/>
          </a:xfrm>
          <a:prstGeom prst="rect">
            <a:avLst/>
          </a:prstGeom>
          <a:noFill/>
          <a:ln w="50800">
            <a:noFill/>
          </a:ln>
        </p:spPr>
        <p:txBody>
          <a:bodyPr vert="horz" wrap="square" lIns="91440" tIns="0" rIns="91440" bIns="45720" numCol="1" anchor="t" anchorCtr="0" compatLnSpc="1">
            <a:prstTxWarp prst="textNoShape">
              <a:avLst/>
            </a:prstTxWarp>
          </a:bodyPr>
          <a:lstStyle/>
          <a:p>
            <a:pPr algn="ctr"/>
            <a:r>
              <a:rPr lang="en-US" sz="1200" dirty="0">
                <a:solidFill>
                  <a:schemeClr val="bg2">
                    <a:lumMod val="25000"/>
                  </a:schemeClr>
                </a:solidFill>
              </a:rPr>
              <a:t>Reduce project risk: improved understanding and planning with analysis software</a:t>
            </a:r>
          </a:p>
        </p:txBody>
      </p:sp>
      <p:sp>
        <p:nvSpPr>
          <p:cNvPr id="39" name="Freeform 9">
            <a:extLst>
              <a:ext uri="{FF2B5EF4-FFF2-40B4-BE49-F238E27FC236}">
                <a16:creationId xmlns:a16="http://schemas.microsoft.com/office/drawing/2014/main" id="{1E9D7FC4-4874-4C81-8582-820B8AE51A12}"/>
              </a:ext>
            </a:extLst>
          </p:cNvPr>
          <p:cNvSpPr>
            <a:spLocks/>
          </p:cNvSpPr>
          <p:nvPr/>
        </p:nvSpPr>
        <p:spPr bwMode="auto">
          <a:xfrm>
            <a:off x="4721128" y="4805565"/>
            <a:ext cx="2814238" cy="855528"/>
          </a:xfrm>
          <a:prstGeom prst="rect">
            <a:avLst/>
          </a:prstGeom>
          <a:noFill/>
          <a:ln w="50800">
            <a:noFill/>
          </a:ln>
        </p:spPr>
        <p:txBody>
          <a:bodyPr vert="horz" wrap="square" lIns="91440" tIns="0" rIns="91440" bIns="45720" numCol="1" anchor="t" anchorCtr="0" compatLnSpc="1">
            <a:prstTxWarp prst="textNoShape">
              <a:avLst/>
            </a:prstTxWarp>
          </a:bodyPr>
          <a:lstStyle/>
          <a:p>
            <a:pPr algn="ctr"/>
            <a:r>
              <a:rPr lang="en-US" sz="1200" dirty="0">
                <a:solidFill>
                  <a:schemeClr val="bg2">
                    <a:lumMod val="25000"/>
                  </a:schemeClr>
                </a:solidFill>
              </a:rPr>
              <a:t>Reduce project timelines, business interruption, cost and risk with proven automated approach</a:t>
            </a:r>
          </a:p>
        </p:txBody>
      </p:sp>
      <p:sp>
        <p:nvSpPr>
          <p:cNvPr id="40" name="Freeform 9">
            <a:extLst>
              <a:ext uri="{FF2B5EF4-FFF2-40B4-BE49-F238E27FC236}">
                <a16:creationId xmlns:a16="http://schemas.microsoft.com/office/drawing/2014/main" id="{1E9D7FC4-4874-4C81-8582-820B8AE51A12}"/>
              </a:ext>
            </a:extLst>
          </p:cNvPr>
          <p:cNvSpPr>
            <a:spLocks/>
          </p:cNvSpPr>
          <p:nvPr/>
        </p:nvSpPr>
        <p:spPr bwMode="auto">
          <a:xfrm>
            <a:off x="8945148" y="4805565"/>
            <a:ext cx="2814238" cy="855528"/>
          </a:xfrm>
          <a:prstGeom prst="rect">
            <a:avLst/>
          </a:prstGeom>
          <a:noFill/>
          <a:ln w="50800">
            <a:noFill/>
          </a:ln>
        </p:spPr>
        <p:txBody>
          <a:bodyPr vert="horz" wrap="square" lIns="91440" tIns="0" rIns="91440" bIns="45720" numCol="1" anchor="t" anchorCtr="0" compatLnSpc="1">
            <a:prstTxWarp prst="textNoShape">
              <a:avLst/>
            </a:prstTxWarp>
          </a:bodyPr>
          <a:lstStyle/>
          <a:p>
            <a:pPr algn="ctr"/>
            <a:r>
              <a:rPr lang="en-US" sz="1200" dirty="0">
                <a:solidFill>
                  <a:schemeClr val="bg2">
                    <a:lumMod val="25000"/>
                  </a:schemeClr>
                </a:solidFill>
              </a:rPr>
              <a:t>Understand and improve your systems, processes and data</a:t>
            </a:r>
          </a:p>
        </p:txBody>
      </p:sp>
      <p:sp>
        <p:nvSpPr>
          <p:cNvPr id="45" name="Freeform 9">
            <a:extLst>
              <a:ext uri="{FF2B5EF4-FFF2-40B4-BE49-F238E27FC236}">
                <a16:creationId xmlns:a16="http://schemas.microsoft.com/office/drawing/2014/main" id="{19F2BDB1-06DB-4795-8497-AD64D9C2F14E}"/>
              </a:ext>
            </a:extLst>
          </p:cNvPr>
          <p:cNvSpPr>
            <a:spLocks/>
          </p:cNvSpPr>
          <p:nvPr/>
        </p:nvSpPr>
        <p:spPr bwMode="auto">
          <a:xfrm>
            <a:off x="5846824" y="4034596"/>
            <a:ext cx="562847" cy="626587"/>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0070C0"/>
          </a:solidFill>
          <a:ln>
            <a:noFill/>
          </a:ln>
        </p:spPr>
        <p:txBody>
          <a:bodyPr wrap="none" tIns="252000" anchor="t" anchorCtr="0">
            <a:noAutofit/>
          </a:bodyPr>
          <a:lstStyle/>
          <a:p>
            <a:pPr algn="ctr"/>
            <a:endParaRPr lang="en-US" sz="1300" dirty="0">
              <a:solidFill>
                <a:srgbClr val="FFFFFF"/>
              </a:solidFill>
            </a:endParaRPr>
          </a:p>
        </p:txBody>
      </p:sp>
      <p:sp>
        <p:nvSpPr>
          <p:cNvPr id="47" name="Freeform 9">
            <a:extLst>
              <a:ext uri="{FF2B5EF4-FFF2-40B4-BE49-F238E27FC236}">
                <a16:creationId xmlns:a16="http://schemas.microsoft.com/office/drawing/2014/main" id="{19F2BDB1-06DB-4795-8497-AD64D9C2F14E}"/>
              </a:ext>
            </a:extLst>
          </p:cNvPr>
          <p:cNvSpPr>
            <a:spLocks/>
          </p:cNvSpPr>
          <p:nvPr/>
        </p:nvSpPr>
        <p:spPr bwMode="auto">
          <a:xfrm>
            <a:off x="10070843" y="4034596"/>
            <a:ext cx="562847" cy="626587"/>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669900"/>
          </a:solidFill>
          <a:ln>
            <a:noFill/>
          </a:ln>
        </p:spPr>
        <p:txBody>
          <a:bodyPr wrap="none" tIns="252000" anchor="t" anchorCtr="0">
            <a:noAutofit/>
          </a:bodyPr>
          <a:lstStyle/>
          <a:p>
            <a:pPr algn="ctr"/>
            <a:endParaRPr lang="en-US" sz="1300" dirty="0">
              <a:solidFill>
                <a:srgbClr val="FFFFFF"/>
              </a:solidFill>
            </a:endParaRPr>
          </a:p>
        </p:txBody>
      </p:sp>
      <p:sp>
        <p:nvSpPr>
          <p:cNvPr id="48" name="Freeform 9">
            <a:extLst>
              <a:ext uri="{FF2B5EF4-FFF2-40B4-BE49-F238E27FC236}">
                <a16:creationId xmlns:a16="http://schemas.microsoft.com/office/drawing/2014/main" id="{19F2BDB1-06DB-4795-8497-AD64D9C2F14E}"/>
              </a:ext>
            </a:extLst>
          </p:cNvPr>
          <p:cNvSpPr>
            <a:spLocks/>
          </p:cNvSpPr>
          <p:nvPr/>
        </p:nvSpPr>
        <p:spPr bwMode="auto">
          <a:xfrm>
            <a:off x="1656952" y="4059575"/>
            <a:ext cx="562847" cy="626587"/>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0099CC"/>
          </a:solidFill>
          <a:ln>
            <a:noFill/>
          </a:ln>
        </p:spPr>
        <p:txBody>
          <a:bodyPr wrap="none" tIns="252000" anchor="t" anchorCtr="0">
            <a:noAutofit/>
          </a:bodyPr>
          <a:lstStyle/>
          <a:p>
            <a:pPr algn="ctr"/>
            <a:endParaRPr lang="en-US" sz="1300" dirty="0">
              <a:solidFill>
                <a:srgbClr val="FFFFFF"/>
              </a:solidFill>
            </a:endParaRPr>
          </a:p>
        </p:txBody>
      </p:sp>
      <p:sp>
        <p:nvSpPr>
          <p:cNvPr id="27" name="Datumsplatzhalter 1">
            <a:extLst>
              <a:ext uri="{FF2B5EF4-FFF2-40B4-BE49-F238E27FC236}">
                <a16:creationId xmlns:a16="http://schemas.microsoft.com/office/drawing/2014/main" id="{FB6F89D2-810E-4524-BBBF-E2BD8871094A}"/>
              </a:ext>
            </a:extLst>
          </p:cNvPr>
          <p:cNvSpPr>
            <a:spLocks noGrp="1"/>
          </p:cNvSpPr>
          <p:nvPr>
            <p:ph type="dt" sz="half" idx="10"/>
          </p:nvPr>
        </p:nvSpPr>
        <p:spPr>
          <a:xfrm>
            <a:off x="406400" y="6501507"/>
            <a:ext cx="648000" cy="180000"/>
          </a:xfrm>
        </p:spPr>
        <p:txBody>
          <a:bodyPr/>
          <a:lstStyle/>
          <a:p>
            <a:r>
              <a:rPr lang="en-US">
                <a:solidFill>
                  <a:srgbClr val="6F6F6F"/>
                </a:solidFill>
              </a:rPr>
              <a:t>21/08/2019</a:t>
            </a:r>
            <a:endParaRPr lang="de-DE" dirty="0">
              <a:solidFill>
                <a:srgbClr val="6F6F6F"/>
              </a:solidFill>
            </a:endParaRPr>
          </a:p>
        </p:txBody>
      </p:sp>
      <p:sp>
        <p:nvSpPr>
          <p:cNvPr id="31" name="Foliennummernplatzhalter 6">
            <a:extLst>
              <a:ext uri="{FF2B5EF4-FFF2-40B4-BE49-F238E27FC236}">
                <a16:creationId xmlns:a16="http://schemas.microsoft.com/office/drawing/2014/main" id="{3309ADD0-A32E-4E2B-948E-570374220B07}"/>
              </a:ext>
            </a:extLst>
          </p:cNvPr>
          <p:cNvSpPr>
            <a:spLocks noGrp="1"/>
          </p:cNvSpPr>
          <p:nvPr>
            <p:ph type="sldNum" sz="quarter" idx="11"/>
          </p:nvPr>
        </p:nvSpPr>
        <p:spPr>
          <a:xfrm>
            <a:off x="11111017" y="6501507"/>
            <a:ext cx="672996" cy="180000"/>
          </a:xfrm>
        </p:spPr>
        <p:txBody>
          <a:bodyPr/>
          <a:lstStyle/>
          <a:p>
            <a:fld id="{221F1D72-F2AC-4B6E-A46C-E63D2CF40C7B}" type="slidenum">
              <a:rPr lang="de-DE" smtClean="0">
                <a:solidFill>
                  <a:srgbClr val="6F6F6F"/>
                </a:solidFill>
              </a:rPr>
              <a:pPr/>
              <a:t>7</a:t>
            </a:fld>
            <a:endParaRPr lang="de-DE" dirty="0">
              <a:solidFill>
                <a:srgbClr val="6F6F6F"/>
              </a:solidFill>
            </a:endParaRPr>
          </a:p>
        </p:txBody>
      </p:sp>
      <p:sp>
        <p:nvSpPr>
          <p:cNvPr id="32" name="Fußzeilenplatzhalter 4">
            <a:extLst>
              <a:ext uri="{FF2B5EF4-FFF2-40B4-BE49-F238E27FC236}">
                <a16:creationId xmlns:a16="http://schemas.microsoft.com/office/drawing/2014/main" id="{16F21357-6180-441C-A327-63532502693D}"/>
              </a:ext>
            </a:extLst>
          </p:cNvPr>
          <p:cNvSpPr>
            <a:spLocks noGrp="1"/>
          </p:cNvSpPr>
          <p:nvPr>
            <p:ph type="ftr" sz="quarter" idx="12"/>
          </p:nvPr>
        </p:nvSpPr>
        <p:spPr>
          <a:xfrm>
            <a:off x="1054646" y="6501507"/>
            <a:ext cx="4896000" cy="180000"/>
          </a:xfrm>
        </p:spPr>
        <p:txBody>
          <a:bodyPr/>
          <a:lstStyle/>
          <a:p>
            <a:r>
              <a:rPr lang="en-US">
                <a:solidFill>
                  <a:srgbClr val="6F6F6F"/>
                </a:solidFill>
              </a:rPr>
              <a:t>NZSUG Auckland Event + SAP Forum</a:t>
            </a:r>
            <a:endParaRPr lang="en-US" dirty="0">
              <a:solidFill>
                <a:srgbClr val="6F6F6F"/>
              </a:solidFill>
            </a:endParaRPr>
          </a:p>
        </p:txBody>
      </p:sp>
    </p:spTree>
    <p:extLst>
      <p:ext uri="{BB962C8B-B14F-4D97-AF65-F5344CB8AC3E}">
        <p14:creationId xmlns:p14="http://schemas.microsoft.com/office/powerpoint/2010/main" val="71631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Ellipse 69"/>
          <p:cNvSpPr/>
          <p:nvPr/>
        </p:nvSpPr>
        <p:spPr>
          <a:xfrm>
            <a:off x="3502919" y="2235200"/>
            <a:ext cx="5637694" cy="2662729"/>
          </a:xfrm>
          <a:prstGeom prst="rect">
            <a:avLst/>
          </a:prstGeom>
          <a:solidFill>
            <a:srgbClr val="DBDBD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5" name="Freihandform 24">
            <a:extLst>
              <a:ext uri="{FF2B5EF4-FFF2-40B4-BE49-F238E27FC236}">
                <a16:creationId xmlns:a16="http://schemas.microsoft.com/office/drawing/2014/main" id="{6461C3A6-4F17-4752-A25D-53F117E09A26}"/>
              </a:ext>
            </a:extLst>
          </p:cNvPr>
          <p:cNvSpPr/>
          <p:nvPr/>
        </p:nvSpPr>
        <p:spPr>
          <a:xfrm flipH="1">
            <a:off x="1660249" y="2237039"/>
            <a:ext cx="2053262" cy="2660892"/>
          </a:xfrm>
          <a:custGeom>
            <a:avLst/>
            <a:gdLst>
              <a:gd name="connsiteX0" fmla="*/ 0 w 3777854"/>
              <a:gd name="connsiteY0" fmla="*/ 0 h 4895850"/>
              <a:gd name="connsiteX1" fmla="*/ 6286 w 3777854"/>
              <a:gd name="connsiteY1" fmla="*/ 0 h 4895850"/>
              <a:gd name="connsiteX2" fmla="*/ 2169500 w 3777854"/>
              <a:gd name="connsiteY2" fmla="*/ 0 h 4895850"/>
              <a:gd name="connsiteX3" fmla="*/ 2602170 w 3777854"/>
              <a:gd name="connsiteY3" fmla="*/ 242976 h 4895850"/>
              <a:gd name="connsiteX4" fmla="*/ 3718956 w 3777854"/>
              <a:gd name="connsiteY4" fmla="*/ 2184512 h 4895850"/>
              <a:gd name="connsiteX5" fmla="*/ 3777854 w 3777854"/>
              <a:gd name="connsiteY5" fmla="*/ 2434300 h 4895850"/>
              <a:gd name="connsiteX6" fmla="*/ 3718956 w 3777854"/>
              <a:gd name="connsiteY6" fmla="*/ 2686359 h 4895850"/>
              <a:gd name="connsiteX7" fmla="*/ 2602170 w 3777854"/>
              <a:gd name="connsiteY7" fmla="*/ 4636978 h 4895850"/>
              <a:gd name="connsiteX8" fmla="*/ 2169500 w 3777854"/>
              <a:gd name="connsiteY8" fmla="*/ 4895850 h 4895850"/>
              <a:gd name="connsiteX9" fmla="*/ 140908 w 3777854"/>
              <a:gd name="connsiteY9" fmla="*/ 4895850 h 4895850"/>
              <a:gd name="connsiteX10" fmla="*/ 0 w 3777854"/>
              <a:gd name="connsiteY10" fmla="*/ 4895850 h 4895850"/>
              <a:gd name="connsiteX11" fmla="*/ 0 w 3777854"/>
              <a:gd name="connsiteY11"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7854" h="4895850">
                <a:moveTo>
                  <a:pt x="0" y="0"/>
                </a:moveTo>
                <a:lnTo>
                  <a:pt x="6286" y="0"/>
                </a:lnTo>
                <a:cubicBezTo>
                  <a:pt x="156093" y="0"/>
                  <a:pt x="635476" y="0"/>
                  <a:pt x="2169500" y="0"/>
                </a:cubicBezTo>
                <a:cubicBezTo>
                  <a:pt x="2332600" y="0"/>
                  <a:pt x="2525150" y="106727"/>
                  <a:pt x="2602170" y="242976"/>
                </a:cubicBezTo>
                <a:cubicBezTo>
                  <a:pt x="2602170" y="242976"/>
                  <a:pt x="2602170" y="242976"/>
                  <a:pt x="3718956" y="2184512"/>
                </a:cubicBezTo>
                <a:cubicBezTo>
                  <a:pt x="3757466" y="2250365"/>
                  <a:pt x="3777854" y="2338926"/>
                  <a:pt x="3777854" y="2434300"/>
                </a:cubicBezTo>
                <a:cubicBezTo>
                  <a:pt x="3777854" y="2529674"/>
                  <a:pt x="3757466" y="2618235"/>
                  <a:pt x="3718956" y="2686359"/>
                </a:cubicBezTo>
                <a:cubicBezTo>
                  <a:pt x="3718956" y="2686359"/>
                  <a:pt x="3718956" y="2686359"/>
                  <a:pt x="2602170" y="4636978"/>
                </a:cubicBezTo>
                <a:cubicBezTo>
                  <a:pt x="2520619" y="4780039"/>
                  <a:pt x="2325805" y="4895850"/>
                  <a:pt x="2169500" y="4895850"/>
                </a:cubicBezTo>
                <a:cubicBezTo>
                  <a:pt x="2169500" y="4895850"/>
                  <a:pt x="2169500" y="4895850"/>
                  <a:pt x="140908" y="4895850"/>
                </a:cubicBezTo>
                <a:lnTo>
                  <a:pt x="0" y="4895850"/>
                </a:lnTo>
                <a:lnTo>
                  <a:pt x="0" y="0"/>
                </a:lnTo>
                <a:close/>
              </a:path>
            </a:pathLst>
          </a:custGeom>
          <a:solidFill>
            <a:srgbClr val="DBDBD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46" name="Freihandform 24">
            <a:extLst>
              <a:ext uri="{FF2B5EF4-FFF2-40B4-BE49-F238E27FC236}">
                <a16:creationId xmlns:a16="http://schemas.microsoft.com/office/drawing/2014/main" id="{763656B9-7441-436F-9496-5A05CD2FCCAD}"/>
              </a:ext>
            </a:extLst>
          </p:cNvPr>
          <p:cNvSpPr/>
          <p:nvPr/>
        </p:nvSpPr>
        <p:spPr>
          <a:xfrm>
            <a:off x="8419842" y="2237039"/>
            <a:ext cx="2053262" cy="2660892"/>
          </a:xfrm>
          <a:custGeom>
            <a:avLst/>
            <a:gdLst>
              <a:gd name="connsiteX0" fmla="*/ 0 w 3777854"/>
              <a:gd name="connsiteY0" fmla="*/ 0 h 4895850"/>
              <a:gd name="connsiteX1" fmla="*/ 6286 w 3777854"/>
              <a:gd name="connsiteY1" fmla="*/ 0 h 4895850"/>
              <a:gd name="connsiteX2" fmla="*/ 2169500 w 3777854"/>
              <a:gd name="connsiteY2" fmla="*/ 0 h 4895850"/>
              <a:gd name="connsiteX3" fmla="*/ 2602170 w 3777854"/>
              <a:gd name="connsiteY3" fmla="*/ 242976 h 4895850"/>
              <a:gd name="connsiteX4" fmla="*/ 3718956 w 3777854"/>
              <a:gd name="connsiteY4" fmla="*/ 2184512 h 4895850"/>
              <a:gd name="connsiteX5" fmla="*/ 3777854 w 3777854"/>
              <a:gd name="connsiteY5" fmla="*/ 2434300 h 4895850"/>
              <a:gd name="connsiteX6" fmla="*/ 3718956 w 3777854"/>
              <a:gd name="connsiteY6" fmla="*/ 2686359 h 4895850"/>
              <a:gd name="connsiteX7" fmla="*/ 2602170 w 3777854"/>
              <a:gd name="connsiteY7" fmla="*/ 4636978 h 4895850"/>
              <a:gd name="connsiteX8" fmla="*/ 2169500 w 3777854"/>
              <a:gd name="connsiteY8" fmla="*/ 4895850 h 4895850"/>
              <a:gd name="connsiteX9" fmla="*/ 140908 w 3777854"/>
              <a:gd name="connsiteY9" fmla="*/ 4895850 h 4895850"/>
              <a:gd name="connsiteX10" fmla="*/ 0 w 3777854"/>
              <a:gd name="connsiteY10" fmla="*/ 4895850 h 4895850"/>
              <a:gd name="connsiteX11" fmla="*/ 0 w 3777854"/>
              <a:gd name="connsiteY11"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7854" h="4895850">
                <a:moveTo>
                  <a:pt x="0" y="0"/>
                </a:moveTo>
                <a:lnTo>
                  <a:pt x="6286" y="0"/>
                </a:lnTo>
                <a:cubicBezTo>
                  <a:pt x="156093" y="0"/>
                  <a:pt x="635476" y="0"/>
                  <a:pt x="2169500" y="0"/>
                </a:cubicBezTo>
                <a:cubicBezTo>
                  <a:pt x="2332600" y="0"/>
                  <a:pt x="2525150" y="106727"/>
                  <a:pt x="2602170" y="242976"/>
                </a:cubicBezTo>
                <a:cubicBezTo>
                  <a:pt x="2602170" y="242976"/>
                  <a:pt x="2602170" y="242976"/>
                  <a:pt x="3718956" y="2184512"/>
                </a:cubicBezTo>
                <a:cubicBezTo>
                  <a:pt x="3757466" y="2250365"/>
                  <a:pt x="3777854" y="2338926"/>
                  <a:pt x="3777854" y="2434300"/>
                </a:cubicBezTo>
                <a:cubicBezTo>
                  <a:pt x="3777854" y="2529674"/>
                  <a:pt x="3757466" y="2618235"/>
                  <a:pt x="3718956" y="2686359"/>
                </a:cubicBezTo>
                <a:cubicBezTo>
                  <a:pt x="3718956" y="2686359"/>
                  <a:pt x="3718956" y="2686359"/>
                  <a:pt x="2602170" y="4636978"/>
                </a:cubicBezTo>
                <a:cubicBezTo>
                  <a:pt x="2520619" y="4780039"/>
                  <a:pt x="2325805" y="4895850"/>
                  <a:pt x="2169500" y="4895850"/>
                </a:cubicBezTo>
                <a:cubicBezTo>
                  <a:pt x="2169500" y="4895850"/>
                  <a:pt x="2169500" y="4895850"/>
                  <a:pt x="140908" y="4895850"/>
                </a:cubicBezTo>
                <a:lnTo>
                  <a:pt x="0" y="4895850"/>
                </a:lnTo>
                <a:lnTo>
                  <a:pt x="0" y="0"/>
                </a:lnTo>
                <a:close/>
              </a:path>
            </a:pathLst>
          </a:custGeom>
          <a:solidFill>
            <a:srgbClr val="DBDBD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14" name="Ellipse 13">
            <a:extLst>
              <a:ext uri="{FF2B5EF4-FFF2-40B4-BE49-F238E27FC236}">
                <a16:creationId xmlns:a16="http://schemas.microsoft.com/office/drawing/2014/main" id="{752E40A1-FB33-4FB4-99C2-57AAFCDC3FFB}"/>
              </a:ext>
            </a:extLst>
          </p:cNvPr>
          <p:cNvSpPr/>
          <p:nvPr/>
        </p:nvSpPr>
        <p:spPr>
          <a:xfrm>
            <a:off x="4288080" y="1757906"/>
            <a:ext cx="3545422" cy="3545422"/>
          </a:xfrm>
          <a:prstGeom prst="ellipse">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6" name="Rechteck 5"/>
          <p:cNvSpPr/>
          <p:nvPr/>
        </p:nvSpPr>
        <p:spPr>
          <a:xfrm>
            <a:off x="4186116" y="2640189"/>
            <a:ext cx="3703284" cy="48441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sp>
        <p:nvSpPr>
          <p:cNvPr id="2" name="Titel 1"/>
          <p:cNvSpPr>
            <a:spLocks noGrp="1"/>
          </p:cNvSpPr>
          <p:nvPr>
            <p:ph type="title"/>
          </p:nvPr>
        </p:nvSpPr>
        <p:spPr/>
        <p:txBody>
          <a:bodyPr/>
          <a:lstStyle/>
          <a:p>
            <a:r>
              <a:rPr lang="en-US" dirty="0"/>
              <a:t>SNP I </a:t>
            </a:r>
            <a:r>
              <a:rPr lang="en-US" dirty="0">
                <a:solidFill>
                  <a:schemeClr val="tx1">
                    <a:lumMod val="50000"/>
                  </a:schemeClr>
                </a:solidFill>
                <a:latin typeface="+mn-lt"/>
              </a:rPr>
              <a:t>Be Smart − Start Your Automated Transformation </a:t>
            </a:r>
          </a:p>
        </p:txBody>
      </p:sp>
      <p:sp>
        <p:nvSpPr>
          <p:cNvPr id="8" name="Rechteck 7"/>
          <p:cNvSpPr/>
          <p:nvPr/>
        </p:nvSpPr>
        <p:spPr>
          <a:xfrm>
            <a:off x="1060424" y="1441565"/>
            <a:ext cx="3532242" cy="313932"/>
          </a:xfrm>
          <a:prstGeom prst="rect">
            <a:avLst/>
          </a:prstGeom>
          <a:noFill/>
          <a:ln>
            <a:noFill/>
          </a:ln>
        </p:spPr>
        <p:txBody>
          <a:bodyPr wrap="square">
            <a:spAutoFit/>
          </a:bodyPr>
          <a:lstStyle/>
          <a:p>
            <a:pPr marL="0" marR="0" lvl="0" indent="0" defTabSz="1219078"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25000"/>
                  </a:schemeClr>
                </a:solidFill>
                <a:effectLst/>
                <a:uLnTx/>
                <a:uFillTx/>
                <a:ea typeface="+mn-ea"/>
                <a:cs typeface="+mn-cs"/>
              </a:rPr>
              <a:t>Changing business </a:t>
            </a:r>
            <a:r>
              <a:rPr lang="en-US" sz="1600" dirty="0">
                <a:solidFill>
                  <a:schemeClr val="bg2">
                    <a:lumMod val="25000"/>
                  </a:schemeClr>
                </a:solidFill>
              </a:rPr>
              <a:t>models</a:t>
            </a:r>
            <a:endParaRPr kumimoji="0" lang="en-US" sz="1600" b="0" i="0" u="none" strike="noStrike" kern="1200" cap="none" spc="0" normalizeH="0" baseline="0" noProof="0" dirty="0">
              <a:ln>
                <a:noFill/>
              </a:ln>
              <a:solidFill>
                <a:schemeClr val="bg2">
                  <a:lumMod val="25000"/>
                </a:schemeClr>
              </a:solidFill>
              <a:effectLst/>
              <a:uLnTx/>
              <a:uFillTx/>
              <a:ea typeface="+mn-ea"/>
              <a:cs typeface="+mn-cs"/>
            </a:endParaRPr>
          </a:p>
        </p:txBody>
      </p:sp>
      <p:sp>
        <p:nvSpPr>
          <p:cNvPr id="9" name="Rechteck 8"/>
          <p:cNvSpPr/>
          <p:nvPr/>
        </p:nvSpPr>
        <p:spPr>
          <a:xfrm>
            <a:off x="1060424" y="1736148"/>
            <a:ext cx="1930337" cy="313932"/>
          </a:xfrm>
          <a:prstGeom prst="rect">
            <a:avLst/>
          </a:prstGeom>
          <a:noFill/>
          <a:ln>
            <a:noFill/>
          </a:ln>
        </p:spPr>
        <p:txBody>
          <a:bodyPr wrap="none">
            <a:spAutoFit/>
          </a:bodyPr>
          <a:lstStyle/>
          <a:p>
            <a:pPr marL="0" marR="0" lvl="0" indent="0" defTabSz="1219078"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2">
                    <a:lumMod val="25000"/>
                  </a:schemeClr>
                </a:solidFill>
                <a:effectLst/>
                <a:uLnTx/>
                <a:uFillTx/>
                <a:ea typeface="+mn-ea"/>
                <a:cs typeface="+mn-cs"/>
              </a:rPr>
              <a:t>New technologies</a:t>
            </a:r>
          </a:p>
        </p:txBody>
      </p:sp>
      <p:sp>
        <p:nvSpPr>
          <p:cNvPr id="42" name="Rechteck 41"/>
          <p:cNvSpPr/>
          <p:nvPr/>
        </p:nvSpPr>
        <p:spPr>
          <a:xfrm>
            <a:off x="4360132" y="3897052"/>
            <a:ext cx="3355254" cy="293101"/>
          </a:xfrm>
          <a:prstGeom prst="rect">
            <a:avLst/>
          </a:prstGeom>
          <a:solidFill>
            <a:srgbClr val="0099CC"/>
          </a:solidFill>
          <a:ln>
            <a:solidFill>
              <a:schemeClr val="bg1"/>
            </a:solidFill>
          </a:ln>
        </p:spPr>
        <p:txBody>
          <a:bodyPr wrap="none" lIns="68580" tIns="34290" rIns="68580" bIns="10800" anchor="ctr" anchorCtr="0">
            <a:noAutofit/>
          </a:bodyPr>
          <a:lstStyle/>
          <a:p>
            <a:pPr marL="0" marR="0" lvl="0" indent="0" algn="ctr" defTabSz="1219078"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mn-cs"/>
              </a:rPr>
              <a:t>SNP ANALYSIS</a:t>
            </a: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3" name="Rechteck 42"/>
          <p:cNvSpPr/>
          <p:nvPr/>
        </p:nvSpPr>
        <p:spPr>
          <a:xfrm>
            <a:off x="4453761" y="4190153"/>
            <a:ext cx="3110619" cy="475956"/>
          </a:xfrm>
          <a:prstGeom prst="rect">
            <a:avLst/>
          </a:prstGeom>
          <a:solidFill>
            <a:srgbClr val="0070C0"/>
          </a:solidFill>
          <a:ln>
            <a:solidFill>
              <a:schemeClr val="bg1"/>
            </a:solidFill>
          </a:ln>
        </p:spPr>
        <p:txBody>
          <a:bodyPr wrap="none" lIns="68580" tIns="34290" rIns="68580" bIns="18000" anchor="ctr" anchorCtr="0">
            <a:noAutofit/>
          </a:bodyPr>
          <a:lstStyle/>
          <a:p>
            <a:pPr marL="0" marR="0" lvl="0" indent="0" algn="ctr" defTabSz="1219078"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mn-cs"/>
              </a:rPr>
              <a:t>SNP TRANSFORMATION </a:t>
            </a:r>
            <a:br>
              <a:rPr kumimoji="0" lang="en-US" sz="1400" b="0" i="0" u="none" strike="noStrike" kern="1200" cap="none" spc="0" normalizeH="0" baseline="0" noProof="0">
                <a:ln>
                  <a:noFill/>
                </a:ln>
                <a:solidFill>
                  <a:srgbClr val="FFFFFF"/>
                </a:solidFill>
                <a:effectLst/>
                <a:uLnTx/>
                <a:uFillTx/>
                <a:ea typeface="+mn-ea"/>
                <a:cs typeface="+mn-cs"/>
              </a:rPr>
            </a:br>
            <a:r>
              <a:rPr kumimoji="0" lang="en-US" sz="1400" b="0" i="0" u="none" strike="noStrike" kern="1200" cap="none" spc="0" normalizeH="0" baseline="0" noProof="0">
                <a:ln>
                  <a:noFill/>
                </a:ln>
                <a:solidFill>
                  <a:srgbClr val="FFFFFF"/>
                </a:solidFill>
                <a:effectLst/>
                <a:uLnTx/>
                <a:uFillTx/>
                <a:ea typeface="+mn-ea"/>
                <a:cs typeface="+mn-cs"/>
              </a:rPr>
              <a:t>BACKBONE WITH SAP LT </a:t>
            </a: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44" name="Rechteck 43"/>
          <p:cNvSpPr/>
          <p:nvPr/>
        </p:nvSpPr>
        <p:spPr>
          <a:xfrm>
            <a:off x="4453761" y="4666109"/>
            <a:ext cx="3110619" cy="293102"/>
          </a:xfrm>
          <a:prstGeom prst="rect">
            <a:avLst/>
          </a:prstGeom>
          <a:solidFill>
            <a:srgbClr val="669900"/>
          </a:solidFill>
          <a:ln>
            <a:solidFill>
              <a:schemeClr val="bg1"/>
            </a:solidFill>
          </a:ln>
        </p:spPr>
        <p:txBody>
          <a:bodyPr wrap="none" lIns="68580" tIns="34290" rIns="68580" bIns="10800" anchor="ctr" anchorCtr="0">
            <a:noAutofit/>
          </a:bodyPr>
          <a:lstStyle/>
          <a:p>
            <a:pPr marL="0" marR="0" lvl="0" indent="0" algn="ctr" defTabSz="1219078"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mn-cs"/>
              </a:rPr>
              <a:t>SNP GOVERNANCE</a:t>
            </a: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67" name="Rechteck 66"/>
          <p:cNvSpPr/>
          <p:nvPr/>
        </p:nvSpPr>
        <p:spPr>
          <a:xfrm>
            <a:off x="5002789" y="4959211"/>
            <a:ext cx="2012562" cy="267027"/>
          </a:xfrm>
          <a:prstGeom prst="rect">
            <a:avLst/>
          </a:prstGeom>
          <a:solidFill>
            <a:schemeClr val="bg2">
              <a:lumMod val="75000"/>
            </a:schemeClr>
          </a:solidFill>
          <a:ln>
            <a:solidFill>
              <a:schemeClr val="bg1"/>
            </a:solidFill>
          </a:ln>
        </p:spPr>
        <p:txBody>
          <a:bodyPr wrap="none" lIns="68580" tIns="34290" rIns="68580" bIns="34290" anchor="ctr" anchorCtr="0">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88" name="Rechteck 87"/>
          <p:cNvSpPr/>
          <p:nvPr/>
        </p:nvSpPr>
        <p:spPr>
          <a:xfrm>
            <a:off x="4849481" y="1679367"/>
            <a:ext cx="714358" cy="1358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12" name="Rechteck 11"/>
          <p:cNvSpPr/>
          <p:nvPr/>
        </p:nvSpPr>
        <p:spPr>
          <a:xfrm>
            <a:off x="5563839" y="3609053"/>
            <a:ext cx="943105" cy="249085"/>
          </a:xfrm>
          <a:prstGeom prst="rect">
            <a:avLst/>
          </a:prstGeom>
          <a:noFill/>
        </p:spPr>
        <p:txBody>
          <a:bodyPr wrap="none" lIns="68580" tIns="34290" rIns="68580" bIns="34290" anchor="ctr" anchorCtr="0">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ea typeface="+mn-ea"/>
                <a:cs typeface="+mn-cs"/>
              </a:rPr>
              <a:t>Transformation</a:t>
            </a:r>
          </a:p>
        </p:txBody>
      </p:sp>
      <p:sp>
        <p:nvSpPr>
          <p:cNvPr id="11" name="Rechteck 10"/>
          <p:cNvSpPr/>
          <p:nvPr/>
        </p:nvSpPr>
        <p:spPr>
          <a:xfrm>
            <a:off x="4550134" y="3609050"/>
            <a:ext cx="943105" cy="249085"/>
          </a:xfrm>
          <a:prstGeom prst="rect">
            <a:avLst/>
          </a:prstGeom>
          <a:noFill/>
        </p:spPr>
        <p:txBody>
          <a:bodyPr wrap="none" lIns="68580" tIns="34290" rIns="68580" bIns="34290" anchor="ctr" anchorCtr="0">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ea typeface="+mn-ea"/>
                <a:cs typeface="+mn-cs"/>
              </a:rPr>
              <a:t>Preparation</a:t>
            </a:r>
          </a:p>
        </p:txBody>
      </p:sp>
      <p:sp>
        <p:nvSpPr>
          <p:cNvPr id="13" name="Rechteck 12"/>
          <p:cNvSpPr/>
          <p:nvPr/>
        </p:nvSpPr>
        <p:spPr>
          <a:xfrm>
            <a:off x="6565914" y="3609052"/>
            <a:ext cx="943105" cy="249085"/>
          </a:xfrm>
          <a:prstGeom prst="rect">
            <a:avLst/>
          </a:prstGeom>
          <a:noFill/>
        </p:spPr>
        <p:txBody>
          <a:bodyPr wrap="none" lIns="68580" tIns="34290" rIns="68580" bIns="34290" anchor="ctr" anchorCtr="0">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ea typeface="+mn-ea"/>
                <a:cs typeface="+mn-cs"/>
              </a:rPr>
              <a:t>Operation</a:t>
            </a:r>
          </a:p>
        </p:txBody>
      </p:sp>
      <p:sp>
        <p:nvSpPr>
          <p:cNvPr id="95" name="Rechteck 94"/>
          <p:cNvSpPr/>
          <p:nvPr/>
        </p:nvSpPr>
        <p:spPr>
          <a:xfrm>
            <a:off x="5363292" y="2677370"/>
            <a:ext cx="1361310" cy="414873"/>
          </a:xfrm>
          <a:prstGeom prst="rect">
            <a:avLst/>
          </a:prstGeom>
          <a:noFill/>
        </p:spPr>
        <p:txBody>
          <a:bodyPr wrap="none" lIns="68580" tIns="34290" rIns="68580" bIns="34290" anchor="ctr" anchorCtr="0">
            <a:noAutofit/>
          </a:bodyPr>
          <a:lstStyle/>
          <a:p>
            <a:pPr marL="0" marR="0" lvl="0" indent="0" algn="ctr" defTabSz="1219078"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ea typeface="+mn-ea"/>
                <a:cs typeface="+mn-cs"/>
              </a:rPr>
              <a:t>CrystalBridge</a:t>
            </a:r>
          </a:p>
        </p:txBody>
      </p:sp>
      <p:sp>
        <p:nvSpPr>
          <p:cNvPr id="96" name="Rechteck 95"/>
          <p:cNvSpPr/>
          <p:nvPr/>
        </p:nvSpPr>
        <p:spPr>
          <a:xfrm>
            <a:off x="6665169" y="5237975"/>
            <a:ext cx="714358" cy="13588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endParaRPr>
          </a:p>
        </p:txBody>
      </p:sp>
      <p:sp>
        <p:nvSpPr>
          <p:cNvPr id="108" name="Rechteck 107"/>
          <p:cNvSpPr/>
          <p:nvPr/>
        </p:nvSpPr>
        <p:spPr>
          <a:xfrm>
            <a:off x="7276418" y="5420002"/>
            <a:ext cx="4356486" cy="288000"/>
          </a:xfrm>
          <a:prstGeom prst="rect">
            <a:avLst/>
          </a:prstGeom>
          <a:ln>
            <a:noFill/>
          </a:ln>
        </p:spPr>
        <p:txBody>
          <a:bodyPr wrap="square" lIns="0" tIns="36000" rIns="0" bIns="36000" anchor="ctr" anchorCtr="0">
            <a:noAutofit/>
          </a:bodyPr>
          <a:lstStyle/>
          <a:p>
            <a:pPr marL="285750" marR="0" lvl="0" indent="-285750"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bg2">
                    <a:lumMod val="25000"/>
                  </a:schemeClr>
                </a:solidFill>
                <a:effectLst/>
                <a:uLnTx/>
                <a:uFillTx/>
                <a:ea typeface="+mn-ea"/>
                <a:cs typeface="+mn-cs"/>
              </a:rPr>
              <a:t>Scale any size &amp; complexity</a:t>
            </a:r>
          </a:p>
        </p:txBody>
      </p:sp>
      <p:sp>
        <p:nvSpPr>
          <p:cNvPr id="109" name="Rechteck 108"/>
          <p:cNvSpPr/>
          <p:nvPr/>
        </p:nvSpPr>
        <p:spPr>
          <a:xfrm>
            <a:off x="7276418" y="5708002"/>
            <a:ext cx="4356486" cy="288000"/>
          </a:xfrm>
          <a:prstGeom prst="rect">
            <a:avLst/>
          </a:prstGeom>
          <a:ln>
            <a:noFill/>
          </a:ln>
        </p:spPr>
        <p:txBody>
          <a:bodyPr wrap="square" lIns="0" tIns="36000" rIns="0" bIns="36000" anchor="ctr" anchorCtr="0">
            <a:noAutofit/>
          </a:bodyPr>
          <a:lstStyle/>
          <a:p>
            <a:pPr marL="285750" marR="0" lvl="0" indent="-285750"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bg2">
                    <a:lumMod val="25000"/>
                  </a:schemeClr>
                </a:solidFill>
                <a:effectLst/>
                <a:uLnTx/>
                <a:uFillTx/>
                <a:ea typeface="+mn-ea"/>
                <a:cs typeface="+mn-cs"/>
              </a:rPr>
              <a:t>Keep control of your transformation projects</a:t>
            </a:r>
          </a:p>
        </p:txBody>
      </p:sp>
      <p:sp>
        <p:nvSpPr>
          <p:cNvPr id="110" name="Rechteck 109"/>
          <p:cNvSpPr/>
          <p:nvPr/>
        </p:nvSpPr>
        <p:spPr>
          <a:xfrm>
            <a:off x="7276418" y="5996002"/>
            <a:ext cx="4356486" cy="288000"/>
          </a:xfrm>
          <a:prstGeom prst="rect">
            <a:avLst/>
          </a:prstGeom>
          <a:ln>
            <a:noFill/>
          </a:ln>
        </p:spPr>
        <p:txBody>
          <a:bodyPr wrap="square" lIns="0" tIns="36000" rIns="0" bIns="36000" anchor="ctr" anchorCtr="0">
            <a:noAutofit/>
          </a:bodyPr>
          <a:lstStyle/>
          <a:p>
            <a:pPr marL="285750" marR="0" lvl="0" indent="-285750"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bg2">
                    <a:lumMod val="25000"/>
                  </a:schemeClr>
                </a:solidFill>
                <a:effectLst/>
                <a:uLnTx/>
                <a:uFillTx/>
                <a:ea typeface="+mn-ea"/>
                <a:cs typeface="+mn-cs"/>
              </a:rPr>
              <a:t>Mitigate your project risks</a:t>
            </a:r>
          </a:p>
        </p:txBody>
      </p:sp>
      <p:sp>
        <p:nvSpPr>
          <p:cNvPr id="111" name="Rechteck 110"/>
          <p:cNvSpPr/>
          <p:nvPr/>
        </p:nvSpPr>
        <p:spPr>
          <a:xfrm>
            <a:off x="7276418" y="6284002"/>
            <a:ext cx="4356486" cy="288000"/>
          </a:xfrm>
          <a:prstGeom prst="rect">
            <a:avLst/>
          </a:prstGeom>
          <a:ln>
            <a:noFill/>
          </a:ln>
        </p:spPr>
        <p:txBody>
          <a:bodyPr wrap="square" lIns="0" tIns="36000" rIns="0" bIns="36000" anchor="ctr" anchorCtr="0">
            <a:noAutofit/>
          </a:bodyPr>
          <a:lstStyle/>
          <a:p>
            <a:pPr marL="285750" marR="0" lvl="0" indent="-285750" defTabSz="12190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chemeClr val="bg2">
                    <a:lumMod val="25000"/>
                  </a:schemeClr>
                </a:solidFill>
                <a:effectLst/>
                <a:uLnTx/>
                <a:uFillTx/>
                <a:ea typeface="+mn-ea"/>
                <a:cs typeface="+mn-cs"/>
              </a:rPr>
              <a:t>Reduce costs and save time</a:t>
            </a:r>
          </a:p>
        </p:txBody>
      </p:sp>
      <p:sp>
        <p:nvSpPr>
          <p:cNvPr id="118" name="Textfeld 117"/>
          <p:cNvSpPr txBox="1"/>
          <p:nvPr/>
        </p:nvSpPr>
        <p:spPr>
          <a:xfrm>
            <a:off x="1306674" y="2551701"/>
            <a:ext cx="2282552" cy="348432"/>
          </a:xfrm>
          <a:prstGeom prst="rect">
            <a:avLst/>
          </a:prstGeom>
          <a:noFill/>
        </p:spPr>
        <p:txBody>
          <a:bodyPr wrap="none" lIns="36000" tIns="36000" rIns="36000" bIns="36000" rtlCol="0" anchor="ctr" anchorCtr="0">
            <a:noAutofit/>
          </a:bodyPr>
          <a:lstStyle/>
          <a:p>
            <a:pPr marL="0" marR="0" lvl="0" indent="0" algn="r" defTabSz="1219078"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2">
                    <a:lumMod val="50000"/>
                  </a:schemeClr>
                </a:solidFill>
                <a:effectLst/>
                <a:uLnTx/>
                <a:uFillTx/>
                <a:ea typeface="+mn-ea"/>
                <a:cs typeface="+mn-cs"/>
              </a:rPr>
              <a:t>Proven</a:t>
            </a:r>
            <a:br>
              <a:rPr kumimoji="0" lang="en-US" sz="1500" b="0" i="0" u="none" strike="noStrike" kern="1200" cap="none" spc="0" normalizeH="0" baseline="0" noProof="0" dirty="0">
                <a:ln>
                  <a:noFill/>
                </a:ln>
                <a:solidFill>
                  <a:schemeClr val="tx2">
                    <a:lumMod val="50000"/>
                  </a:schemeClr>
                </a:solidFill>
                <a:effectLst/>
                <a:uLnTx/>
                <a:uFillTx/>
                <a:ea typeface="+mn-ea"/>
                <a:cs typeface="+mn-cs"/>
              </a:rPr>
            </a:br>
            <a:r>
              <a:rPr kumimoji="0" lang="en-US" sz="1500" b="0" i="0" u="none" strike="noStrike" kern="1200" cap="none" spc="0" normalizeH="0" baseline="0" noProof="0" dirty="0">
                <a:ln>
                  <a:noFill/>
                </a:ln>
                <a:solidFill>
                  <a:schemeClr val="tx2">
                    <a:lumMod val="50000"/>
                  </a:schemeClr>
                </a:solidFill>
                <a:effectLst/>
                <a:uLnTx/>
                <a:uFillTx/>
                <a:ea typeface="+mn-ea"/>
                <a:cs typeface="+mn-cs"/>
              </a:rPr>
              <a:t>approach</a:t>
            </a:r>
          </a:p>
        </p:txBody>
      </p:sp>
      <p:sp>
        <p:nvSpPr>
          <p:cNvPr id="119" name="Textfeld 118"/>
          <p:cNvSpPr txBox="1"/>
          <p:nvPr/>
        </p:nvSpPr>
        <p:spPr>
          <a:xfrm>
            <a:off x="1306674" y="3343090"/>
            <a:ext cx="2282552" cy="348432"/>
          </a:xfrm>
          <a:prstGeom prst="rect">
            <a:avLst/>
          </a:prstGeom>
          <a:noFill/>
        </p:spPr>
        <p:txBody>
          <a:bodyPr wrap="none" lIns="36000" tIns="36000" rIns="36000" bIns="36000" rtlCol="0" anchor="ctr" anchorCtr="0">
            <a:noAutofit/>
          </a:bodyPr>
          <a:lstStyle/>
          <a:p>
            <a:pPr marL="0" marR="0" lvl="0" indent="0" algn="r" defTabSz="1219078"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2">
                    <a:lumMod val="50000"/>
                  </a:schemeClr>
                </a:solidFill>
                <a:effectLst/>
                <a:uLnTx/>
                <a:uFillTx/>
                <a:ea typeface="+mn-ea"/>
                <a:cs typeface="+mn-cs"/>
              </a:rPr>
              <a:t>Global alliances</a:t>
            </a:r>
            <a:br>
              <a:rPr kumimoji="0" lang="en-US" sz="1500" b="0" i="0" u="none" strike="noStrike" kern="1200" cap="none" spc="0" normalizeH="0" baseline="0" noProof="0" dirty="0">
                <a:ln>
                  <a:noFill/>
                </a:ln>
                <a:solidFill>
                  <a:schemeClr val="tx2">
                    <a:lumMod val="50000"/>
                  </a:schemeClr>
                </a:solidFill>
                <a:effectLst/>
                <a:uLnTx/>
                <a:uFillTx/>
                <a:ea typeface="+mn-ea"/>
                <a:cs typeface="+mn-cs"/>
              </a:rPr>
            </a:br>
            <a:r>
              <a:rPr kumimoji="0" lang="en-US" sz="1500" b="0" i="0" u="none" strike="noStrike" kern="1200" cap="none" spc="0" normalizeH="0" baseline="0" noProof="0" dirty="0">
                <a:ln>
                  <a:noFill/>
                </a:ln>
                <a:solidFill>
                  <a:schemeClr val="tx2">
                    <a:lumMod val="50000"/>
                  </a:schemeClr>
                </a:solidFill>
                <a:effectLst/>
                <a:uLnTx/>
                <a:uFillTx/>
                <a:ea typeface="+mn-ea"/>
                <a:cs typeface="+mn-cs"/>
              </a:rPr>
              <a:t>&amp; partners</a:t>
            </a:r>
          </a:p>
        </p:txBody>
      </p:sp>
      <p:sp>
        <p:nvSpPr>
          <p:cNvPr id="120" name="Textfeld 119"/>
          <p:cNvSpPr txBox="1"/>
          <p:nvPr/>
        </p:nvSpPr>
        <p:spPr>
          <a:xfrm>
            <a:off x="1306674" y="4206466"/>
            <a:ext cx="2282552" cy="348432"/>
          </a:xfrm>
          <a:prstGeom prst="rect">
            <a:avLst/>
          </a:prstGeom>
          <a:noFill/>
        </p:spPr>
        <p:txBody>
          <a:bodyPr wrap="none" lIns="36000" tIns="36000" rIns="36000" bIns="36000" rtlCol="0" anchor="ctr" anchorCtr="0">
            <a:noAutofit/>
          </a:bodyPr>
          <a:lstStyle/>
          <a:p>
            <a:pPr marL="0" marR="0" lvl="0" indent="0" algn="r" defTabSz="1219078"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2">
                    <a:lumMod val="50000"/>
                  </a:schemeClr>
                </a:solidFill>
                <a:effectLst/>
                <a:uLnTx/>
                <a:uFillTx/>
                <a:ea typeface="+mn-ea"/>
                <a:cs typeface="+mn-cs"/>
              </a:rPr>
              <a:t>Strong</a:t>
            </a:r>
            <a:br>
              <a:rPr kumimoji="0" lang="en-US" sz="1500" b="0" i="0" u="none" strike="noStrike" kern="1200" cap="none" spc="0" normalizeH="0" baseline="0" noProof="0" dirty="0">
                <a:ln>
                  <a:noFill/>
                </a:ln>
                <a:solidFill>
                  <a:schemeClr val="tx2">
                    <a:lumMod val="50000"/>
                  </a:schemeClr>
                </a:solidFill>
                <a:effectLst/>
                <a:uLnTx/>
                <a:uFillTx/>
                <a:ea typeface="+mn-ea"/>
                <a:cs typeface="+mn-cs"/>
              </a:rPr>
            </a:br>
            <a:r>
              <a:rPr kumimoji="0" lang="en-US" sz="1500" b="0" i="0" u="none" strike="noStrike" kern="1200" cap="none" spc="0" normalizeH="0" baseline="0" noProof="0" dirty="0">
                <a:ln>
                  <a:noFill/>
                </a:ln>
                <a:solidFill>
                  <a:schemeClr val="tx2">
                    <a:lumMod val="50000"/>
                  </a:schemeClr>
                </a:solidFill>
                <a:effectLst/>
                <a:uLnTx/>
                <a:uFillTx/>
                <a:ea typeface="+mn-ea"/>
                <a:cs typeface="+mn-cs"/>
              </a:rPr>
              <a:t>customer</a:t>
            </a:r>
            <a:br>
              <a:rPr kumimoji="0" lang="en-US" sz="1500" b="0" i="0" u="none" strike="noStrike" kern="1200" cap="none" spc="0" normalizeH="0" baseline="0" noProof="0" dirty="0">
                <a:ln>
                  <a:noFill/>
                </a:ln>
                <a:solidFill>
                  <a:schemeClr val="tx2">
                    <a:lumMod val="50000"/>
                  </a:schemeClr>
                </a:solidFill>
                <a:effectLst/>
                <a:uLnTx/>
                <a:uFillTx/>
                <a:ea typeface="+mn-ea"/>
                <a:cs typeface="+mn-cs"/>
              </a:rPr>
            </a:br>
            <a:r>
              <a:rPr kumimoji="0" lang="en-US" sz="1500" b="0" i="0" u="none" strike="noStrike" kern="1200" cap="none" spc="0" normalizeH="0" baseline="0" noProof="0" dirty="0">
                <a:ln>
                  <a:noFill/>
                </a:ln>
                <a:solidFill>
                  <a:schemeClr val="tx2">
                    <a:lumMod val="50000"/>
                  </a:schemeClr>
                </a:solidFill>
                <a:effectLst/>
                <a:uLnTx/>
                <a:uFillTx/>
                <a:ea typeface="+mn-ea"/>
                <a:cs typeface="+mn-cs"/>
              </a:rPr>
              <a:t>base</a:t>
            </a:r>
          </a:p>
        </p:txBody>
      </p:sp>
      <p:sp>
        <p:nvSpPr>
          <p:cNvPr id="115" name="Textfeld 114"/>
          <p:cNvSpPr txBox="1"/>
          <p:nvPr/>
        </p:nvSpPr>
        <p:spPr>
          <a:xfrm>
            <a:off x="8457170" y="2551701"/>
            <a:ext cx="2282552" cy="348432"/>
          </a:xfrm>
          <a:prstGeom prst="rect">
            <a:avLst/>
          </a:prstGeom>
          <a:noFill/>
        </p:spPr>
        <p:txBody>
          <a:bodyPr wrap="none" lIns="36000" tIns="36000" rIns="36000" bIns="36000" rtlCol="0" anchor="ctr" anchorCtr="0">
            <a:no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2">
                    <a:lumMod val="50000"/>
                  </a:schemeClr>
                </a:solidFill>
                <a:effectLst/>
                <a:uLnTx/>
                <a:uFillTx/>
                <a:ea typeface="+mn-ea"/>
                <a:cs typeface="+mn-cs"/>
              </a:rPr>
              <a:t>Experienced </a:t>
            </a:r>
            <a:br>
              <a:rPr kumimoji="0" lang="en-US" sz="1500" b="0" i="0" u="none" strike="noStrike" kern="1200" cap="none" spc="0" normalizeH="0" baseline="0" noProof="0" dirty="0">
                <a:ln>
                  <a:noFill/>
                </a:ln>
                <a:solidFill>
                  <a:schemeClr val="tx2">
                    <a:lumMod val="50000"/>
                  </a:schemeClr>
                </a:solidFill>
                <a:effectLst/>
                <a:uLnTx/>
                <a:uFillTx/>
                <a:ea typeface="+mn-ea"/>
                <a:cs typeface="+mn-cs"/>
              </a:rPr>
            </a:br>
            <a:r>
              <a:rPr kumimoji="0" lang="en-US" sz="1500" b="0" i="0" u="none" strike="noStrike" kern="1200" cap="none" spc="0" normalizeH="0" baseline="0" noProof="0" dirty="0">
                <a:ln>
                  <a:noFill/>
                </a:ln>
                <a:solidFill>
                  <a:schemeClr val="tx2">
                    <a:lumMod val="50000"/>
                  </a:schemeClr>
                </a:solidFill>
                <a:effectLst/>
                <a:uLnTx/>
                <a:uFillTx/>
                <a:ea typeface="+mn-ea"/>
                <a:cs typeface="+mn-cs"/>
              </a:rPr>
              <a:t>experts</a:t>
            </a:r>
          </a:p>
        </p:txBody>
      </p:sp>
      <p:sp>
        <p:nvSpPr>
          <p:cNvPr id="116" name="Textfeld 115"/>
          <p:cNvSpPr txBox="1"/>
          <p:nvPr/>
        </p:nvSpPr>
        <p:spPr>
          <a:xfrm>
            <a:off x="8457170" y="3343090"/>
            <a:ext cx="2282552" cy="348432"/>
          </a:xfrm>
          <a:prstGeom prst="rect">
            <a:avLst/>
          </a:prstGeom>
          <a:noFill/>
        </p:spPr>
        <p:txBody>
          <a:bodyPr wrap="none" lIns="36000" tIns="36000" rIns="36000" bIns="36000" rtlCol="0" anchor="ctr" anchorCtr="0">
            <a:no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2">
                    <a:lumMod val="50000"/>
                  </a:schemeClr>
                </a:solidFill>
                <a:effectLst/>
                <a:uLnTx/>
                <a:uFillTx/>
                <a:ea typeface="+mn-ea"/>
                <a:cs typeface="+mn-cs"/>
              </a:rPr>
              <a:t>Global delivery</a:t>
            </a:r>
          </a:p>
        </p:txBody>
      </p:sp>
      <p:sp>
        <p:nvSpPr>
          <p:cNvPr id="117" name="Textfeld 116"/>
          <p:cNvSpPr txBox="1"/>
          <p:nvPr/>
        </p:nvSpPr>
        <p:spPr>
          <a:xfrm>
            <a:off x="8457170" y="4206466"/>
            <a:ext cx="2282552" cy="348432"/>
          </a:xfrm>
          <a:prstGeom prst="rect">
            <a:avLst/>
          </a:prstGeom>
          <a:noFill/>
        </p:spPr>
        <p:txBody>
          <a:bodyPr wrap="none" lIns="36000" tIns="36000" rIns="36000" bIns="36000" rtlCol="0" anchor="ctr" anchorCtr="0">
            <a:no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tx2">
                    <a:lumMod val="50000"/>
                  </a:schemeClr>
                </a:solidFill>
                <a:effectLst/>
                <a:uLnTx/>
                <a:uFillTx/>
                <a:ea typeface="+mn-ea"/>
                <a:cs typeface="+mn-cs"/>
              </a:rPr>
              <a:t>Stable and</a:t>
            </a:r>
            <a:br>
              <a:rPr kumimoji="0" lang="en-US" sz="1500" b="0" i="0" u="none" strike="noStrike" kern="1200" cap="none" spc="0" normalizeH="0" baseline="0" noProof="0" dirty="0">
                <a:ln>
                  <a:noFill/>
                </a:ln>
                <a:solidFill>
                  <a:schemeClr val="tx2">
                    <a:lumMod val="50000"/>
                  </a:schemeClr>
                </a:solidFill>
                <a:effectLst/>
                <a:uLnTx/>
                <a:uFillTx/>
                <a:ea typeface="+mn-ea"/>
                <a:cs typeface="+mn-cs"/>
              </a:rPr>
            </a:br>
            <a:r>
              <a:rPr kumimoji="0" lang="en-US" sz="1500" b="0" i="0" u="none" strike="noStrike" kern="1200" cap="none" spc="0" normalizeH="0" baseline="0" noProof="0" dirty="0">
                <a:ln>
                  <a:noFill/>
                </a:ln>
                <a:solidFill>
                  <a:schemeClr val="tx2">
                    <a:lumMod val="50000"/>
                  </a:schemeClr>
                </a:solidFill>
                <a:effectLst/>
                <a:uLnTx/>
                <a:uFillTx/>
                <a:ea typeface="+mn-ea"/>
                <a:cs typeface="+mn-cs"/>
              </a:rPr>
              <a:t>reliable</a:t>
            </a:r>
            <a:br>
              <a:rPr kumimoji="0" lang="en-US" sz="1500" b="0" i="0" u="none" strike="noStrike" kern="1200" cap="none" spc="0" normalizeH="0" baseline="0" noProof="0" dirty="0">
                <a:ln>
                  <a:noFill/>
                </a:ln>
                <a:solidFill>
                  <a:schemeClr val="tx2">
                    <a:lumMod val="50000"/>
                  </a:schemeClr>
                </a:solidFill>
                <a:effectLst/>
                <a:uLnTx/>
                <a:uFillTx/>
                <a:ea typeface="+mn-ea"/>
                <a:cs typeface="+mn-cs"/>
              </a:rPr>
            </a:br>
            <a:r>
              <a:rPr kumimoji="0" lang="en-US" sz="1500" b="0" i="0" u="none" strike="noStrike" kern="1200" cap="none" spc="0" normalizeH="0" baseline="0" noProof="0" dirty="0">
                <a:ln>
                  <a:noFill/>
                </a:ln>
                <a:solidFill>
                  <a:schemeClr val="tx2">
                    <a:lumMod val="50000"/>
                  </a:schemeClr>
                </a:solidFill>
                <a:effectLst/>
                <a:uLnTx/>
                <a:uFillTx/>
                <a:ea typeface="+mn-ea"/>
                <a:cs typeface="+mn-cs"/>
              </a:rPr>
              <a:t>partner</a:t>
            </a:r>
          </a:p>
        </p:txBody>
      </p:sp>
      <p:sp>
        <p:nvSpPr>
          <p:cNvPr id="98" name="Rechteck 97"/>
          <p:cNvSpPr/>
          <p:nvPr/>
        </p:nvSpPr>
        <p:spPr>
          <a:xfrm>
            <a:off x="4283678" y="2144927"/>
            <a:ext cx="3508158" cy="249084"/>
          </a:xfrm>
          <a:prstGeom prst="rect">
            <a:avLst/>
          </a:prstGeom>
          <a:noFill/>
        </p:spPr>
        <p:txBody>
          <a:bodyPr wrap="none" lIns="68580" tIns="34290" rIns="68580" bIns="34290" anchor="ctr" anchorCtr="0">
            <a:noAutofit/>
          </a:bodyPr>
          <a:lstStyle/>
          <a:p>
            <a:pPr marL="0" marR="0" lvl="0" indent="0" algn="ctr" defTabSz="1219078" rtl="0" eaLnBrk="1" fontAlgn="auto" latinLnBrk="0" hangingPunct="1">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lumMod val="50000"/>
                  </a:schemeClr>
                </a:solidFill>
                <a:effectLst/>
                <a:uLnTx/>
                <a:uFillTx/>
                <a:ea typeface="+mn-ea"/>
                <a:cs typeface="+mn-cs"/>
              </a:rPr>
              <a:t>SNP</a:t>
            </a:r>
            <a:br>
              <a:rPr kumimoji="0" lang="en-US" sz="1400" b="0" i="0" u="none" strike="noStrike" kern="1200" cap="none" spc="0" normalizeH="0" baseline="0" noProof="0" dirty="0">
                <a:ln>
                  <a:noFill/>
                </a:ln>
                <a:solidFill>
                  <a:schemeClr val="tx1">
                    <a:lumMod val="50000"/>
                  </a:schemeClr>
                </a:solidFill>
                <a:effectLst/>
                <a:uLnTx/>
                <a:uFillTx/>
                <a:ea typeface="+mn-ea"/>
                <a:cs typeface="+mn-cs"/>
              </a:rPr>
            </a:br>
            <a:r>
              <a:rPr kumimoji="0" lang="en-US" sz="1400" b="0" i="0" u="none" strike="noStrike" kern="1200" cap="none" spc="0" normalizeH="0" baseline="0" noProof="0" dirty="0">
                <a:ln>
                  <a:noFill/>
                </a:ln>
                <a:solidFill>
                  <a:schemeClr val="tx1">
                    <a:lumMod val="50000"/>
                  </a:schemeClr>
                </a:solidFill>
                <a:effectLst/>
                <a:uLnTx/>
                <a:uFillTx/>
                <a:ea typeface="+mn-ea"/>
                <a:cs typeface="+mn-cs"/>
              </a:rPr>
              <a:t>TRANSFORMATION</a:t>
            </a:r>
            <a:br>
              <a:rPr kumimoji="0" lang="en-US" sz="1400" b="0" i="0" u="none" strike="noStrike" kern="1200" cap="none" spc="0" normalizeH="0" baseline="0" noProof="0" dirty="0">
                <a:ln>
                  <a:noFill/>
                </a:ln>
                <a:solidFill>
                  <a:schemeClr val="tx1">
                    <a:lumMod val="50000"/>
                  </a:schemeClr>
                </a:solidFill>
                <a:effectLst/>
                <a:uLnTx/>
                <a:uFillTx/>
                <a:ea typeface="+mn-ea"/>
                <a:cs typeface="+mn-cs"/>
              </a:rPr>
            </a:br>
            <a:r>
              <a:rPr kumimoji="0" lang="en-US" sz="1400" b="0" i="0" u="none" strike="noStrike" kern="1200" cap="none" spc="0" normalizeH="0" baseline="0" noProof="0" dirty="0">
                <a:ln>
                  <a:noFill/>
                </a:ln>
                <a:solidFill>
                  <a:schemeClr val="tx1">
                    <a:lumMod val="50000"/>
                  </a:schemeClr>
                </a:solidFill>
                <a:effectLst/>
                <a:uLnTx/>
                <a:uFillTx/>
                <a:ea typeface="+mn-ea"/>
                <a:cs typeface="+mn-cs"/>
              </a:rPr>
              <a:t>PORTFOLIO</a:t>
            </a:r>
          </a:p>
        </p:txBody>
      </p:sp>
      <p:sp>
        <p:nvSpPr>
          <p:cNvPr id="73" name="Freeform 9">
            <a:extLst>
              <a:ext uri="{FF2B5EF4-FFF2-40B4-BE49-F238E27FC236}">
                <a16:creationId xmlns:a16="http://schemas.microsoft.com/office/drawing/2014/main" id="{19F2BDB1-06DB-4795-8497-AD64D9C2F14E}"/>
              </a:ext>
            </a:extLst>
          </p:cNvPr>
          <p:cNvSpPr>
            <a:spLocks/>
          </p:cNvSpPr>
          <p:nvPr/>
        </p:nvSpPr>
        <p:spPr bwMode="auto">
          <a:xfrm>
            <a:off x="5867619" y="3245886"/>
            <a:ext cx="335546" cy="373542"/>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0070C0"/>
          </a:solidFill>
          <a:ln>
            <a:noFill/>
          </a:ln>
        </p:spPr>
        <p:txBody>
          <a:bodyPr wrap="none" tIns="252000" anchor="t" anchorCtr="0">
            <a:noAutofit/>
          </a:bodyPr>
          <a:lstStyle/>
          <a:p>
            <a:pPr algn="ctr"/>
            <a:endParaRPr lang="en-US" sz="1300" dirty="0">
              <a:solidFill>
                <a:srgbClr val="FFFFFF"/>
              </a:solidFill>
            </a:endParaRPr>
          </a:p>
        </p:txBody>
      </p:sp>
      <p:sp>
        <p:nvSpPr>
          <p:cNvPr id="79" name="Freeform 9">
            <a:extLst>
              <a:ext uri="{FF2B5EF4-FFF2-40B4-BE49-F238E27FC236}">
                <a16:creationId xmlns:a16="http://schemas.microsoft.com/office/drawing/2014/main" id="{FDD57B3F-EB00-4133-A75E-8642AC4EF398}"/>
              </a:ext>
            </a:extLst>
          </p:cNvPr>
          <p:cNvSpPr>
            <a:spLocks/>
          </p:cNvSpPr>
          <p:nvPr/>
        </p:nvSpPr>
        <p:spPr bwMode="auto">
          <a:xfrm>
            <a:off x="4853914" y="3245886"/>
            <a:ext cx="335546" cy="373542"/>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0099CC"/>
          </a:solidFill>
          <a:ln>
            <a:noFill/>
          </a:ln>
        </p:spPr>
        <p:txBody>
          <a:bodyPr wrap="none" tIns="252000" anchor="t" anchorCtr="0">
            <a:noAutofit/>
          </a:bodyPr>
          <a:lstStyle/>
          <a:p>
            <a:pPr algn="ctr"/>
            <a:endParaRPr lang="en-US" sz="1300" dirty="0">
              <a:solidFill>
                <a:srgbClr val="FFFFFF"/>
              </a:solidFill>
            </a:endParaRPr>
          </a:p>
        </p:txBody>
      </p:sp>
      <p:sp>
        <p:nvSpPr>
          <p:cNvPr id="82" name="Freeform 9">
            <a:extLst>
              <a:ext uri="{FF2B5EF4-FFF2-40B4-BE49-F238E27FC236}">
                <a16:creationId xmlns:a16="http://schemas.microsoft.com/office/drawing/2014/main" id="{D9FBDD9A-A9A4-42CE-A1B6-FF4F3232FDFA}"/>
              </a:ext>
            </a:extLst>
          </p:cNvPr>
          <p:cNvSpPr>
            <a:spLocks/>
          </p:cNvSpPr>
          <p:nvPr/>
        </p:nvSpPr>
        <p:spPr bwMode="auto">
          <a:xfrm>
            <a:off x="6869694" y="3245886"/>
            <a:ext cx="335546" cy="373542"/>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rgbClr val="669900"/>
          </a:solidFill>
          <a:ln>
            <a:noFill/>
          </a:ln>
        </p:spPr>
        <p:txBody>
          <a:bodyPr wrap="none" tIns="252000" anchor="t" anchorCtr="0">
            <a:noAutofit/>
          </a:bodyPr>
          <a:lstStyle/>
          <a:p>
            <a:pPr algn="ctr"/>
            <a:endParaRPr lang="en-US" sz="1300" dirty="0">
              <a:solidFill>
                <a:srgbClr val="FFFFFF"/>
              </a:solidFill>
            </a:endParaRPr>
          </a:p>
        </p:txBody>
      </p:sp>
      <p:sp>
        <p:nvSpPr>
          <p:cNvPr id="84" name="Freeform 9">
            <a:extLst>
              <a:ext uri="{FF2B5EF4-FFF2-40B4-BE49-F238E27FC236}">
                <a16:creationId xmlns:a16="http://schemas.microsoft.com/office/drawing/2014/main" id="{D9FBDD9A-A9A4-42CE-A1B6-FF4F3232FDFA}"/>
              </a:ext>
            </a:extLst>
          </p:cNvPr>
          <p:cNvSpPr>
            <a:spLocks/>
          </p:cNvSpPr>
          <p:nvPr/>
        </p:nvSpPr>
        <p:spPr bwMode="auto">
          <a:xfrm>
            <a:off x="5063284" y="2694590"/>
            <a:ext cx="335546" cy="373542"/>
          </a:xfrm>
          <a:custGeom>
            <a:avLst/>
            <a:gdLst>
              <a:gd name="T0" fmla="*/ 2048 w 2156"/>
              <a:gd name="T1" fmla="*/ 519 h 2406"/>
              <a:gd name="T2" fmla="*/ 1195 w 2156"/>
              <a:gd name="T3" fmla="*/ 27 h 2406"/>
              <a:gd name="T4" fmla="*/ 1084 w 2156"/>
              <a:gd name="T5" fmla="*/ 0 h 2406"/>
              <a:gd name="T6" fmla="*/ 973 w 2156"/>
              <a:gd name="T7" fmla="*/ 27 h 2406"/>
              <a:gd name="T8" fmla="*/ 115 w 2156"/>
              <a:gd name="T9" fmla="*/ 519 h 2406"/>
              <a:gd name="T10" fmla="*/ 0 w 2156"/>
              <a:gd name="T11" fmla="*/ 711 h 2406"/>
              <a:gd name="T12" fmla="*/ 0 w 2156"/>
              <a:gd name="T13" fmla="*/ 1696 h 2406"/>
              <a:gd name="T14" fmla="*/ 114 w 2156"/>
              <a:gd name="T15" fmla="*/ 1887 h 2406"/>
              <a:gd name="T16" fmla="*/ 973 w 2156"/>
              <a:gd name="T17" fmla="*/ 2380 h 2406"/>
              <a:gd name="T18" fmla="*/ 1084 w 2156"/>
              <a:gd name="T19" fmla="*/ 2406 h 2406"/>
              <a:gd name="T20" fmla="*/ 1194 w 2156"/>
              <a:gd name="T21" fmla="*/ 2380 h 2406"/>
              <a:gd name="T22" fmla="*/ 2049 w 2156"/>
              <a:gd name="T23" fmla="*/ 1887 h 2406"/>
              <a:gd name="T24" fmla="*/ 2156 w 2156"/>
              <a:gd name="T25" fmla="*/ 1696 h 2406"/>
              <a:gd name="T26" fmla="*/ 2156 w 2156"/>
              <a:gd name="T27" fmla="*/ 711 h 2406"/>
              <a:gd name="T28" fmla="*/ 2048 w 2156"/>
              <a:gd name="T29" fmla="*/ 519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6" h="2406">
                <a:moveTo>
                  <a:pt x="2048" y="519"/>
                </a:moveTo>
                <a:cubicBezTo>
                  <a:pt x="1195" y="27"/>
                  <a:pt x="1195" y="27"/>
                  <a:pt x="1195" y="27"/>
                </a:cubicBezTo>
                <a:cubicBezTo>
                  <a:pt x="1166" y="10"/>
                  <a:pt x="1126" y="0"/>
                  <a:pt x="1084" y="0"/>
                </a:cubicBezTo>
                <a:cubicBezTo>
                  <a:pt x="1042" y="0"/>
                  <a:pt x="1002" y="10"/>
                  <a:pt x="973" y="27"/>
                </a:cubicBezTo>
                <a:cubicBezTo>
                  <a:pt x="115" y="519"/>
                  <a:pt x="115" y="519"/>
                  <a:pt x="115" y="519"/>
                </a:cubicBezTo>
                <a:cubicBezTo>
                  <a:pt x="52" y="556"/>
                  <a:pt x="0" y="642"/>
                  <a:pt x="0" y="711"/>
                </a:cubicBezTo>
                <a:cubicBezTo>
                  <a:pt x="0" y="1696"/>
                  <a:pt x="0" y="1696"/>
                  <a:pt x="0" y="1696"/>
                </a:cubicBezTo>
                <a:cubicBezTo>
                  <a:pt x="0" y="1765"/>
                  <a:pt x="51" y="1851"/>
                  <a:pt x="114" y="1887"/>
                </a:cubicBezTo>
                <a:cubicBezTo>
                  <a:pt x="973" y="2380"/>
                  <a:pt x="973" y="2380"/>
                  <a:pt x="973" y="2380"/>
                </a:cubicBezTo>
                <a:cubicBezTo>
                  <a:pt x="1003" y="2397"/>
                  <a:pt x="1042" y="2406"/>
                  <a:pt x="1084" y="2406"/>
                </a:cubicBezTo>
                <a:cubicBezTo>
                  <a:pt x="1126" y="2406"/>
                  <a:pt x="1165" y="2397"/>
                  <a:pt x="1194" y="2380"/>
                </a:cubicBezTo>
                <a:cubicBezTo>
                  <a:pt x="2049" y="1887"/>
                  <a:pt x="2049" y="1887"/>
                  <a:pt x="2049" y="1887"/>
                </a:cubicBezTo>
                <a:cubicBezTo>
                  <a:pt x="2109" y="1853"/>
                  <a:pt x="2156" y="1768"/>
                  <a:pt x="2156" y="1696"/>
                </a:cubicBezTo>
                <a:cubicBezTo>
                  <a:pt x="2156" y="711"/>
                  <a:pt x="2156" y="711"/>
                  <a:pt x="2156" y="711"/>
                </a:cubicBezTo>
                <a:cubicBezTo>
                  <a:pt x="2156" y="638"/>
                  <a:pt x="2109" y="554"/>
                  <a:pt x="2048" y="519"/>
                </a:cubicBezTo>
                <a:close/>
              </a:path>
            </a:pathLst>
          </a:custGeom>
          <a:solidFill>
            <a:schemeClr val="bg1"/>
          </a:solidFill>
          <a:ln>
            <a:noFill/>
          </a:ln>
        </p:spPr>
        <p:txBody>
          <a:bodyPr wrap="none" tIns="36000" bIns="36000" anchor="ctr" anchorCtr="0">
            <a:noAutofit/>
          </a:bodyPr>
          <a:lstStyle/>
          <a:p>
            <a:pPr algn="ctr"/>
            <a:endParaRPr lang="en-US" sz="1300" dirty="0">
              <a:solidFill>
                <a:srgbClr val="FFFFFF"/>
              </a:solidFill>
            </a:endParaRPr>
          </a:p>
        </p:txBody>
      </p:sp>
      <p:sp>
        <p:nvSpPr>
          <p:cNvPr id="66" name="Freeform 6"/>
          <p:cNvSpPr>
            <a:spLocks noEditPoints="1"/>
          </p:cNvSpPr>
          <p:nvPr/>
        </p:nvSpPr>
        <p:spPr bwMode="auto">
          <a:xfrm>
            <a:off x="3726272" y="1214131"/>
            <a:ext cx="4622970" cy="4622960"/>
          </a:xfrm>
          <a:custGeom>
            <a:avLst/>
            <a:gdLst>
              <a:gd name="T0" fmla="*/ 2796 w 6168"/>
              <a:gd name="T1" fmla="*/ 381 h 6168"/>
              <a:gd name="T2" fmla="*/ 2711 w 6168"/>
              <a:gd name="T3" fmla="*/ 391 h 6168"/>
              <a:gd name="T4" fmla="*/ 2201 w 6168"/>
              <a:gd name="T5" fmla="*/ 127 h 6168"/>
              <a:gd name="T6" fmla="*/ 1830 w 6168"/>
              <a:gd name="T7" fmla="*/ 672 h 6168"/>
              <a:gd name="T8" fmla="*/ 1137 w 6168"/>
              <a:gd name="T9" fmla="*/ 690 h 6168"/>
              <a:gd name="T10" fmla="*/ 1003 w 6168"/>
              <a:gd name="T11" fmla="*/ 1336 h 6168"/>
              <a:gd name="T12" fmla="*/ 927 w 6168"/>
              <a:gd name="T13" fmla="*/ 1430 h 6168"/>
              <a:gd name="T14" fmla="*/ 369 w 6168"/>
              <a:gd name="T15" fmla="*/ 1618 h 6168"/>
              <a:gd name="T16" fmla="*/ 491 w 6168"/>
              <a:gd name="T17" fmla="*/ 2265 h 6168"/>
              <a:gd name="T18" fmla="*/ 452 w 6168"/>
              <a:gd name="T19" fmla="*/ 2403 h 6168"/>
              <a:gd name="T20" fmla="*/ 410 w 6168"/>
              <a:gd name="T21" fmla="*/ 2590 h 6168"/>
              <a:gd name="T22" fmla="*/ 68 w 6168"/>
              <a:gd name="T23" fmla="*/ 2725 h 6168"/>
              <a:gd name="T24" fmla="*/ 52 w 6168"/>
              <a:gd name="T25" fmla="*/ 3274 h 6168"/>
              <a:gd name="T26" fmla="*/ 160 w 6168"/>
              <a:gd name="T27" fmla="*/ 3906 h 6168"/>
              <a:gd name="T28" fmla="*/ 356 w 6168"/>
              <a:gd name="T29" fmla="*/ 4420 h 6168"/>
              <a:gd name="T30" fmla="*/ 697 w 6168"/>
              <a:gd name="T31" fmla="*/ 4963 h 6168"/>
              <a:gd name="T32" fmla="*/ 1075 w 6168"/>
              <a:gd name="T33" fmla="*/ 5362 h 6168"/>
              <a:gd name="T34" fmla="*/ 1358 w 6168"/>
              <a:gd name="T35" fmla="*/ 5184 h 6168"/>
              <a:gd name="T36" fmla="*/ 1697 w 6168"/>
              <a:gd name="T37" fmla="*/ 5423 h 6168"/>
              <a:gd name="T38" fmla="*/ 2036 w 6168"/>
              <a:gd name="T39" fmla="*/ 5988 h 6168"/>
              <a:gd name="T40" fmla="*/ 2697 w 6168"/>
              <a:gd name="T41" fmla="*/ 5776 h 6168"/>
              <a:gd name="T42" fmla="*/ 3227 w 6168"/>
              <a:gd name="T43" fmla="*/ 6168 h 6168"/>
              <a:gd name="T44" fmla="*/ 3731 w 6168"/>
              <a:gd name="T45" fmla="*/ 5725 h 6168"/>
              <a:gd name="T46" fmla="*/ 3968 w 6168"/>
              <a:gd name="T47" fmla="*/ 6042 h 6168"/>
              <a:gd name="T48" fmla="*/ 4339 w 6168"/>
              <a:gd name="T49" fmla="*/ 5497 h 6168"/>
              <a:gd name="T50" fmla="*/ 4714 w 6168"/>
              <a:gd name="T51" fmla="*/ 5262 h 6168"/>
              <a:gd name="T52" fmla="*/ 5366 w 6168"/>
              <a:gd name="T53" fmla="*/ 5164 h 6168"/>
              <a:gd name="T54" fmla="*/ 5173 w 6168"/>
              <a:gd name="T55" fmla="*/ 4825 h 6168"/>
              <a:gd name="T56" fmla="*/ 5734 w 6168"/>
              <a:gd name="T57" fmla="*/ 4571 h 6168"/>
              <a:gd name="T58" fmla="*/ 5958 w 6168"/>
              <a:gd name="T59" fmla="*/ 4070 h 6168"/>
              <a:gd name="T60" fmla="*/ 5736 w 6168"/>
              <a:gd name="T61" fmla="*/ 3686 h 6168"/>
              <a:gd name="T62" fmla="*/ 5751 w 6168"/>
              <a:gd name="T63" fmla="*/ 3615 h 6168"/>
              <a:gd name="T64" fmla="*/ 6155 w 6168"/>
              <a:gd name="T65" fmla="*/ 3400 h 6168"/>
              <a:gd name="T66" fmla="*/ 5793 w 6168"/>
              <a:gd name="T67" fmla="*/ 2849 h 6168"/>
              <a:gd name="T68" fmla="*/ 5785 w 6168"/>
              <a:gd name="T69" fmla="*/ 2769 h 6168"/>
              <a:gd name="T70" fmla="*/ 6042 w 6168"/>
              <a:gd name="T71" fmla="*/ 2201 h 6168"/>
              <a:gd name="T72" fmla="*/ 5497 w 6168"/>
              <a:gd name="T73" fmla="*/ 1830 h 6168"/>
              <a:gd name="T74" fmla="*/ 5479 w 6168"/>
              <a:gd name="T75" fmla="*/ 1137 h 6168"/>
              <a:gd name="T76" fmla="*/ 4833 w 6168"/>
              <a:gd name="T77" fmla="*/ 1003 h 6168"/>
              <a:gd name="T78" fmla="*/ 4793 w 6168"/>
              <a:gd name="T79" fmla="*/ 970 h 6168"/>
              <a:gd name="T80" fmla="*/ 4472 w 6168"/>
              <a:gd name="T81" fmla="*/ 746 h 6168"/>
              <a:gd name="T82" fmla="*/ 4132 w 6168"/>
              <a:gd name="T83" fmla="*/ 181 h 6168"/>
              <a:gd name="T84" fmla="*/ 3733 w 6168"/>
              <a:gd name="T85" fmla="*/ 444 h 6168"/>
              <a:gd name="T86" fmla="*/ 3472 w 6168"/>
              <a:gd name="T87" fmla="*/ 393 h 6168"/>
              <a:gd name="T88" fmla="*/ 2942 w 6168"/>
              <a:gd name="T89" fmla="*/ 1 h 6168"/>
              <a:gd name="T90" fmla="*/ 1693 w 6168"/>
              <a:gd name="T91" fmla="*/ 4828 h 6168"/>
              <a:gd name="T92" fmla="*/ 855 w 6168"/>
              <a:gd name="T93" fmla="*/ 3022 h 6168"/>
              <a:gd name="T94" fmla="*/ 1290 w 6168"/>
              <a:gd name="T95" fmla="*/ 1760 h 6168"/>
              <a:gd name="T96" fmla="*/ 1331 w 6168"/>
              <a:gd name="T97" fmla="*/ 1706 h 6168"/>
              <a:gd name="T98" fmla="*/ 1370 w 6168"/>
              <a:gd name="T99" fmla="*/ 1658 h 6168"/>
              <a:gd name="T100" fmla="*/ 2119 w 6168"/>
              <a:gd name="T101" fmla="*/ 1074 h 6168"/>
              <a:gd name="T102" fmla="*/ 2554 w 6168"/>
              <a:gd name="T103" fmla="*/ 918 h 6168"/>
              <a:gd name="T104" fmla="*/ 2872 w 6168"/>
              <a:gd name="T105" fmla="*/ 864 h 6168"/>
              <a:gd name="T106" fmla="*/ 4455 w 6168"/>
              <a:gd name="T107" fmla="*/ 1325 h 6168"/>
              <a:gd name="T108" fmla="*/ 4508 w 6168"/>
              <a:gd name="T109" fmla="*/ 1368 h 6168"/>
              <a:gd name="T110" fmla="*/ 5251 w 6168"/>
              <a:gd name="T111" fmla="*/ 2554 h 6168"/>
              <a:gd name="T112" fmla="*/ 5305 w 6168"/>
              <a:gd name="T113" fmla="*/ 2871 h 6168"/>
              <a:gd name="T114" fmla="*/ 5259 w 6168"/>
              <a:gd name="T115" fmla="*/ 3580 h 6168"/>
              <a:gd name="T116" fmla="*/ 5242 w 6168"/>
              <a:gd name="T117" fmla="*/ 3652 h 6168"/>
              <a:gd name="T118" fmla="*/ 4806 w 6168"/>
              <a:gd name="T119" fmla="*/ 4502 h 6168"/>
              <a:gd name="T120" fmla="*/ 4761 w 6168"/>
              <a:gd name="T121" fmla="*/ 4556 h 6168"/>
              <a:gd name="T122" fmla="*/ 4145 w 6168"/>
              <a:gd name="T123" fmla="*/ 5047 h 6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68" h="6168">
                <a:moveTo>
                  <a:pt x="2849" y="376"/>
                </a:moveTo>
                <a:cubicBezTo>
                  <a:pt x="2841" y="376"/>
                  <a:pt x="2834" y="377"/>
                  <a:pt x="2826" y="378"/>
                </a:cubicBezTo>
                <a:cubicBezTo>
                  <a:pt x="2816" y="379"/>
                  <a:pt x="2806" y="380"/>
                  <a:pt x="2796" y="381"/>
                </a:cubicBezTo>
                <a:cubicBezTo>
                  <a:pt x="2787" y="382"/>
                  <a:pt x="2778" y="383"/>
                  <a:pt x="2769" y="384"/>
                </a:cubicBezTo>
                <a:cubicBezTo>
                  <a:pt x="2750" y="386"/>
                  <a:pt x="2731" y="389"/>
                  <a:pt x="2711" y="391"/>
                </a:cubicBezTo>
                <a:lnTo>
                  <a:pt x="2711" y="391"/>
                </a:lnTo>
                <a:cubicBezTo>
                  <a:pt x="2610" y="405"/>
                  <a:pt x="2510" y="425"/>
                  <a:pt x="2412" y="450"/>
                </a:cubicBezTo>
                <a:lnTo>
                  <a:pt x="2262" y="160"/>
                </a:lnTo>
                <a:cubicBezTo>
                  <a:pt x="2249" y="134"/>
                  <a:pt x="2225" y="118"/>
                  <a:pt x="2201" y="127"/>
                </a:cubicBezTo>
                <a:lnTo>
                  <a:pt x="1773" y="290"/>
                </a:lnTo>
                <a:cubicBezTo>
                  <a:pt x="1749" y="299"/>
                  <a:pt x="1742" y="328"/>
                  <a:pt x="1749" y="356"/>
                </a:cubicBezTo>
                <a:lnTo>
                  <a:pt x="1830" y="672"/>
                </a:lnTo>
                <a:cubicBezTo>
                  <a:pt x="1698" y="740"/>
                  <a:pt x="1572" y="819"/>
                  <a:pt x="1455" y="907"/>
                </a:cubicBezTo>
                <a:lnTo>
                  <a:pt x="1206" y="697"/>
                </a:lnTo>
                <a:cubicBezTo>
                  <a:pt x="1184" y="678"/>
                  <a:pt x="1155" y="673"/>
                  <a:pt x="1137" y="690"/>
                </a:cubicBezTo>
                <a:lnTo>
                  <a:pt x="803" y="1005"/>
                </a:lnTo>
                <a:cubicBezTo>
                  <a:pt x="785" y="1022"/>
                  <a:pt x="789" y="1051"/>
                  <a:pt x="806" y="1075"/>
                </a:cubicBezTo>
                <a:lnTo>
                  <a:pt x="1003" y="1336"/>
                </a:lnTo>
                <a:cubicBezTo>
                  <a:pt x="988" y="1354"/>
                  <a:pt x="973" y="1372"/>
                  <a:pt x="958" y="1390"/>
                </a:cubicBezTo>
                <a:cubicBezTo>
                  <a:pt x="954" y="1396"/>
                  <a:pt x="949" y="1401"/>
                  <a:pt x="945" y="1407"/>
                </a:cubicBezTo>
                <a:cubicBezTo>
                  <a:pt x="939" y="1415"/>
                  <a:pt x="933" y="1422"/>
                  <a:pt x="927" y="1430"/>
                </a:cubicBezTo>
                <a:cubicBezTo>
                  <a:pt x="862" y="1515"/>
                  <a:pt x="801" y="1604"/>
                  <a:pt x="746" y="1697"/>
                </a:cubicBezTo>
                <a:lnTo>
                  <a:pt x="435" y="1598"/>
                </a:lnTo>
                <a:cubicBezTo>
                  <a:pt x="408" y="1589"/>
                  <a:pt x="379" y="1595"/>
                  <a:pt x="369" y="1618"/>
                </a:cubicBezTo>
                <a:lnTo>
                  <a:pt x="181" y="2036"/>
                </a:lnTo>
                <a:cubicBezTo>
                  <a:pt x="171" y="2059"/>
                  <a:pt x="186" y="2085"/>
                  <a:pt x="211" y="2099"/>
                </a:cubicBezTo>
                <a:lnTo>
                  <a:pt x="491" y="2265"/>
                </a:lnTo>
                <a:cubicBezTo>
                  <a:pt x="483" y="2294"/>
                  <a:pt x="474" y="2322"/>
                  <a:pt x="466" y="2351"/>
                </a:cubicBezTo>
                <a:lnTo>
                  <a:pt x="461" y="2367"/>
                </a:lnTo>
                <a:cubicBezTo>
                  <a:pt x="458" y="2379"/>
                  <a:pt x="455" y="2391"/>
                  <a:pt x="452" y="2403"/>
                </a:cubicBezTo>
                <a:cubicBezTo>
                  <a:pt x="447" y="2422"/>
                  <a:pt x="442" y="2440"/>
                  <a:pt x="438" y="2459"/>
                </a:cubicBezTo>
                <a:lnTo>
                  <a:pt x="436" y="2466"/>
                </a:lnTo>
                <a:cubicBezTo>
                  <a:pt x="427" y="2507"/>
                  <a:pt x="418" y="2549"/>
                  <a:pt x="410" y="2590"/>
                </a:cubicBezTo>
                <a:lnTo>
                  <a:pt x="411" y="2590"/>
                </a:lnTo>
                <a:cubicBezTo>
                  <a:pt x="404" y="2626"/>
                  <a:pt x="398" y="2661"/>
                  <a:pt x="393" y="2697"/>
                </a:cubicBezTo>
                <a:lnTo>
                  <a:pt x="68" y="2725"/>
                </a:lnTo>
                <a:cubicBezTo>
                  <a:pt x="39" y="2727"/>
                  <a:pt x="15" y="2744"/>
                  <a:pt x="14" y="2769"/>
                </a:cubicBezTo>
                <a:lnTo>
                  <a:pt x="1" y="3227"/>
                </a:lnTo>
                <a:cubicBezTo>
                  <a:pt x="0" y="3252"/>
                  <a:pt x="24" y="3270"/>
                  <a:pt x="52" y="3274"/>
                </a:cubicBezTo>
                <a:lnTo>
                  <a:pt x="376" y="3320"/>
                </a:lnTo>
                <a:cubicBezTo>
                  <a:pt x="388" y="3469"/>
                  <a:pt x="413" y="3615"/>
                  <a:pt x="449" y="3757"/>
                </a:cubicBezTo>
                <a:lnTo>
                  <a:pt x="160" y="3906"/>
                </a:lnTo>
                <a:cubicBezTo>
                  <a:pt x="134" y="3920"/>
                  <a:pt x="118" y="3944"/>
                  <a:pt x="127" y="3968"/>
                </a:cubicBezTo>
                <a:lnTo>
                  <a:pt x="290" y="4396"/>
                </a:lnTo>
                <a:cubicBezTo>
                  <a:pt x="299" y="4420"/>
                  <a:pt x="328" y="4427"/>
                  <a:pt x="356" y="4420"/>
                </a:cubicBezTo>
                <a:lnTo>
                  <a:pt x="672" y="4339"/>
                </a:lnTo>
                <a:cubicBezTo>
                  <a:pt x="740" y="4470"/>
                  <a:pt x="819" y="4595"/>
                  <a:pt x="908" y="4713"/>
                </a:cubicBezTo>
                <a:lnTo>
                  <a:pt x="697" y="4963"/>
                </a:lnTo>
                <a:cubicBezTo>
                  <a:pt x="678" y="4985"/>
                  <a:pt x="673" y="5014"/>
                  <a:pt x="690" y="5032"/>
                </a:cubicBezTo>
                <a:lnTo>
                  <a:pt x="1005" y="5366"/>
                </a:lnTo>
                <a:cubicBezTo>
                  <a:pt x="1022" y="5384"/>
                  <a:pt x="1051" y="5380"/>
                  <a:pt x="1075" y="5362"/>
                </a:cubicBezTo>
                <a:lnTo>
                  <a:pt x="1336" y="5166"/>
                </a:lnTo>
                <a:lnTo>
                  <a:pt x="1337" y="5167"/>
                </a:lnTo>
                <a:cubicBezTo>
                  <a:pt x="1344" y="5173"/>
                  <a:pt x="1351" y="5179"/>
                  <a:pt x="1358" y="5184"/>
                </a:cubicBezTo>
                <a:cubicBezTo>
                  <a:pt x="1364" y="5190"/>
                  <a:pt x="1371" y="5196"/>
                  <a:pt x="1378" y="5201"/>
                </a:cubicBezTo>
                <a:lnTo>
                  <a:pt x="1386" y="5207"/>
                </a:lnTo>
                <a:cubicBezTo>
                  <a:pt x="1484" y="5286"/>
                  <a:pt x="1588" y="5358"/>
                  <a:pt x="1697" y="5423"/>
                </a:cubicBezTo>
                <a:lnTo>
                  <a:pt x="1598" y="5734"/>
                </a:lnTo>
                <a:cubicBezTo>
                  <a:pt x="1589" y="5761"/>
                  <a:pt x="1595" y="5790"/>
                  <a:pt x="1618" y="5800"/>
                </a:cubicBezTo>
                <a:lnTo>
                  <a:pt x="2036" y="5988"/>
                </a:lnTo>
                <a:cubicBezTo>
                  <a:pt x="2059" y="5998"/>
                  <a:pt x="2085" y="5983"/>
                  <a:pt x="2099" y="5958"/>
                </a:cubicBezTo>
                <a:lnTo>
                  <a:pt x="2265" y="5677"/>
                </a:lnTo>
                <a:cubicBezTo>
                  <a:pt x="2406" y="5722"/>
                  <a:pt x="2550" y="5755"/>
                  <a:pt x="2697" y="5776"/>
                </a:cubicBezTo>
                <a:lnTo>
                  <a:pt x="2725" y="6101"/>
                </a:lnTo>
                <a:cubicBezTo>
                  <a:pt x="2727" y="6130"/>
                  <a:pt x="2744" y="6154"/>
                  <a:pt x="2769" y="6155"/>
                </a:cubicBezTo>
                <a:lnTo>
                  <a:pt x="3227" y="6168"/>
                </a:lnTo>
                <a:cubicBezTo>
                  <a:pt x="3252" y="6168"/>
                  <a:pt x="3270" y="6145"/>
                  <a:pt x="3274" y="6116"/>
                </a:cubicBezTo>
                <a:lnTo>
                  <a:pt x="3320" y="5793"/>
                </a:lnTo>
                <a:cubicBezTo>
                  <a:pt x="3456" y="5781"/>
                  <a:pt x="3594" y="5759"/>
                  <a:pt x="3731" y="5725"/>
                </a:cubicBezTo>
                <a:cubicBezTo>
                  <a:pt x="3739" y="5723"/>
                  <a:pt x="3748" y="5721"/>
                  <a:pt x="3756" y="5719"/>
                </a:cubicBezTo>
                <a:lnTo>
                  <a:pt x="3906" y="6009"/>
                </a:lnTo>
                <a:cubicBezTo>
                  <a:pt x="3920" y="6035"/>
                  <a:pt x="3944" y="6051"/>
                  <a:pt x="3968" y="6042"/>
                </a:cubicBezTo>
                <a:lnTo>
                  <a:pt x="4396" y="5878"/>
                </a:lnTo>
                <a:cubicBezTo>
                  <a:pt x="4420" y="5869"/>
                  <a:pt x="4427" y="5841"/>
                  <a:pt x="4420" y="5813"/>
                </a:cubicBezTo>
                <a:lnTo>
                  <a:pt x="4339" y="5497"/>
                </a:lnTo>
                <a:lnTo>
                  <a:pt x="4342" y="5496"/>
                </a:lnTo>
                <a:lnTo>
                  <a:pt x="4351" y="5491"/>
                </a:lnTo>
                <a:cubicBezTo>
                  <a:pt x="4479" y="5423"/>
                  <a:pt x="4600" y="5347"/>
                  <a:pt x="4714" y="5262"/>
                </a:cubicBezTo>
                <a:lnTo>
                  <a:pt x="4963" y="5472"/>
                </a:lnTo>
                <a:cubicBezTo>
                  <a:pt x="4985" y="5490"/>
                  <a:pt x="5014" y="5496"/>
                  <a:pt x="5032" y="5479"/>
                </a:cubicBezTo>
                <a:lnTo>
                  <a:pt x="5366" y="5164"/>
                </a:lnTo>
                <a:cubicBezTo>
                  <a:pt x="5384" y="5147"/>
                  <a:pt x="5380" y="5117"/>
                  <a:pt x="5362" y="5094"/>
                </a:cubicBezTo>
                <a:lnTo>
                  <a:pt x="5166" y="4833"/>
                </a:lnTo>
                <a:lnTo>
                  <a:pt x="5173" y="4825"/>
                </a:lnTo>
                <a:cubicBezTo>
                  <a:pt x="5179" y="4818"/>
                  <a:pt x="5184" y="4812"/>
                  <a:pt x="5189" y="4805"/>
                </a:cubicBezTo>
                <a:cubicBezTo>
                  <a:pt x="5275" y="4701"/>
                  <a:pt x="5353" y="4589"/>
                  <a:pt x="5423" y="4472"/>
                </a:cubicBezTo>
                <a:lnTo>
                  <a:pt x="5734" y="4571"/>
                </a:lnTo>
                <a:cubicBezTo>
                  <a:pt x="5761" y="4580"/>
                  <a:pt x="5790" y="4574"/>
                  <a:pt x="5800" y="4551"/>
                </a:cubicBezTo>
                <a:lnTo>
                  <a:pt x="5988" y="4132"/>
                </a:lnTo>
                <a:cubicBezTo>
                  <a:pt x="5998" y="4110"/>
                  <a:pt x="5983" y="4084"/>
                  <a:pt x="5958" y="4070"/>
                </a:cubicBezTo>
                <a:lnTo>
                  <a:pt x="5678" y="3904"/>
                </a:lnTo>
                <a:cubicBezTo>
                  <a:pt x="5697" y="3841"/>
                  <a:pt x="5715" y="3777"/>
                  <a:pt x="5730" y="3713"/>
                </a:cubicBezTo>
                <a:cubicBezTo>
                  <a:pt x="5732" y="3704"/>
                  <a:pt x="5734" y="3695"/>
                  <a:pt x="5736" y="3686"/>
                </a:cubicBezTo>
                <a:cubicBezTo>
                  <a:pt x="5738" y="3678"/>
                  <a:pt x="5740" y="3670"/>
                  <a:pt x="5742" y="3662"/>
                </a:cubicBezTo>
                <a:cubicBezTo>
                  <a:pt x="5745" y="3646"/>
                  <a:pt x="5748" y="3631"/>
                  <a:pt x="5751" y="3615"/>
                </a:cubicBezTo>
                <a:lnTo>
                  <a:pt x="5751" y="3615"/>
                </a:lnTo>
                <a:cubicBezTo>
                  <a:pt x="5761" y="3568"/>
                  <a:pt x="5769" y="3520"/>
                  <a:pt x="5776" y="3472"/>
                </a:cubicBezTo>
                <a:lnTo>
                  <a:pt x="6101" y="3444"/>
                </a:lnTo>
                <a:cubicBezTo>
                  <a:pt x="6130" y="3442"/>
                  <a:pt x="6154" y="3425"/>
                  <a:pt x="6155" y="3400"/>
                </a:cubicBezTo>
                <a:lnTo>
                  <a:pt x="6168" y="2942"/>
                </a:lnTo>
                <a:cubicBezTo>
                  <a:pt x="6168" y="2917"/>
                  <a:pt x="6145" y="2899"/>
                  <a:pt x="6116" y="2895"/>
                </a:cubicBezTo>
                <a:lnTo>
                  <a:pt x="5793" y="2849"/>
                </a:lnTo>
                <a:cubicBezTo>
                  <a:pt x="5792" y="2841"/>
                  <a:pt x="5792" y="2834"/>
                  <a:pt x="5791" y="2826"/>
                </a:cubicBezTo>
                <a:cubicBezTo>
                  <a:pt x="5790" y="2816"/>
                  <a:pt x="5789" y="2806"/>
                  <a:pt x="5788" y="2795"/>
                </a:cubicBezTo>
                <a:cubicBezTo>
                  <a:pt x="5787" y="2787"/>
                  <a:pt x="5786" y="2778"/>
                  <a:pt x="5785" y="2769"/>
                </a:cubicBezTo>
                <a:cubicBezTo>
                  <a:pt x="5771" y="2648"/>
                  <a:pt x="5749" y="2528"/>
                  <a:pt x="5719" y="2412"/>
                </a:cubicBezTo>
                <a:lnTo>
                  <a:pt x="6009" y="2262"/>
                </a:lnTo>
                <a:cubicBezTo>
                  <a:pt x="6035" y="2249"/>
                  <a:pt x="6051" y="2225"/>
                  <a:pt x="6042" y="2201"/>
                </a:cubicBezTo>
                <a:lnTo>
                  <a:pt x="5878" y="1773"/>
                </a:lnTo>
                <a:cubicBezTo>
                  <a:pt x="5869" y="1749"/>
                  <a:pt x="5841" y="1742"/>
                  <a:pt x="5813" y="1749"/>
                </a:cubicBezTo>
                <a:lnTo>
                  <a:pt x="5497" y="1830"/>
                </a:lnTo>
                <a:cubicBezTo>
                  <a:pt x="5428" y="1698"/>
                  <a:pt x="5349" y="1572"/>
                  <a:pt x="5261" y="1455"/>
                </a:cubicBezTo>
                <a:lnTo>
                  <a:pt x="5472" y="1206"/>
                </a:lnTo>
                <a:cubicBezTo>
                  <a:pt x="5490" y="1184"/>
                  <a:pt x="5496" y="1155"/>
                  <a:pt x="5479" y="1137"/>
                </a:cubicBezTo>
                <a:lnTo>
                  <a:pt x="5164" y="803"/>
                </a:lnTo>
                <a:cubicBezTo>
                  <a:pt x="5147" y="785"/>
                  <a:pt x="5117" y="789"/>
                  <a:pt x="5094" y="806"/>
                </a:cubicBezTo>
                <a:lnTo>
                  <a:pt x="4833" y="1003"/>
                </a:lnTo>
                <a:lnTo>
                  <a:pt x="4830" y="1000"/>
                </a:lnTo>
                <a:lnTo>
                  <a:pt x="4820" y="992"/>
                </a:lnTo>
                <a:cubicBezTo>
                  <a:pt x="4811" y="984"/>
                  <a:pt x="4802" y="977"/>
                  <a:pt x="4793" y="970"/>
                </a:cubicBezTo>
                <a:cubicBezTo>
                  <a:pt x="4784" y="962"/>
                  <a:pt x="4775" y="955"/>
                  <a:pt x="4765" y="947"/>
                </a:cubicBezTo>
                <a:cubicBezTo>
                  <a:pt x="4762" y="945"/>
                  <a:pt x="4759" y="942"/>
                  <a:pt x="4755" y="940"/>
                </a:cubicBezTo>
                <a:cubicBezTo>
                  <a:pt x="4665" y="869"/>
                  <a:pt x="4571" y="805"/>
                  <a:pt x="4472" y="746"/>
                </a:cubicBezTo>
                <a:lnTo>
                  <a:pt x="4571" y="435"/>
                </a:lnTo>
                <a:cubicBezTo>
                  <a:pt x="4580" y="408"/>
                  <a:pt x="4574" y="379"/>
                  <a:pt x="4551" y="369"/>
                </a:cubicBezTo>
                <a:lnTo>
                  <a:pt x="4132" y="181"/>
                </a:lnTo>
                <a:cubicBezTo>
                  <a:pt x="4110" y="171"/>
                  <a:pt x="4084" y="186"/>
                  <a:pt x="4070" y="211"/>
                </a:cubicBezTo>
                <a:lnTo>
                  <a:pt x="3904" y="491"/>
                </a:lnTo>
                <a:cubicBezTo>
                  <a:pt x="3847" y="474"/>
                  <a:pt x="3790" y="458"/>
                  <a:pt x="3733" y="444"/>
                </a:cubicBezTo>
                <a:cubicBezTo>
                  <a:pt x="3724" y="442"/>
                  <a:pt x="3716" y="440"/>
                  <a:pt x="3708" y="438"/>
                </a:cubicBezTo>
                <a:lnTo>
                  <a:pt x="3701" y="436"/>
                </a:lnTo>
                <a:cubicBezTo>
                  <a:pt x="3626" y="418"/>
                  <a:pt x="3549" y="404"/>
                  <a:pt x="3472" y="393"/>
                </a:cubicBezTo>
                <a:lnTo>
                  <a:pt x="3444" y="68"/>
                </a:lnTo>
                <a:cubicBezTo>
                  <a:pt x="3442" y="39"/>
                  <a:pt x="3425" y="15"/>
                  <a:pt x="3400" y="14"/>
                </a:cubicBezTo>
                <a:lnTo>
                  <a:pt x="2942" y="1"/>
                </a:lnTo>
                <a:cubicBezTo>
                  <a:pt x="2917" y="0"/>
                  <a:pt x="2899" y="24"/>
                  <a:pt x="2895" y="52"/>
                </a:cubicBezTo>
                <a:lnTo>
                  <a:pt x="2849" y="376"/>
                </a:lnTo>
                <a:close/>
                <a:moveTo>
                  <a:pt x="1693" y="4828"/>
                </a:moveTo>
                <a:lnTo>
                  <a:pt x="1683" y="4819"/>
                </a:lnTo>
                <a:lnTo>
                  <a:pt x="1674" y="4812"/>
                </a:lnTo>
                <a:cubicBezTo>
                  <a:pt x="1157" y="4390"/>
                  <a:pt x="835" y="3741"/>
                  <a:pt x="855" y="3022"/>
                </a:cubicBezTo>
                <a:cubicBezTo>
                  <a:pt x="860" y="2827"/>
                  <a:pt x="891" y="2639"/>
                  <a:pt x="943" y="2460"/>
                </a:cubicBezTo>
                <a:lnTo>
                  <a:pt x="943" y="2460"/>
                </a:lnTo>
                <a:cubicBezTo>
                  <a:pt x="1017" y="2207"/>
                  <a:pt x="1135" y="1970"/>
                  <a:pt x="1290" y="1760"/>
                </a:cubicBezTo>
                <a:lnTo>
                  <a:pt x="1294" y="1755"/>
                </a:lnTo>
                <a:cubicBezTo>
                  <a:pt x="1299" y="1747"/>
                  <a:pt x="1305" y="1740"/>
                  <a:pt x="1310" y="1733"/>
                </a:cubicBezTo>
                <a:cubicBezTo>
                  <a:pt x="1317" y="1724"/>
                  <a:pt x="1324" y="1715"/>
                  <a:pt x="1331" y="1706"/>
                </a:cubicBezTo>
                <a:lnTo>
                  <a:pt x="1336" y="1699"/>
                </a:lnTo>
                <a:cubicBezTo>
                  <a:pt x="1347" y="1686"/>
                  <a:pt x="1358" y="1672"/>
                  <a:pt x="1369" y="1659"/>
                </a:cubicBezTo>
                <a:lnTo>
                  <a:pt x="1370" y="1658"/>
                </a:lnTo>
                <a:cubicBezTo>
                  <a:pt x="1564" y="1425"/>
                  <a:pt x="1804" y="1233"/>
                  <a:pt x="2076" y="1094"/>
                </a:cubicBezTo>
                <a:lnTo>
                  <a:pt x="2078" y="1094"/>
                </a:lnTo>
                <a:cubicBezTo>
                  <a:pt x="2091" y="1087"/>
                  <a:pt x="2105" y="1080"/>
                  <a:pt x="2119" y="1074"/>
                </a:cubicBezTo>
                <a:cubicBezTo>
                  <a:pt x="2127" y="1070"/>
                  <a:pt x="2135" y="1066"/>
                  <a:pt x="2143" y="1062"/>
                </a:cubicBezTo>
                <a:cubicBezTo>
                  <a:pt x="2149" y="1059"/>
                  <a:pt x="2155" y="1056"/>
                  <a:pt x="2162" y="1053"/>
                </a:cubicBezTo>
                <a:cubicBezTo>
                  <a:pt x="2286" y="997"/>
                  <a:pt x="2417" y="952"/>
                  <a:pt x="2554" y="918"/>
                </a:cubicBezTo>
                <a:cubicBezTo>
                  <a:pt x="2644" y="896"/>
                  <a:pt x="2735" y="880"/>
                  <a:pt x="2825" y="869"/>
                </a:cubicBezTo>
                <a:cubicBezTo>
                  <a:pt x="2833" y="868"/>
                  <a:pt x="2841" y="867"/>
                  <a:pt x="2849" y="866"/>
                </a:cubicBezTo>
                <a:cubicBezTo>
                  <a:pt x="2857" y="866"/>
                  <a:pt x="2864" y="865"/>
                  <a:pt x="2872" y="864"/>
                </a:cubicBezTo>
                <a:cubicBezTo>
                  <a:pt x="2962" y="856"/>
                  <a:pt x="3054" y="852"/>
                  <a:pt x="3147" y="855"/>
                </a:cubicBezTo>
                <a:cubicBezTo>
                  <a:pt x="3311" y="860"/>
                  <a:pt x="3470" y="882"/>
                  <a:pt x="3623" y="920"/>
                </a:cubicBezTo>
                <a:cubicBezTo>
                  <a:pt x="3926" y="995"/>
                  <a:pt x="4210" y="1134"/>
                  <a:pt x="4455" y="1325"/>
                </a:cubicBezTo>
                <a:lnTo>
                  <a:pt x="4463" y="1331"/>
                </a:lnTo>
                <a:cubicBezTo>
                  <a:pt x="4471" y="1337"/>
                  <a:pt x="4479" y="1344"/>
                  <a:pt x="4486" y="1350"/>
                </a:cubicBezTo>
                <a:cubicBezTo>
                  <a:pt x="4493" y="1356"/>
                  <a:pt x="4501" y="1362"/>
                  <a:pt x="4508" y="1368"/>
                </a:cubicBezTo>
                <a:cubicBezTo>
                  <a:pt x="4511" y="1370"/>
                  <a:pt x="4514" y="1372"/>
                  <a:pt x="4517" y="1375"/>
                </a:cubicBezTo>
                <a:cubicBezTo>
                  <a:pt x="4754" y="1574"/>
                  <a:pt x="4949" y="1822"/>
                  <a:pt x="5087" y="2102"/>
                </a:cubicBezTo>
                <a:cubicBezTo>
                  <a:pt x="5156" y="2243"/>
                  <a:pt x="5212" y="2395"/>
                  <a:pt x="5251" y="2554"/>
                </a:cubicBezTo>
                <a:cubicBezTo>
                  <a:pt x="5273" y="2644"/>
                  <a:pt x="5289" y="2735"/>
                  <a:pt x="5300" y="2825"/>
                </a:cubicBezTo>
                <a:cubicBezTo>
                  <a:pt x="5301" y="2833"/>
                  <a:pt x="5302" y="2841"/>
                  <a:pt x="5302" y="2849"/>
                </a:cubicBezTo>
                <a:cubicBezTo>
                  <a:pt x="5303" y="2857"/>
                  <a:pt x="5304" y="2864"/>
                  <a:pt x="5305" y="2871"/>
                </a:cubicBezTo>
                <a:cubicBezTo>
                  <a:pt x="5313" y="2962"/>
                  <a:pt x="5316" y="3054"/>
                  <a:pt x="5314" y="3147"/>
                </a:cubicBezTo>
                <a:cubicBezTo>
                  <a:pt x="5310" y="3288"/>
                  <a:pt x="5293" y="3426"/>
                  <a:pt x="5264" y="3559"/>
                </a:cubicBezTo>
                <a:cubicBezTo>
                  <a:pt x="5262" y="3566"/>
                  <a:pt x="5261" y="3573"/>
                  <a:pt x="5259" y="3580"/>
                </a:cubicBezTo>
                <a:cubicBezTo>
                  <a:pt x="5257" y="3589"/>
                  <a:pt x="5255" y="3597"/>
                  <a:pt x="5253" y="3605"/>
                </a:cubicBezTo>
                <a:cubicBezTo>
                  <a:pt x="5250" y="3620"/>
                  <a:pt x="5246" y="3635"/>
                  <a:pt x="5242" y="3649"/>
                </a:cubicBezTo>
                <a:lnTo>
                  <a:pt x="5242" y="3652"/>
                </a:lnTo>
                <a:cubicBezTo>
                  <a:pt x="5164" y="3947"/>
                  <a:pt x="5027" y="4222"/>
                  <a:pt x="4840" y="4460"/>
                </a:cubicBezTo>
                <a:lnTo>
                  <a:pt x="4838" y="4462"/>
                </a:lnTo>
                <a:cubicBezTo>
                  <a:pt x="4828" y="4476"/>
                  <a:pt x="4817" y="4489"/>
                  <a:pt x="4806" y="4502"/>
                </a:cubicBezTo>
                <a:lnTo>
                  <a:pt x="4800" y="4510"/>
                </a:lnTo>
                <a:cubicBezTo>
                  <a:pt x="4793" y="4518"/>
                  <a:pt x="4786" y="4526"/>
                  <a:pt x="4780" y="4534"/>
                </a:cubicBezTo>
                <a:cubicBezTo>
                  <a:pt x="4773" y="4541"/>
                  <a:pt x="4767" y="4548"/>
                  <a:pt x="4761" y="4556"/>
                </a:cubicBezTo>
                <a:lnTo>
                  <a:pt x="4758" y="4559"/>
                </a:lnTo>
                <a:cubicBezTo>
                  <a:pt x="4585" y="4755"/>
                  <a:pt x="4377" y="4921"/>
                  <a:pt x="4145" y="5047"/>
                </a:cubicBezTo>
                <a:lnTo>
                  <a:pt x="4145" y="5047"/>
                </a:lnTo>
                <a:cubicBezTo>
                  <a:pt x="3982" y="5135"/>
                  <a:pt x="3804" y="5204"/>
                  <a:pt x="3615" y="5251"/>
                </a:cubicBezTo>
                <a:cubicBezTo>
                  <a:pt x="2917" y="5422"/>
                  <a:pt x="2215" y="5244"/>
                  <a:pt x="1693" y="4828"/>
                </a:cubicBezTo>
                <a:close/>
              </a:path>
            </a:pathLst>
          </a:custGeom>
          <a:solidFill>
            <a:schemeClr val="bg1"/>
          </a:solidFill>
          <a:ln w="12700">
            <a:solidFill>
              <a:schemeClr val="tx1">
                <a:lumMod val="50000"/>
                <a:lumOff val="50000"/>
              </a:schemeClr>
            </a:solidFill>
          </a:ln>
        </p:spPr>
        <p:txBody>
          <a:bodyPr vert="horz" wrap="square" lIns="91440" tIns="45720" rIns="91440" bIns="45720" numCol="1" anchor="t" anchorCtr="0" compatLnSpc="1">
            <a:prstTxWarp prst="textNoShape">
              <a:avLst/>
            </a:prstTxWarp>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76" name="Bogen 75"/>
          <p:cNvSpPr/>
          <p:nvPr/>
        </p:nvSpPr>
        <p:spPr>
          <a:xfrm>
            <a:off x="4186115" y="1673971"/>
            <a:ext cx="3703284" cy="3703280"/>
          </a:xfrm>
          <a:prstGeom prst="arc">
            <a:avLst>
              <a:gd name="adj1" fmla="val 16200000"/>
              <a:gd name="adj2" fmla="val 3884264"/>
            </a:avLst>
          </a:prstGeom>
          <a:ln w="12700">
            <a:solidFill>
              <a:schemeClr val="bg2">
                <a:lumMod val="25000"/>
              </a:schemeClr>
            </a:solidFill>
            <a:tailEnd type="arrow"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sp>
        <p:nvSpPr>
          <p:cNvPr id="90" name="Bogen 89"/>
          <p:cNvSpPr/>
          <p:nvPr/>
        </p:nvSpPr>
        <p:spPr>
          <a:xfrm rot="10800000">
            <a:off x="4183824" y="1673971"/>
            <a:ext cx="3703285" cy="3703280"/>
          </a:xfrm>
          <a:prstGeom prst="arc">
            <a:avLst>
              <a:gd name="adj1" fmla="val 16200000"/>
              <a:gd name="adj2" fmla="val 4008789"/>
            </a:avLst>
          </a:prstGeom>
          <a:ln w="12700">
            <a:solidFill>
              <a:schemeClr val="bg2">
                <a:lumMod val="25000"/>
              </a:schemeClr>
            </a:solidFill>
            <a:tailEnd type="arrow"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121907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ea typeface="+mn-ea"/>
              <a:cs typeface="+mn-cs"/>
            </a:endParaRPr>
          </a:p>
        </p:txBody>
      </p:sp>
      <p:cxnSp>
        <p:nvCxnSpPr>
          <p:cNvPr id="91" name="Gerade Verbindung 90"/>
          <p:cNvCxnSpPr>
            <a:cxnSpLocks/>
          </p:cNvCxnSpPr>
          <p:nvPr/>
        </p:nvCxnSpPr>
        <p:spPr>
          <a:xfrm>
            <a:off x="6023198" y="5377251"/>
            <a:ext cx="5076602" cy="0"/>
          </a:xfrm>
          <a:prstGeom prst="line">
            <a:avLst/>
          </a:prstGeom>
          <a:ln w="127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p:nvCxnSpPr>
        <p:spPr>
          <a:xfrm>
            <a:off x="3913259" y="1673971"/>
            <a:ext cx="2034008" cy="0"/>
          </a:xfrm>
          <a:prstGeom prst="line">
            <a:avLst/>
          </a:prstGeom>
          <a:ln w="12700">
            <a:solidFill>
              <a:schemeClr val="bg2">
                <a:lumMod val="25000"/>
              </a:schemeClr>
            </a:solidFill>
            <a:tailEnd type="arrow" w="med" len="med"/>
          </a:ln>
        </p:spPr>
        <p:style>
          <a:lnRef idx="1">
            <a:schemeClr val="accent1"/>
          </a:lnRef>
          <a:fillRef idx="0">
            <a:schemeClr val="accent1"/>
          </a:fillRef>
          <a:effectRef idx="0">
            <a:schemeClr val="accent1"/>
          </a:effectRef>
          <a:fontRef idx="minor">
            <a:schemeClr val="tx1"/>
          </a:fontRef>
        </p:style>
      </p:cxnSp>
      <p:sp>
        <p:nvSpPr>
          <p:cNvPr id="4" name="Textfeld 3">
            <a:extLst>
              <a:ext uri="{FF2B5EF4-FFF2-40B4-BE49-F238E27FC236}">
                <a16:creationId xmlns:a16="http://schemas.microsoft.com/office/drawing/2014/main" id="{7A1D1B79-A91A-2C46-AFA8-4DE7BCCD1917}"/>
              </a:ext>
            </a:extLst>
          </p:cNvPr>
          <p:cNvSpPr txBox="1"/>
          <p:nvPr/>
        </p:nvSpPr>
        <p:spPr>
          <a:xfrm>
            <a:off x="10356980" y="1698171"/>
            <a:ext cx="0" cy="0"/>
          </a:xfrm>
          <a:prstGeom prst="rect">
            <a:avLst/>
          </a:prstGeom>
          <a:noFill/>
        </p:spPr>
        <p:txBody>
          <a:bodyPr wrap="none" lIns="36000" tIns="36000" rIns="36000" bIns="36000" rtlCol="0" anchor="ctr" anchorCtr="0">
            <a:noAutofit/>
          </a:bodyPr>
          <a:lstStyle/>
          <a:p>
            <a:pPr algn="ctr"/>
            <a:endParaRPr lang="en-US" sz="1400" dirty="0"/>
          </a:p>
        </p:txBody>
      </p:sp>
      <p:sp>
        <p:nvSpPr>
          <p:cNvPr id="47" name="Datumsplatzhalter 1">
            <a:extLst>
              <a:ext uri="{FF2B5EF4-FFF2-40B4-BE49-F238E27FC236}">
                <a16:creationId xmlns:a16="http://schemas.microsoft.com/office/drawing/2014/main" id="{6AA4B526-1815-4488-BB2E-9101CEB9B7BD}"/>
              </a:ext>
            </a:extLst>
          </p:cNvPr>
          <p:cNvSpPr>
            <a:spLocks noGrp="1"/>
          </p:cNvSpPr>
          <p:nvPr>
            <p:ph type="dt" sz="half" idx="10"/>
          </p:nvPr>
        </p:nvSpPr>
        <p:spPr>
          <a:xfrm>
            <a:off x="406400" y="6501507"/>
            <a:ext cx="648000" cy="180000"/>
          </a:xfrm>
        </p:spPr>
        <p:txBody>
          <a:bodyPr/>
          <a:lstStyle/>
          <a:p>
            <a:r>
              <a:rPr lang="en-US">
                <a:solidFill>
                  <a:srgbClr val="6F6F6F"/>
                </a:solidFill>
              </a:rPr>
              <a:t>21/08/2019</a:t>
            </a:r>
            <a:endParaRPr lang="de-DE" dirty="0">
              <a:solidFill>
                <a:srgbClr val="6F6F6F"/>
              </a:solidFill>
            </a:endParaRPr>
          </a:p>
        </p:txBody>
      </p:sp>
      <p:sp>
        <p:nvSpPr>
          <p:cNvPr id="48" name="Foliennummernplatzhalter 6">
            <a:extLst>
              <a:ext uri="{FF2B5EF4-FFF2-40B4-BE49-F238E27FC236}">
                <a16:creationId xmlns:a16="http://schemas.microsoft.com/office/drawing/2014/main" id="{926D8F22-2E31-4B8C-AA80-2CE96A33068E}"/>
              </a:ext>
            </a:extLst>
          </p:cNvPr>
          <p:cNvSpPr>
            <a:spLocks noGrp="1"/>
          </p:cNvSpPr>
          <p:nvPr>
            <p:ph type="sldNum" sz="quarter" idx="11"/>
          </p:nvPr>
        </p:nvSpPr>
        <p:spPr>
          <a:xfrm>
            <a:off x="11111017" y="6501507"/>
            <a:ext cx="672996" cy="180000"/>
          </a:xfrm>
        </p:spPr>
        <p:txBody>
          <a:bodyPr/>
          <a:lstStyle/>
          <a:p>
            <a:fld id="{221F1D72-F2AC-4B6E-A46C-E63D2CF40C7B}" type="slidenum">
              <a:rPr lang="de-DE" smtClean="0">
                <a:solidFill>
                  <a:srgbClr val="6F6F6F"/>
                </a:solidFill>
              </a:rPr>
              <a:pPr/>
              <a:t>8</a:t>
            </a:fld>
            <a:endParaRPr lang="de-DE" dirty="0">
              <a:solidFill>
                <a:srgbClr val="6F6F6F"/>
              </a:solidFill>
            </a:endParaRPr>
          </a:p>
        </p:txBody>
      </p:sp>
      <p:sp>
        <p:nvSpPr>
          <p:cNvPr id="49" name="Fußzeilenplatzhalter 4">
            <a:extLst>
              <a:ext uri="{FF2B5EF4-FFF2-40B4-BE49-F238E27FC236}">
                <a16:creationId xmlns:a16="http://schemas.microsoft.com/office/drawing/2014/main" id="{BF17A722-BA1B-4CE6-B9FF-F9AC5BADA52C}"/>
              </a:ext>
            </a:extLst>
          </p:cNvPr>
          <p:cNvSpPr>
            <a:spLocks noGrp="1"/>
          </p:cNvSpPr>
          <p:nvPr>
            <p:ph type="ftr" sz="quarter" idx="12"/>
          </p:nvPr>
        </p:nvSpPr>
        <p:spPr>
          <a:xfrm>
            <a:off x="1054646" y="6501507"/>
            <a:ext cx="4896000" cy="180000"/>
          </a:xfrm>
        </p:spPr>
        <p:txBody>
          <a:bodyPr/>
          <a:lstStyle/>
          <a:p>
            <a:r>
              <a:rPr lang="en-US">
                <a:solidFill>
                  <a:srgbClr val="6F6F6F"/>
                </a:solidFill>
              </a:rPr>
              <a:t>NZSUG Auckland Event + SAP Forum</a:t>
            </a:r>
            <a:endParaRPr lang="en-US" dirty="0">
              <a:solidFill>
                <a:srgbClr val="6F6F6F"/>
              </a:solidFill>
            </a:endParaRPr>
          </a:p>
        </p:txBody>
      </p:sp>
    </p:spTree>
    <p:extLst>
      <p:ext uri="{BB962C8B-B14F-4D97-AF65-F5344CB8AC3E}">
        <p14:creationId xmlns:p14="http://schemas.microsoft.com/office/powerpoint/2010/main" val="121625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957D100-9E3D-854A-8BD2-D8B52DCF50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399"/>
            <a:ext cx="12190413" cy="6851201"/>
          </a:xfrm>
          <a:prstGeom prst="rect">
            <a:avLst/>
          </a:prstGeom>
        </p:spPr>
      </p:pic>
      <p:sp>
        <p:nvSpPr>
          <p:cNvPr id="2" name="Titel 1">
            <a:extLst>
              <a:ext uri="{FF2B5EF4-FFF2-40B4-BE49-F238E27FC236}">
                <a16:creationId xmlns:a16="http://schemas.microsoft.com/office/drawing/2014/main" id="{1760D622-1348-43AE-AF37-2D3D08212501}"/>
              </a:ext>
            </a:extLst>
          </p:cNvPr>
          <p:cNvSpPr>
            <a:spLocks noGrp="1"/>
          </p:cNvSpPr>
          <p:nvPr>
            <p:ph type="title"/>
          </p:nvPr>
        </p:nvSpPr>
        <p:spPr/>
        <p:txBody>
          <a:bodyPr/>
          <a:lstStyle/>
          <a:p>
            <a:r>
              <a:rPr lang="en-US" dirty="0">
                <a:solidFill>
                  <a:schemeClr val="bg1"/>
                </a:solidFill>
              </a:rPr>
              <a:t>S/4HANA TRANSFORMATION</a:t>
            </a:r>
          </a:p>
        </p:txBody>
      </p:sp>
      <p:sp>
        <p:nvSpPr>
          <p:cNvPr id="4" name="Textplatzhalter 5">
            <a:extLst>
              <a:ext uri="{FF2B5EF4-FFF2-40B4-BE49-F238E27FC236}">
                <a16:creationId xmlns:a16="http://schemas.microsoft.com/office/drawing/2014/main" id="{D5B23832-1FF6-4BBC-B72C-31A737E7953C}"/>
              </a:ext>
            </a:extLst>
          </p:cNvPr>
          <p:cNvSpPr txBox="1">
            <a:spLocks/>
          </p:cNvSpPr>
          <p:nvPr/>
        </p:nvSpPr>
        <p:spPr>
          <a:xfrm>
            <a:off x="334566" y="827038"/>
            <a:ext cx="11378505" cy="3826097"/>
          </a:xfrm>
          <a:prstGeom prst="rect">
            <a:avLst/>
          </a:prstGeom>
        </p:spPr>
        <p:txBody>
          <a:bodyPr anchor="ctr"/>
          <a:lstStyle>
            <a:lvl1pPr marL="0" indent="0" algn="l" defTabSz="1219078" rtl="0" eaLnBrk="1" latinLnBrk="0" hangingPunct="1">
              <a:lnSpc>
                <a:spcPct val="100000"/>
              </a:lnSpc>
              <a:spcBef>
                <a:spcPts val="0"/>
              </a:spcBef>
              <a:buFont typeface="Arial" panose="020B0604020202020204" pitchFamily="34" charset="0"/>
              <a:buNone/>
              <a:defRPr sz="1800" b="1" kern="1200">
                <a:solidFill>
                  <a:schemeClr val="accent3"/>
                </a:solidFill>
                <a:latin typeface="+mn-lt"/>
                <a:ea typeface="+mn-ea"/>
                <a:cs typeface="+mn-cs"/>
              </a:defRPr>
            </a:lvl1pPr>
            <a:lvl2pPr marL="0" indent="0" algn="l" defTabSz="1219078" rtl="0" eaLnBrk="1" latinLnBrk="0" hangingPunct="1">
              <a:lnSpc>
                <a:spcPct val="100000"/>
              </a:lnSpc>
              <a:spcBef>
                <a:spcPts val="0"/>
              </a:spcBef>
              <a:buFont typeface="Arial" panose="020B0604020202020204" pitchFamily="34" charset="0"/>
              <a:buNone/>
              <a:defRPr sz="1800" kern="1200">
                <a:solidFill>
                  <a:schemeClr val="bg2"/>
                </a:solidFill>
                <a:latin typeface="+mn-lt"/>
                <a:ea typeface="+mn-ea"/>
                <a:cs typeface="+mn-cs"/>
              </a:defRPr>
            </a:lvl2pPr>
            <a:lvl3pPr marL="216000" indent="-216000" algn="l" defTabSz="1219078" rtl="0" eaLnBrk="1" latinLnBrk="0" hangingPunct="1">
              <a:lnSpc>
                <a:spcPct val="100000"/>
              </a:lnSpc>
              <a:spcBef>
                <a:spcPts val="600"/>
              </a:spcBef>
              <a:buClr>
                <a:schemeClr val="accent3"/>
              </a:buClr>
              <a:buFont typeface="Wingdings 2" panose="05020102010507070707" pitchFamily="18" charset="2"/>
              <a:buChar char=""/>
              <a:defRPr sz="1800" kern="1200">
                <a:solidFill>
                  <a:schemeClr val="bg2"/>
                </a:solidFill>
                <a:latin typeface="+mn-lt"/>
                <a:ea typeface="+mn-ea"/>
                <a:cs typeface="+mn-cs"/>
              </a:defRPr>
            </a:lvl3pPr>
            <a:lvl4pPr marL="432000" indent="-216000" algn="l" defTabSz="1219078" rtl="0" eaLnBrk="1" latinLnBrk="0" hangingPunct="1">
              <a:lnSpc>
                <a:spcPct val="100000"/>
              </a:lnSpc>
              <a:spcBef>
                <a:spcPts val="600"/>
              </a:spcBef>
              <a:buClr>
                <a:schemeClr val="accent3"/>
              </a:buClr>
              <a:buFont typeface="Symbol" panose="05050102010706020507" pitchFamily="18" charset="2"/>
              <a:buChar char="-"/>
              <a:defRPr sz="1800" kern="1200">
                <a:solidFill>
                  <a:schemeClr val="bg2"/>
                </a:solidFill>
                <a:latin typeface="+mn-lt"/>
                <a:ea typeface="+mn-ea"/>
                <a:cs typeface="+mn-cs"/>
              </a:defRPr>
            </a:lvl4pPr>
            <a:lvl5pPr marL="648000" indent="-216000" algn="l" defTabSz="1219078" rtl="0" eaLnBrk="1" latinLnBrk="0" hangingPunct="1">
              <a:lnSpc>
                <a:spcPct val="100000"/>
              </a:lnSpc>
              <a:spcBef>
                <a:spcPts val="600"/>
              </a:spcBef>
              <a:buClr>
                <a:schemeClr val="accent3"/>
              </a:buClr>
              <a:buFont typeface="Wingdings 2" panose="05020102010507070707" pitchFamily="18" charset="2"/>
              <a:buChar char="¡"/>
              <a:defRPr lang="de-DE" sz="1800" kern="1200" dirty="0">
                <a:solidFill>
                  <a:schemeClr val="bg2"/>
                </a:solidFill>
                <a:latin typeface="+mn-lt"/>
                <a:ea typeface="+mn-ea"/>
                <a:cs typeface="+mn-cs"/>
              </a:defRPr>
            </a:lvl5pPr>
            <a:lvl6pPr marL="1008000" indent="-252000" algn="l" defTabSz="1219078" rtl="0" eaLnBrk="1" latinLnBrk="0" hangingPunct="1">
              <a:spcBef>
                <a:spcPts val="400"/>
              </a:spcBef>
              <a:buClr>
                <a:schemeClr val="tx2"/>
              </a:buClr>
              <a:buFont typeface="Symbol" panose="05050102010706020507" pitchFamily="18" charset="2"/>
              <a:buChar char="-"/>
              <a:defRPr sz="2200" kern="1200">
                <a:solidFill>
                  <a:schemeClr val="bg2"/>
                </a:solidFill>
                <a:latin typeface="+mn-lt"/>
                <a:ea typeface="+mn-ea"/>
                <a:cs typeface="+mn-cs"/>
              </a:defRPr>
            </a:lvl6pPr>
            <a:lvl7pPr marL="3962004"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543"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1082" indent="-304770" algn="l" defTabSz="1219078"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r>
              <a:rPr lang="en-US" sz="6000" dirty="0">
                <a:solidFill>
                  <a:schemeClr val="bg1"/>
                </a:solidFill>
                <a:latin typeface="Univers" panose="020B0503020202020204" pitchFamily="34" charset="0"/>
              </a:rPr>
              <a:t>BLUEFIELD GIVES </a:t>
            </a:r>
          </a:p>
          <a:p>
            <a:r>
              <a:rPr lang="en-US" sz="6000" dirty="0">
                <a:solidFill>
                  <a:schemeClr val="bg1"/>
                </a:solidFill>
                <a:latin typeface="Univers" panose="020B0503020202020204" pitchFamily="34" charset="0"/>
              </a:rPr>
              <a:t>YOU OPTIONS</a:t>
            </a:r>
          </a:p>
        </p:txBody>
      </p:sp>
      <p:sp>
        <p:nvSpPr>
          <p:cNvPr id="9" name="Datumsplatzhalter 2">
            <a:extLst>
              <a:ext uri="{FF2B5EF4-FFF2-40B4-BE49-F238E27FC236}">
                <a16:creationId xmlns:a16="http://schemas.microsoft.com/office/drawing/2014/main" id="{22412203-0A2A-4304-ABA8-1B1D343043FA}"/>
              </a:ext>
            </a:extLst>
          </p:cNvPr>
          <p:cNvSpPr txBox="1">
            <a:spLocks/>
          </p:cNvSpPr>
          <p:nvPr/>
        </p:nvSpPr>
        <p:spPr>
          <a:xfrm>
            <a:off x="406399" y="6501507"/>
            <a:ext cx="815725" cy="213414"/>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US" sz="900" dirty="0">
                <a:solidFill>
                  <a:schemeClr val="bg1"/>
                </a:solidFill>
              </a:rPr>
              <a:t>21/08/2019</a:t>
            </a:r>
          </a:p>
        </p:txBody>
      </p:sp>
      <p:sp>
        <p:nvSpPr>
          <p:cNvPr id="10" name="Foliennummernplatzhalter 3">
            <a:extLst>
              <a:ext uri="{FF2B5EF4-FFF2-40B4-BE49-F238E27FC236}">
                <a16:creationId xmlns:a16="http://schemas.microsoft.com/office/drawing/2014/main" id="{7F23C392-F16C-4BE7-B378-125BE5C198D8}"/>
              </a:ext>
            </a:extLst>
          </p:cNvPr>
          <p:cNvSpPr txBox="1">
            <a:spLocks/>
          </p:cNvSpPr>
          <p:nvPr/>
        </p:nvSpPr>
        <p:spPr>
          <a:xfrm>
            <a:off x="11111017" y="6501507"/>
            <a:ext cx="672996"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fld id="{221F1D72-F2AC-4B6E-A46C-E63D2CF40C7B}" type="slidenum">
              <a:rPr lang="en-US" sz="900" smtClean="0">
                <a:solidFill>
                  <a:schemeClr val="bg1"/>
                </a:solidFill>
              </a:rPr>
              <a:pPr/>
              <a:t>9</a:t>
            </a:fld>
            <a:endParaRPr lang="en-US" sz="900" dirty="0">
              <a:solidFill>
                <a:schemeClr val="bg1"/>
              </a:solidFill>
            </a:endParaRPr>
          </a:p>
        </p:txBody>
      </p:sp>
      <p:sp>
        <p:nvSpPr>
          <p:cNvPr id="11" name="Fußzeilenplatzhalter 4">
            <a:extLst>
              <a:ext uri="{FF2B5EF4-FFF2-40B4-BE49-F238E27FC236}">
                <a16:creationId xmlns:a16="http://schemas.microsoft.com/office/drawing/2014/main" id="{3C2966E1-4A27-45EC-8F00-77F8BD6D1F6C}"/>
              </a:ext>
            </a:extLst>
          </p:cNvPr>
          <p:cNvSpPr txBox="1">
            <a:spLocks/>
          </p:cNvSpPr>
          <p:nvPr/>
        </p:nvSpPr>
        <p:spPr>
          <a:xfrm>
            <a:off x="1054646" y="6501507"/>
            <a:ext cx="4896000" cy="180000"/>
          </a:xfrm>
          <a:prstGeom prst="rect">
            <a:avLst/>
          </a:prstGeom>
        </p:spPr>
        <p:txBody>
          <a:bodyPr/>
          <a:lstStyle>
            <a:defPPr>
              <a:defRPr lang="de-DE"/>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7" algn="l" defTabSz="1219078" rtl="0" eaLnBrk="1" latinLnBrk="0" hangingPunct="1">
              <a:defRPr sz="2400" kern="1200">
                <a:solidFill>
                  <a:schemeClr val="tx1"/>
                </a:solidFill>
                <a:latin typeface="+mn-lt"/>
                <a:ea typeface="+mn-ea"/>
                <a:cs typeface="+mn-cs"/>
              </a:defRPr>
            </a:lvl4pPr>
            <a:lvl5pPr marL="2438156" algn="l" defTabSz="1219078" rtl="0" eaLnBrk="1" latinLnBrk="0" hangingPunct="1">
              <a:defRPr sz="2400" kern="1200">
                <a:solidFill>
                  <a:schemeClr val="tx1"/>
                </a:solidFill>
                <a:latin typeface="+mn-lt"/>
                <a:ea typeface="+mn-ea"/>
                <a:cs typeface="+mn-cs"/>
              </a:defRPr>
            </a:lvl5pPr>
            <a:lvl6pPr marL="3047695"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2" algn="l" defTabSz="1219078" rtl="0" eaLnBrk="1" latinLnBrk="0" hangingPunct="1">
              <a:defRPr sz="2400" kern="1200">
                <a:solidFill>
                  <a:schemeClr val="tx1"/>
                </a:solidFill>
                <a:latin typeface="+mn-lt"/>
                <a:ea typeface="+mn-ea"/>
                <a:cs typeface="+mn-cs"/>
              </a:defRPr>
            </a:lvl9pPr>
          </a:lstStyle>
          <a:p>
            <a:r>
              <a:rPr lang="en-US" sz="900" dirty="0">
                <a:solidFill>
                  <a:schemeClr val="bg1"/>
                </a:solidFill>
              </a:rPr>
              <a:t>NZSUG Auckland Event + SAP Forum</a:t>
            </a:r>
          </a:p>
        </p:txBody>
      </p:sp>
    </p:spTree>
    <p:extLst>
      <p:ext uri="{BB962C8B-B14F-4D97-AF65-F5344CB8AC3E}">
        <p14:creationId xmlns:p14="http://schemas.microsoft.com/office/powerpoint/2010/main" val="86025696"/>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P_2017">
  <a:themeElements>
    <a:clrScheme name="SNP_FM_2017">
      <a:dk1>
        <a:srgbClr val="000000"/>
      </a:dk1>
      <a:lt1>
        <a:srgbClr val="FFFFFF"/>
      </a:lt1>
      <a:dk2>
        <a:srgbClr val="706F6F"/>
      </a:dk2>
      <a:lt2>
        <a:srgbClr val="575656"/>
      </a:lt2>
      <a:accent1>
        <a:srgbClr val="D14B40"/>
      </a:accent1>
      <a:accent2>
        <a:srgbClr val="E18800"/>
      </a:accent2>
      <a:accent3>
        <a:srgbClr val="005A9A"/>
      </a:accent3>
      <a:accent4>
        <a:srgbClr val="A1AF4E"/>
      </a:accent4>
      <a:accent5>
        <a:srgbClr val="18799A"/>
      </a:accent5>
      <a:accent6>
        <a:srgbClr val="10A0CB"/>
      </a:accent6>
      <a:hlink>
        <a:srgbClr val="800080"/>
      </a:hlink>
      <a:folHlink>
        <a:srgbClr val="800080"/>
      </a:folHlink>
    </a:clrScheme>
    <a:fontScheme name="Benutzerdefiniert 2">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noFill/>
        </a:ln>
      </a:spPr>
      <a:bodyPr lIns="36000" tIns="36000" rIns="36000" bIns="36000"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nchorCtr="0">
        <a:noAutofit/>
      </a:bodyPr>
      <a:lstStyle>
        <a:defPPr algn="ctr">
          <a:defRPr sz="1400" dirty="0" err="1" smtClean="0"/>
        </a:defPPr>
      </a:lstStyle>
    </a:txDef>
  </a:objectDefaults>
  <a:extraClrSchemeLst/>
  <a:extLst>
    <a:ext uri="{05A4C25C-085E-4340-85A3-A5531E510DB2}">
      <thm15:themeFamily xmlns:thm15="http://schemas.microsoft.com/office/thememl/2012/main" name="SNP Proposal Template" id="{A7F6621F-6DC3-40F1-B540-838DADB4FD82}" vid="{60B9960F-8583-44AA-B8F3-409E311D2012}"/>
    </a:ext>
  </a:extLst>
</a:theme>
</file>

<file path=ppt/theme/theme2.xml><?xml version="1.0" encoding="utf-8"?>
<a:theme xmlns:a="http://schemas.openxmlformats.org/drawingml/2006/main" name="1_SNP_2017">
  <a:themeElements>
    <a:clrScheme name="SNP_FM_2017">
      <a:dk1>
        <a:srgbClr val="000000"/>
      </a:dk1>
      <a:lt1>
        <a:srgbClr val="FFFFFF"/>
      </a:lt1>
      <a:dk2>
        <a:srgbClr val="706F6F"/>
      </a:dk2>
      <a:lt2>
        <a:srgbClr val="575656"/>
      </a:lt2>
      <a:accent1>
        <a:srgbClr val="D14B40"/>
      </a:accent1>
      <a:accent2>
        <a:srgbClr val="E18800"/>
      </a:accent2>
      <a:accent3>
        <a:srgbClr val="005A9A"/>
      </a:accent3>
      <a:accent4>
        <a:srgbClr val="A1AF4E"/>
      </a:accent4>
      <a:accent5>
        <a:srgbClr val="18799A"/>
      </a:accent5>
      <a:accent6>
        <a:srgbClr val="10A0CB"/>
      </a:accent6>
      <a:hlink>
        <a:srgbClr val="800080"/>
      </a:hlink>
      <a:folHlink>
        <a:srgbClr val="800080"/>
      </a:folHlink>
    </a:clrScheme>
    <a:fontScheme name="Benutzerdefiniert 2">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a:noFill/>
        </a:ln>
      </a:spPr>
      <a:bodyPr lIns="36000" tIns="36000" rIns="36000" bIns="36000"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nchorCtr="0">
        <a:noAutofit/>
      </a:bodyPr>
      <a:lstStyle>
        <a:defPPr algn="ctr">
          <a:defRPr sz="1400" dirty="0" err="1" smtClean="0"/>
        </a:defPPr>
      </a:lstStyle>
    </a:txDef>
  </a:objectDefaults>
  <a:extraClrSchemeLst/>
  <a:extLst>
    <a:ext uri="{05A4C25C-085E-4340-85A3-A5531E510DB2}">
      <thm15:themeFamily xmlns:thm15="http://schemas.microsoft.com/office/thememl/2012/main" name="SNP Proposal Template" id="{A7F6621F-6DC3-40F1-B540-838DADB4FD82}" vid="{60B9960F-8583-44AA-B8F3-409E311D2012}"/>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C58DE46E0A1924889F073AEB11CC77B" ma:contentTypeVersion="11" ma:contentTypeDescription="Create a new document." ma:contentTypeScope="" ma:versionID="f23ea84cc7d8827f97aa8f4b8d92b9a6">
  <xsd:schema xmlns:xsd="http://www.w3.org/2001/XMLSchema" xmlns:xs="http://www.w3.org/2001/XMLSchema" xmlns:p="http://schemas.microsoft.com/office/2006/metadata/properties" xmlns:ns3="ddf7d8fc-2999-4fcf-a9ff-103b40be64c8" xmlns:ns4="db6712d5-77ea-4565-8842-947fd5b29bf1" targetNamespace="http://schemas.microsoft.com/office/2006/metadata/properties" ma:root="true" ma:fieldsID="07d0c03636e5f132c03ffaf7e864114b" ns3:_="" ns4:_="">
    <xsd:import namespace="ddf7d8fc-2999-4fcf-a9ff-103b40be64c8"/>
    <xsd:import namespace="db6712d5-77ea-4565-8842-947fd5b29bf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f7d8fc-2999-4fcf-a9ff-103b40be64c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6712d5-77ea-4565-8842-947fd5b29bf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4F5C41A-01D3-4E0F-88CE-038D74304BCC}">
  <ds:schemaRefs>
    <ds:schemaRef ds:uri="http://schemas.microsoft.com/sharepoint/v3/contenttype/forms"/>
  </ds:schemaRefs>
</ds:datastoreItem>
</file>

<file path=customXml/itemProps2.xml><?xml version="1.0" encoding="utf-8"?>
<ds:datastoreItem xmlns:ds="http://schemas.openxmlformats.org/officeDocument/2006/customXml" ds:itemID="{B866AB49-F709-491D-8EFE-CFF4E8F782D9}">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df7d8fc-2999-4fcf-a9ff-103b40be64c8"/>
    <ds:schemaRef ds:uri="db6712d5-77ea-4565-8842-947fd5b29bf1"/>
    <ds:schemaRef ds:uri="http://www.w3.org/XML/1998/namespace"/>
    <ds:schemaRef ds:uri="http://purl.org/dc/dcmitype/"/>
  </ds:schemaRefs>
</ds:datastoreItem>
</file>

<file path=customXml/itemProps3.xml><?xml version="1.0" encoding="utf-8"?>
<ds:datastoreItem xmlns:ds="http://schemas.openxmlformats.org/officeDocument/2006/customXml" ds:itemID="{D8B14B49-B186-435D-83B3-1240C005C2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f7d8fc-2999-4fcf-a9ff-103b40be64c8"/>
    <ds:schemaRef ds:uri="db6712d5-77ea-4565-8842-947fd5b29b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NP Proposal Template 2018 0212</Template>
  <TotalTime>0</TotalTime>
  <Words>1805</Words>
  <Application>Microsoft Office PowerPoint</Application>
  <PresentationFormat>Custom</PresentationFormat>
  <Paragraphs>526</Paragraphs>
  <Slides>30</Slides>
  <Notes>9</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40" baseType="lpstr">
      <vt:lpstr>Arial</vt:lpstr>
      <vt:lpstr>Calibri</vt:lpstr>
      <vt:lpstr>Symbol</vt:lpstr>
      <vt:lpstr>Univers</vt:lpstr>
      <vt:lpstr>Verdana</vt:lpstr>
      <vt:lpstr>Wingdings</vt:lpstr>
      <vt:lpstr>Wingdings 2</vt:lpstr>
      <vt:lpstr>SNP_2017</vt:lpstr>
      <vt:lpstr>1_SNP_2017</vt:lpstr>
      <vt:lpstr>think-cell Slide</vt:lpstr>
      <vt:lpstr>PowerPoint Presentation</vt:lpstr>
      <vt:lpstr> SNP BLUEFIELDTM</vt:lpstr>
      <vt:lpstr>SNP I The Transformation Company</vt:lpstr>
      <vt:lpstr>SNP I APAC and Middle East</vt:lpstr>
      <vt:lpstr>SNP I Global Presence</vt:lpstr>
      <vt:lpstr>SNP I Proven Industry Standard Approach</vt:lpstr>
      <vt:lpstr>SNP I Automation Drives the Entire Data Transformation Lifecycle</vt:lpstr>
      <vt:lpstr>SNP I Be Smart − Start Your Automated Transformation </vt:lpstr>
      <vt:lpstr>S/4HANA TRANSFORMATION</vt:lpstr>
      <vt:lpstr>PowerPoint Presentation</vt:lpstr>
      <vt:lpstr>PowerPoint Presentation</vt:lpstr>
      <vt:lpstr>SNP BLUEFIELDTM ACCELERATED BUSINESS TRANSFORMATION THROUGH INTELLIGENT SOFTWARE </vt:lpstr>
      <vt:lpstr>PowerPoint Presentation</vt:lpstr>
      <vt:lpstr>PowerPoint Presentation</vt:lpstr>
      <vt:lpstr>The SNP Way: 80%+ Faster – Success Guaranteed </vt:lpstr>
      <vt:lpstr>PowerPoint Presentation</vt:lpstr>
      <vt:lpstr>PowerPoint Presentation</vt:lpstr>
      <vt:lpstr>SNP S/4HANA Migration – Approach</vt:lpstr>
      <vt:lpstr>S/4HANA I REFERENCES</vt:lpstr>
      <vt:lpstr>SNP CrystalBridge</vt:lpstr>
      <vt:lpstr>SNP CrystalBridge: VALUE DISCOVERY</vt:lpstr>
      <vt:lpstr>Selective Migration powered by CrystalBridge</vt:lpstr>
      <vt:lpstr>Selective Migration powered by CrystalBridge</vt:lpstr>
      <vt:lpstr>Selective Migration powered by CrystalBridge</vt:lpstr>
      <vt:lpstr>Time Slice powered by CrystalBridge</vt:lpstr>
      <vt:lpstr>Business Requirements powered by CrystalBridge</vt:lpstr>
      <vt:lpstr>Selective Migration powered by CrystalBridge</vt:lpstr>
      <vt:lpstr>SNP Software Products</vt:lpstr>
      <vt:lpstr>S/4HANA TRANSFORMATION</vt:lpstr>
      <vt:lpstr>Disclaimer </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quellati, Lorenzo</dc:creator>
  <cp:lastModifiedBy>Rosanne English</cp:lastModifiedBy>
  <cp:revision>665</cp:revision>
  <cp:lastPrinted>2018-02-09T00:01:28Z</cp:lastPrinted>
  <dcterms:created xsi:type="dcterms:W3CDTF">2018-02-12T16:24:17Z</dcterms:created>
  <dcterms:modified xsi:type="dcterms:W3CDTF">2019-08-18T21:5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58DE46E0A1924889F073AEB11CC77B</vt:lpwstr>
  </property>
  <property fmtid="{D5CDD505-2E9C-101B-9397-08002B2CF9AE}" pid="3" name="NotesPageLayout">
    <vt:lpwstr>Message</vt:lpwstr>
  </property>
  <property fmtid="{D5CDD505-2E9C-101B-9397-08002B2CF9AE}" pid="4" name="Title">
    <vt:lpwstr>PowerPoint-Präsentation</vt:lpwstr>
  </property>
  <property fmtid="{D5CDD505-2E9C-101B-9397-08002B2CF9AE}" pid="5" name="Final">
    <vt:bool>true</vt:bool>
  </property>
  <property fmtid="{D5CDD505-2E9C-101B-9397-08002B2CF9AE}" pid="6" name="Event">
    <vt:lpwstr/>
  </property>
  <property fmtid="{D5CDD505-2E9C-101B-9397-08002B2CF9AE}" pid="7" name="Delivery Date">
    <vt:lpwstr/>
  </property>
  <property fmtid="{D5CDD505-2E9C-101B-9397-08002B2CF9AE}" pid="8" name="docid">
    <vt:lpwstr/>
  </property>
  <property fmtid="{D5CDD505-2E9C-101B-9397-08002B2CF9AE}" pid="9" name="MSIP_Label_68eebd8b-c6d1-4b94-b904-d14fce421acd_Enabled">
    <vt:lpwstr>True</vt:lpwstr>
  </property>
  <property fmtid="{D5CDD505-2E9C-101B-9397-08002B2CF9AE}" pid="10" name="MSIP_Label_68eebd8b-c6d1-4b94-b904-d14fce421acd_SiteId">
    <vt:lpwstr>fb39e3e9-23a9-404e-93a2-b42a87d94f35</vt:lpwstr>
  </property>
  <property fmtid="{D5CDD505-2E9C-101B-9397-08002B2CF9AE}" pid="11" name="MSIP_Label_68eebd8b-c6d1-4b94-b904-d14fce421acd_Owner">
    <vt:lpwstr>rosanne.english@ird.govt.nz</vt:lpwstr>
  </property>
  <property fmtid="{D5CDD505-2E9C-101B-9397-08002B2CF9AE}" pid="12" name="MSIP_Label_68eebd8b-c6d1-4b94-b904-d14fce421acd_SetDate">
    <vt:lpwstr>2019-08-18T21:49:32.9728291Z</vt:lpwstr>
  </property>
  <property fmtid="{D5CDD505-2E9C-101B-9397-08002B2CF9AE}" pid="13" name="MSIP_Label_68eebd8b-c6d1-4b94-b904-d14fce421acd_Name">
    <vt:lpwstr>UNCLASSIFIED</vt:lpwstr>
  </property>
  <property fmtid="{D5CDD505-2E9C-101B-9397-08002B2CF9AE}" pid="14" name="MSIP_Label_68eebd8b-c6d1-4b94-b904-d14fce421acd_Application">
    <vt:lpwstr>Microsoft Azure Information Protection</vt:lpwstr>
  </property>
  <property fmtid="{D5CDD505-2E9C-101B-9397-08002B2CF9AE}" pid="15" name="MSIP_Label_68eebd8b-c6d1-4b94-b904-d14fce421acd_ActionId">
    <vt:lpwstr>91439e3e-f847-4fea-a69b-80e108435934</vt:lpwstr>
  </property>
  <property fmtid="{D5CDD505-2E9C-101B-9397-08002B2CF9AE}" pid="16" name="MSIP_Label_68eebd8b-c6d1-4b94-b904-d14fce421acd_Extended_MSFT_Method">
    <vt:lpwstr>Manual</vt:lpwstr>
  </property>
  <property fmtid="{D5CDD505-2E9C-101B-9397-08002B2CF9AE}" pid="17" name="MSIP_Label_a4f106f2-aad1-42d5-aa61-96837420719b_Enabled">
    <vt:lpwstr>True</vt:lpwstr>
  </property>
  <property fmtid="{D5CDD505-2E9C-101B-9397-08002B2CF9AE}" pid="18" name="MSIP_Label_a4f106f2-aad1-42d5-aa61-96837420719b_SiteId">
    <vt:lpwstr>fb39e3e9-23a9-404e-93a2-b42a87d94f35</vt:lpwstr>
  </property>
  <property fmtid="{D5CDD505-2E9C-101B-9397-08002B2CF9AE}" pid="19" name="MSIP_Label_a4f106f2-aad1-42d5-aa61-96837420719b_Owner">
    <vt:lpwstr>rosanne.english@ird.govt.nz</vt:lpwstr>
  </property>
  <property fmtid="{D5CDD505-2E9C-101B-9397-08002B2CF9AE}" pid="20" name="MSIP_Label_a4f106f2-aad1-42d5-aa61-96837420719b_SetDate">
    <vt:lpwstr>2019-08-18T21:49:32.9728291Z</vt:lpwstr>
  </property>
  <property fmtid="{D5CDD505-2E9C-101B-9397-08002B2CF9AE}" pid="21" name="MSIP_Label_a4f106f2-aad1-42d5-aa61-96837420719b_Name">
    <vt:lpwstr>UNCLASSIFIED</vt:lpwstr>
  </property>
  <property fmtid="{D5CDD505-2E9C-101B-9397-08002B2CF9AE}" pid="22" name="MSIP_Label_a4f106f2-aad1-42d5-aa61-96837420719b_Application">
    <vt:lpwstr>Microsoft Azure Information Protection</vt:lpwstr>
  </property>
  <property fmtid="{D5CDD505-2E9C-101B-9397-08002B2CF9AE}" pid="23" name="MSIP_Label_a4f106f2-aad1-42d5-aa61-96837420719b_ActionId">
    <vt:lpwstr>91439e3e-f847-4fea-a69b-80e108435934</vt:lpwstr>
  </property>
  <property fmtid="{D5CDD505-2E9C-101B-9397-08002B2CF9AE}" pid="24" name="MSIP_Label_a4f106f2-aad1-42d5-aa61-96837420719b_Parent">
    <vt:lpwstr>68eebd8b-c6d1-4b94-b904-d14fce421acd</vt:lpwstr>
  </property>
  <property fmtid="{D5CDD505-2E9C-101B-9397-08002B2CF9AE}" pid="25" name="MSIP_Label_a4f106f2-aad1-42d5-aa61-96837420719b_Extended_MSFT_Method">
    <vt:lpwstr>Manual</vt:lpwstr>
  </property>
  <property fmtid="{D5CDD505-2E9C-101B-9397-08002B2CF9AE}" pid="26" name="Sensitivity">
    <vt:lpwstr>UNCLASSIFIED UNCLASSIFIED</vt:lpwstr>
  </property>
</Properties>
</file>